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25"/>
  </p:sldMasterIdLst>
  <p:notesMasterIdLst>
    <p:notesMasterId r:id="rId42"/>
  </p:notesMasterIdLst>
  <p:sldIdLst>
    <p:sldId id="2147483413" r:id="rId26"/>
    <p:sldId id="2147483553" r:id="rId27"/>
    <p:sldId id="2147483446" r:id="rId28"/>
    <p:sldId id="371" r:id="rId29"/>
    <p:sldId id="2147483443" r:id="rId30"/>
    <p:sldId id="2147483448" r:id="rId31"/>
    <p:sldId id="2147483444" r:id="rId32"/>
    <p:sldId id="2147483633" r:id="rId33"/>
    <p:sldId id="569" r:id="rId34"/>
    <p:sldId id="2147483447" r:id="rId35"/>
    <p:sldId id="2147483628" r:id="rId36"/>
    <p:sldId id="2147483442" r:id="rId37"/>
    <p:sldId id="2147483625" r:id="rId38"/>
    <p:sldId id="2147483638" r:id="rId39"/>
    <p:sldId id="2147483630" r:id="rId40"/>
    <p:sldId id="2147483631" r:id="rId41"/>
  </p:sldIdLst>
  <p:sldSz cx="12192000" cy="6858000"/>
  <p:notesSz cx="6858000" cy="9144000"/>
  <p:embeddedFontLst>
    <p:embeddedFont>
      <p:font typeface="HGPｺﾞｼｯｸE" panose="020B0900000000000000" pitchFamily="34" charset="-128"/>
      <p:regular r:id="rId43"/>
    </p:embeddedFont>
    <p:embeddedFont>
      <p:font typeface="Hitachi Sans" pitchFamily="2" charset="0"/>
      <p:regular r:id="rId44"/>
      <p:bold r:id="rId45"/>
      <p:italic r:id="rId46"/>
      <p:boldItalic r:id="rId4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pertine" id="{54C21F6C-9EFB-483C-8E62-89022610DD6E}">
          <p14:sldIdLst>
            <p14:sldId id="2147483413"/>
            <p14:sldId id="2147483553"/>
            <p14:sldId id="2147483446"/>
            <p14:sldId id="371"/>
            <p14:sldId id="2147483443"/>
            <p14:sldId id="2147483448"/>
            <p14:sldId id="2147483444"/>
            <p14:sldId id="2147483633"/>
            <p14:sldId id="569"/>
            <p14:sldId id="2147483447"/>
            <p14:sldId id="2147483628"/>
            <p14:sldId id="2147483442"/>
            <p14:sldId id="2147483625"/>
            <p14:sldId id="2147483638"/>
            <p14:sldId id="2147483630"/>
            <p14:sldId id="214748363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05B32F5-8EBF-4D96-A633-AC7FFE7AC13C}" v="159" dt="2025-04-08T08:34:14.7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504" autoAdjust="0"/>
  </p:normalViewPr>
  <p:slideViewPr>
    <p:cSldViewPr snapToGrid="0">
      <p:cViewPr varScale="1">
        <p:scale>
          <a:sx n="76" d="100"/>
          <a:sy n="76" d="100"/>
        </p:scale>
        <p:origin x="293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1.xml"/><Relationship Id="rId39" Type="http://schemas.openxmlformats.org/officeDocument/2006/relationships/slide" Target="slides/slide14.xml"/><Relationship Id="rId21" Type="http://schemas.openxmlformats.org/officeDocument/2006/relationships/customXml" Target="../customXml/item21.xml"/><Relationship Id="rId34" Type="http://schemas.openxmlformats.org/officeDocument/2006/relationships/slide" Target="slides/slide9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5.fntdata"/><Relationship Id="rId50" Type="http://schemas.openxmlformats.org/officeDocument/2006/relationships/theme" Target="theme/theme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4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40" Type="http://schemas.openxmlformats.org/officeDocument/2006/relationships/slide" Target="slides/slide15.xml"/><Relationship Id="rId45" Type="http://schemas.openxmlformats.org/officeDocument/2006/relationships/font" Target="fonts/font3.fntdata"/><Relationship Id="rId53" Type="http://schemas.microsoft.com/office/2015/10/relationships/revisionInfo" Target="revisionInfo.xml"/><Relationship Id="rId5" Type="http://schemas.openxmlformats.org/officeDocument/2006/relationships/customXml" Target="../customXml/item5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6.xml"/><Relationship Id="rId44" Type="http://schemas.openxmlformats.org/officeDocument/2006/relationships/font" Target="fonts/font2.fntdata"/><Relationship Id="rId52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font" Target="fonts/font1.fntdata"/><Relationship Id="rId48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Master" Target="slideMasters/slideMaster1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openxmlformats.org/officeDocument/2006/relationships/font" Target="fonts/font4.fntdata"/><Relationship Id="rId20" Type="http://schemas.openxmlformats.org/officeDocument/2006/relationships/customXml" Target="../customXml/item20.xml"/><Relationship Id="rId41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eo Scattolin" userId="4c2db86b-a0c1-4427-81a8-6e7641dfa26a" providerId="ADAL" clId="{D05B32F5-8EBF-4D96-A633-AC7FFE7AC13C}"/>
    <pc:docChg chg="custSel delSld modSld sldOrd modMainMaster modSection">
      <pc:chgData name="Matteo Scattolin" userId="4c2db86b-a0c1-4427-81a8-6e7641dfa26a" providerId="ADAL" clId="{D05B32F5-8EBF-4D96-A633-AC7FFE7AC13C}" dt="2025-04-08T08:30:02.195" v="654" actId="404"/>
      <pc:docMkLst>
        <pc:docMk/>
      </pc:docMkLst>
      <pc:sldChg chg="modSp mod">
        <pc:chgData name="Matteo Scattolin" userId="4c2db86b-a0c1-4427-81a8-6e7641dfa26a" providerId="ADAL" clId="{D05B32F5-8EBF-4D96-A633-AC7FFE7AC13C}" dt="2025-04-08T06:22:52.565" v="472" actId="20577"/>
        <pc:sldMkLst>
          <pc:docMk/>
          <pc:sldMk cId="2810523953" sldId="371"/>
        </pc:sldMkLst>
        <pc:spChg chg="mod">
          <ac:chgData name="Matteo Scattolin" userId="4c2db86b-a0c1-4427-81a8-6e7641dfa26a" providerId="ADAL" clId="{D05B32F5-8EBF-4D96-A633-AC7FFE7AC13C}" dt="2025-04-08T06:22:52.565" v="472" actId="20577"/>
          <ac:spMkLst>
            <pc:docMk/>
            <pc:sldMk cId="2810523953" sldId="371"/>
            <ac:spMk id="1514" creationId="{4B31CE34-F5E7-E048-329A-B0A66A8D8E6C}"/>
          </ac:spMkLst>
        </pc:spChg>
      </pc:sldChg>
      <pc:sldChg chg="modSp mod">
        <pc:chgData name="Matteo Scattolin" userId="4c2db86b-a0c1-4427-81a8-6e7641dfa26a" providerId="ADAL" clId="{D05B32F5-8EBF-4D96-A633-AC7FFE7AC13C}" dt="2025-04-08T06:27:22.206" v="520" actId="6549"/>
        <pc:sldMkLst>
          <pc:docMk/>
          <pc:sldMk cId="1492341388" sldId="569"/>
        </pc:sldMkLst>
        <pc:spChg chg="mod">
          <ac:chgData name="Matteo Scattolin" userId="4c2db86b-a0c1-4427-81a8-6e7641dfa26a" providerId="ADAL" clId="{D05B32F5-8EBF-4D96-A633-AC7FFE7AC13C}" dt="2025-04-08T06:27:22.206" v="520" actId="6549"/>
          <ac:spMkLst>
            <pc:docMk/>
            <pc:sldMk cId="1492341388" sldId="569"/>
            <ac:spMk id="46" creationId="{2BFD9017-FDC4-D672-C596-88D3D51CB5B4}"/>
          </ac:spMkLst>
        </pc:spChg>
      </pc:sldChg>
      <pc:sldChg chg="modSp mod">
        <pc:chgData name="Matteo Scattolin" userId="4c2db86b-a0c1-4427-81a8-6e7641dfa26a" providerId="ADAL" clId="{D05B32F5-8EBF-4D96-A633-AC7FFE7AC13C}" dt="2025-04-08T06:17:04.116" v="445" actId="1076"/>
        <pc:sldMkLst>
          <pc:docMk/>
          <pc:sldMk cId="170141876" sldId="2147483413"/>
        </pc:sldMkLst>
        <pc:spChg chg="mod modVis">
          <ac:chgData name="Matteo Scattolin" userId="4c2db86b-a0c1-4427-81a8-6e7641dfa26a" providerId="ADAL" clId="{D05B32F5-8EBF-4D96-A633-AC7FFE7AC13C}" dt="2025-04-08T06:13:52.345" v="145"/>
          <ac:spMkLst>
            <pc:docMk/>
            <pc:sldMk cId="170141876" sldId="2147483413"/>
            <ac:spMk id="3" creationId="{A5FA7267-76CF-92FE-B554-D977BED8C377}"/>
          </ac:spMkLst>
        </pc:spChg>
        <pc:spChg chg="mod modVis">
          <ac:chgData name="Matteo Scattolin" userId="4c2db86b-a0c1-4427-81a8-6e7641dfa26a" providerId="ADAL" clId="{D05B32F5-8EBF-4D96-A633-AC7FFE7AC13C}" dt="2025-04-08T06:13:50.832" v="1"/>
          <ac:spMkLst>
            <pc:docMk/>
            <pc:sldMk cId="170141876" sldId="2147483413"/>
            <ac:spMk id="5" creationId="{DFD97B4B-BD2A-D947-7733-0A8DD4E161B9}"/>
          </ac:spMkLst>
        </pc:spChg>
        <pc:spChg chg="mod modVis">
          <ac:chgData name="Matteo Scattolin" userId="4c2db86b-a0c1-4427-81a8-6e7641dfa26a" providerId="ADAL" clId="{D05B32F5-8EBF-4D96-A633-AC7FFE7AC13C}" dt="2025-04-08T06:13:51.592" v="73"/>
          <ac:spMkLst>
            <pc:docMk/>
            <pc:sldMk cId="170141876" sldId="2147483413"/>
            <ac:spMk id="8" creationId="{243040EF-F79B-37F9-8C99-2785121FDC38}"/>
          </ac:spMkLst>
        </pc:spChg>
        <pc:spChg chg="mod">
          <ac:chgData name="Matteo Scattolin" userId="4c2db86b-a0c1-4427-81a8-6e7641dfa26a" providerId="ADAL" clId="{D05B32F5-8EBF-4D96-A633-AC7FFE7AC13C}" dt="2025-04-08T06:17:04.116" v="445" actId="1076"/>
          <ac:spMkLst>
            <pc:docMk/>
            <pc:sldMk cId="170141876" sldId="2147483413"/>
            <ac:spMk id="10" creationId="{1E1D9DAD-F167-569D-0416-A4B93AB25558}"/>
          </ac:spMkLst>
        </pc:spChg>
        <pc:spChg chg="mod">
          <ac:chgData name="Matteo Scattolin" userId="4c2db86b-a0c1-4427-81a8-6e7641dfa26a" providerId="ADAL" clId="{D05B32F5-8EBF-4D96-A633-AC7FFE7AC13C}" dt="2025-04-08T06:16:50.945" v="444" actId="1035"/>
          <ac:spMkLst>
            <pc:docMk/>
            <pc:sldMk cId="170141876" sldId="2147483413"/>
            <ac:spMk id="16" creationId="{AC5CBBA0-24B2-5D20-7787-2D890988526B}"/>
          </ac:spMkLst>
        </pc:spChg>
      </pc:sldChg>
      <pc:sldChg chg="addSp modSp mod">
        <pc:chgData name="Matteo Scattolin" userId="4c2db86b-a0c1-4427-81a8-6e7641dfa26a" providerId="ADAL" clId="{D05B32F5-8EBF-4D96-A633-AC7FFE7AC13C}" dt="2025-04-08T06:39:18.905" v="552" actId="208"/>
        <pc:sldMkLst>
          <pc:docMk/>
          <pc:sldMk cId="3274395687" sldId="2147483442"/>
        </pc:sldMkLst>
        <pc:spChg chg="add mod">
          <ac:chgData name="Matteo Scattolin" userId="4c2db86b-a0c1-4427-81a8-6e7641dfa26a" providerId="ADAL" clId="{D05B32F5-8EBF-4D96-A633-AC7FFE7AC13C}" dt="2025-04-08T06:39:18.905" v="552" actId="208"/>
          <ac:spMkLst>
            <pc:docMk/>
            <pc:sldMk cId="3274395687" sldId="2147483442"/>
            <ac:spMk id="5" creationId="{F752D6FF-E0B3-6C73-450A-D7EAA9AB78A0}"/>
          </ac:spMkLst>
        </pc:spChg>
      </pc:sldChg>
      <pc:sldChg chg="delSp modSp mod">
        <pc:chgData name="Matteo Scattolin" userId="4c2db86b-a0c1-4427-81a8-6e7641dfa26a" providerId="ADAL" clId="{D05B32F5-8EBF-4D96-A633-AC7FFE7AC13C}" dt="2025-04-08T06:22:23.547" v="470" actId="478"/>
        <pc:sldMkLst>
          <pc:docMk/>
          <pc:sldMk cId="1789632373" sldId="2147483443"/>
        </pc:sldMkLst>
        <pc:spChg chg="del">
          <ac:chgData name="Matteo Scattolin" userId="4c2db86b-a0c1-4427-81a8-6e7641dfa26a" providerId="ADAL" clId="{D05B32F5-8EBF-4D96-A633-AC7FFE7AC13C}" dt="2025-04-08T06:21:50.011" v="449" actId="478"/>
          <ac:spMkLst>
            <pc:docMk/>
            <pc:sldMk cId="1789632373" sldId="2147483443"/>
            <ac:spMk id="23" creationId="{B3C4088F-ED80-1DF7-2C12-068C109CFA69}"/>
          </ac:spMkLst>
        </pc:spChg>
        <pc:spChg chg="mod">
          <ac:chgData name="Matteo Scattolin" userId="4c2db86b-a0c1-4427-81a8-6e7641dfa26a" providerId="ADAL" clId="{D05B32F5-8EBF-4D96-A633-AC7FFE7AC13C}" dt="2025-04-08T06:22:00.748" v="469" actId="1035"/>
          <ac:spMkLst>
            <pc:docMk/>
            <pc:sldMk cId="1789632373" sldId="2147483443"/>
            <ac:spMk id="31" creationId="{910BC968-F978-5275-164A-0975125F2E37}"/>
          </ac:spMkLst>
        </pc:spChg>
        <pc:spChg chg="mod">
          <ac:chgData name="Matteo Scattolin" userId="4c2db86b-a0c1-4427-81a8-6e7641dfa26a" providerId="ADAL" clId="{D05B32F5-8EBF-4D96-A633-AC7FFE7AC13C}" dt="2025-04-08T06:22:00.748" v="469" actId="1035"/>
          <ac:spMkLst>
            <pc:docMk/>
            <pc:sldMk cId="1789632373" sldId="2147483443"/>
            <ac:spMk id="51" creationId="{33388D52-EF27-A60E-9D08-74B0F47D03AE}"/>
          </ac:spMkLst>
        </pc:spChg>
        <pc:spChg chg="mod">
          <ac:chgData name="Matteo Scattolin" userId="4c2db86b-a0c1-4427-81a8-6e7641dfa26a" providerId="ADAL" clId="{D05B32F5-8EBF-4D96-A633-AC7FFE7AC13C}" dt="2025-04-08T06:22:00.748" v="469" actId="1035"/>
          <ac:spMkLst>
            <pc:docMk/>
            <pc:sldMk cId="1789632373" sldId="2147483443"/>
            <ac:spMk id="52" creationId="{5507E40F-59BA-C0BF-7FFC-6DD2981FDB46}"/>
          </ac:spMkLst>
        </pc:spChg>
        <pc:spChg chg="mod">
          <ac:chgData name="Matteo Scattolin" userId="4c2db86b-a0c1-4427-81a8-6e7641dfa26a" providerId="ADAL" clId="{D05B32F5-8EBF-4D96-A633-AC7FFE7AC13C}" dt="2025-04-08T06:22:00.748" v="469" actId="1035"/>
          <ac:spMkLst>
            <pc:docMk/>
            <pc:sldMk cId="1789632373" sldId="2147483443"/>
            <ac:spMk id="53" creationId="{6EFB733E-8BA6-5024-AA8C-ED06AE91F2F1}"/>
          </ac:spMkLst>
        </pc:spChg>
        <pc:spChg chg="mod">
          <ac:chgData name="Matteo Scattolin" userId="4c2db86b-a0c1-4427-81a8-6e7641dfa26a" providerId="ADAL" clId="{D05B32F5-8EBF-4D96-A633-AC7FFE7AC13C}" dt="2025-04-08T06:22:00.748" v="469" actId="1035"/>
          <ac:spMkLst>
            <pc:docMk/>
            <pc:sldMk cId="1789632373" sldId="2147483443"/>
            <ac:spMk id="54" creationId="{8FF72DC6-F666-0D5C-65F9-50C585A3AD2B}"/>
          </ac:spMkLst>
        </pc:spChg>
        <pc:spChg chg="mod">
          <ac:chgData name="Matteo Scattolin" userId="4c2db86b-a0c1-4427-81a8-6e7641dfa26a" providerId="ADAL" clId="{D05B32F5-8EBF-4D96-A633-AC7FFE7AC13C}" dt="2025-04-08T06:22:00.748" v="469" actId="1035"/>
          <ac:spMkLst>
            <pc:docMk/>
            <pc:sldMk cId="1789632373" sldId="2147483443"/>
            <ac:spMk id="55" creationId="{EB3B8B7A-E6E9-D175-F15A-80B4EF3BAED6}"/>
          </ac:spMkLst>
        </pc:spChg>
        <pc:spChg chg="mod">
          <ac:chgData name="Matteo Scattolin" userId="4c2db86b-a0c1-4427-81a8-6e7641dfa26a" providerId="ADAL" clId="{D05B32F5-8EBF-4D96-A633-AC7FFE7AC13C}" dt="2025-04-08T06:22:00.748" v="469" actId="1035"/>
          <ac:spMkLst>
            <pc:docMk/>
            <pc:sldMk cId="1789632373" sldId="2147483443"/>
            <ac:spMk id="56" creationId="{74DA7E6F-FB8F-7D2D-B399-89013D2489B0}"/>
          </ac:spMkLst>
        </pc:spChg>
        <pc:spChg chg="mod">
          <ac:chgData name="Matteo Scattolin" userId="4c2db86b-a0c1-4427-81a8-6e7641dfa26a" providerId="ADAL" clId="{D05B32F5-8EBF-4D96-A633-AC7FFE7AC13C}" dt="2025-04-08T06:22:00.748" v="469" actId="1035"/>
          <ac:spMkLst>
            <pc:docMk/>
            <pc:sldMk cId="1789632373" sldId="2147483443"/>
            <ac:spMk id="57" creationId="{49D62365-E59A-7559-795B-0466717D2640}"/>
          </ac:spMkLst>
        </pc:spChg>
        <pc:spChg chg="mod">
          <ac:chgData name="Matteo Scattolin" userId="4c2db86b-a0c1-4427-81a8-6e7641dfa26a" providerId="ADAL" clId="{D05B32F5-8EBF-4D96-A633-AC7FFE7AC13C}" dt="2025-04-08T06:22:00.748" v="469" actId="1035"/>
          <ac:spMkLst>
            <pc:docMk/>
            <pc:sldMk cId="1789632373" sldId="2147483443"/>
            <ac:spMk id="58" creationId="{BAA3B679-9F09-D139-7E20-EE7E3D7789BF}"/>
          </ac:spMkLst>
        </pc:spChg>
        <pc:spChg chg="del">
          <ac:chgData name="Matteo Scattolin" userId="4c2db86b-a0c1-4427-81a8-6e7641dfa26a" providerId="ADAL" clId="{D05B32F5-8EBF-4D96-A633-AC7FFE7AC13C}" dt="2025-04-08T06:22:23.547" v="470" actId="478"/>
          <ac:spMkLst>
            <pc:docMk/>
            <pc:sldMk cId="1789632373" sldId="2147483443"/>
            <ac:spMk id="71" creationId="{CAC8DB8E-E553-1AE1-45F3-E5994F67E2E1}"/>
          </ac:spMkLst>
        </pc:spChg>
        <pc:spChg chg="del">
          <ac:chgData name="Matteo Scattolin" userId="4c2db86b-a0c1-4427-81a8-6e7641dfa26a" providerId="ADAL" clId="{D05B32F5-8EBF-4D96-A633-AC7FFE7AC13C}" dt="2025-04-08T06:21:44.054" v="446" actId="478"/>
          <ac:spMkLst>
            <pc:docMk/>
            <pc:sldMk cId="1789632373" sldId="2147483443"/>
            <ac:spMk id="72" creationId="{EE48605F-A357-5291-E25C-8789DFBE548C}"/>
          </ac:spMkLst>
        </pc:spChg>
        <pc:spChg chg="mod">
          <ac:chgData name="Matteo Scattolin" userId="4c2db86b-a0c1-4427-81a8-6e7641dfa26a" providerId="ADAL" clId="{D05B32F5-8EBF-4D96-A633-AC7FFE7AC13C}" dt="2025-04-08T06:22:00.748" v="469" actId="1035"/>
          <ac:spMkLst>
            <pc:docMk/>
            <pc:sldMk cId="1789632373" sldId="2147483443"/>
            <ac:spMk id="83" creationId="{BAD1B361-5504-828F-C377-E03A08DBA7AF}"/>
          </ac:spMkLst>
        </pc:spChg>
        <pc:spChg chg="del">
          <ac:chgData name="Matteo Scattolin" userId="4c2db86b-a0c1-4427-81a8-6e7641dfa26a" providerId="ADAL" clId="{D05B32F5-8EBF-4D96-A633-AC7FFE7AC13C}" dt="2025-04-08T06:21:46.595" v="447" actId="478"/>
          <ac:spMkLst>
            <pc:docMk/>
            <pc:sldMk cId="1789632373" sldId="2147483443"/>
            <ac:spMk id="84" creationId="{964AC612-D222-0F33-2215-2B2BF7263397}"/>
          </ac:spMkLst>
        </pc:spChg>
        <pc:spChg chg="del">
          <ac:chgData name="Matteo Scattolin" userId="4c2db86b-a0c1-4427-81a8-6e7641dfa26a" providerId="ADAL" clId="{D05B32F5-8EBF-4D96-A633-AC7FFE7AC13C}" dt="2025-04-08T06:21:48.625" v="448" actId="478"/>
          <ac:spMkLst>
            <pc:docMk/>
            <pc:sldMk cId="1789632373" sldId="2147483443"/>
            <ac:spMk id="85" creationId="{D2A6A58A-DFF6-16C0-FB6D-F5991CB9CB7C}"/>
          </ac:spMkLst>
        </pc:spChg>
        <pc:spChg chg="del">
          <ac:chgData name="Matteo Scattolin" userId="4c2db86b-a0c1-4427-81a8-6e7641dfa26a" providerId="ADAL" clId="{D05B32F5-8EBF-4D96-A633-AC7FFE7AC13C}" dt="2025-04-08T06:21:51.825" v="450" actId="478"/>
          <ac:spMkLst>
            <pc:docMk/>
            <pc:sldMk cId="1789632373" sldId="2147483443"/>
            <ac:spMk id="86" creationId="{F4404C1E-33B2-E474-74E8-0809FC5845EB}"/>
          </ac:spMkLst>
        </pc:spChg>
      </pc:sldChg>
      <pc:sldChg chg="modSp mod">
        <pc:chgData name="Matteo Scattolin" userId="4c2db86b-a0c1-4427-81a8-6e7641dfa26a" providerId="ADAL" clId="{D05B32F5-8EBF-4D96-A633-AC7FFE7AC13C}" dt="2025-04-08T06:44:39.596" v="603" actId="14100"/>
        <pc:sldMkLst>
          <pc:docMk/>
          <pc:sldMk cId="1100823453" sldId="2147483444"/>
        </pc:sldMkLst>
        <pc:spChg chg="mod">
          <ac:chgData name="Matteo Scattolin" userId="4c2db86b-a0c1-4427-81a8-6e7641dfa26a" providerId="ADAL" clId="{D05B32F5-8EBF-4D96-A633-AC7FFE7AC13C}" dt="2025-04-08T06:25:21.282" v="484" actId="404"/>
          <ac:spMkLst>
            <pc:docMk/>
            <pc:sldMk cId="1100823453" sldId="2147483444"/>
            <ac:spMk id="10" creationId="{B5FDF077-8664-7E92-A427-DC057D3E848D}"/>
          </ac:spMkLst>
        </pc:spChg>
        <pc:spChg chg="mod">
          <ac:chgData name="Matteo Scattolin" userId="4c2db86b-a0c1-4427-81a8-6e7641dfa26a" providerId="ADAL" clId="{D05B32F5-8EBF-4D96-A633-AC7FFE7AC13C}" dt="2025-04-08T06:25:06.573" v="480" actId="404"/>
          <ac:spMkLst>
            <pc:docMk/>
            <pc:sldMk cId="1100823453" sldId="2147483444"/>
            <ac:spMk id="11" creationId="{EDA367CC-700C-8FE9-9EAF-C3470F89CC82}"/>
          </ac:spMkLst>
        </pc:spChg>
        <pc:spChg chg="mod">
          <ac:chgData name="Matteo Scattolin" userId="4c2db86b-a0c1-4427-81a8-6e7641dfa26a" providerId="ADAL" clId="{D05B32F5-8EBF-4D96-A633-AC7FFE7AC13C}" dt="2025-04-08T06:25:13.577" v="483" actId="404"/>
          <ac:spMkLst>
            <pc:docMk/>
            <pc:sldMk cId="1100823453" sldId="2147483444"/>
            <ac:spMk id="12" creationId="{003F05C5-65AE-1258-B02F-554A96329C62}"/>
          </ac:spMkLst>
        </pc:spChg>
        <pc:spChg chg="mod">
          <ac:chgData name="Matteo Scattolin" userId="4c2db86b-a0c1-4427-81a8-6e7641dfa26a" providerId="ADAL" clId="{D05B32F5-8EBF-4D96-A633-AC7FFE7AC13C}" dt="2025-04-08T06:25:28.289" v="495" actId="20577"/>
          <ac:spMkLst>
            <pc:docMk/>
            <pc:sldMk cId="1100823453" sldId="2147483444"/>
            <ac:spMk id="13" creationId="{A5B5D186-3679-E8BB-D05C-4A729D80DE71}"/>
          </ac:spMkLst>
        </pc:spChg>
        <pc:spChg chg="mod">
          <ac:chgData name="Matteo Scattolin" userId="4c2db86b-a0c1-4427-81a8-6e7641dfa26a" providerId="ADAL" clId="{D05B32F5-8EBF-4D96-A633-AC7FFE7AC13C}" dt="2025-04-08T06:44:39.596" v="603" actId="14100"/>
          <ac:spMkLst>
            <pc:docMk/>
            <pc:sldMk cId="1100823453" sldId="2147483444"/>
            <ac:spMk id="14" creationId="{010F5B7D-8EA2-7B53-5678-CEDF20341B1F}"/>
          </ac:spMkLst>
        </pc:spChg>
        <pc:spChg chg="mod">
          <ac:chgData name="Matteo Scattolin" userId="4c2db86b-a0c1-4427-81a8-6e7641dfa26a" providerId="ADAL" clId="{D05B32F5-8EBF-4D96-A633-AC7FFE7AC13C}" dt="2025-04-08T06:25:00.863" v="478" actId="404"/>
          <ac:spMkLst>
            <pc:docMk/>
            <pc:sldMk cId="1100823453" sldId="2147483444"/>
            <ac:spMk id="15" creationId="{2E298CE5-559D-1A9D-8020-B695444434F0}"/>
          </ac:spMkLst>
        </pc:spChg>
        <pc:spChg chg="mod">
          <ac:chgData name="Matteo Scattolin" userId="4c2db86b-a0c1-4427-81a8-6e7641dfa26a" providerId="ADAL" clId="{D05B32F5-8EBF-4D96-A633-AC7FFE7AC13C}" dt="2025-04-08T06:24:39.834" v="473" actId="404"/>
          <ac:spMkLst>
            <pc:docMk/>
            <pc:sldMk cId="1100823453" sldId="2147483444"/>
            <ac:spMk id="16" creationId="{B7F8E99C-425B-62FF-4C59-46111A853492}"/>
          </ac:spMkLst>
        </pc:spChg>
        <pc:spChg chg="mod">
          <ac:chgData name="Matteo Scattolin" userId="4c2db86b-a0c1-4427-81a8-6e7641dfa26a" providerId="ADAL" clId="{D05B32F5-8EBF-4D96-A633-AC7FFE7AC13C}" dt="2025-04-08T06:24:43.330" v="474" actId="404"/>
          <ac:spMkLst>
            <pc:docMk/>
            <pc:sldMk cId="1100823453" sldId="2147483444"/>
            <ac:spMk id="17" creationId="{75594F41-19FA-86BE-4805-A7E077B226EF}"/>
          </ac:spMkLst>
        </pc:spChg>
      </pc:sldChg>
      <pc:sldChg chg="addSp modSp mod modAnim">
        <pc:chgData name="Matteo Scattolin" userId="4c2db86b-a0c1-4427-81a8-6e7641dfa26a" providerId="ADAL" clId="{D05B32F5-8EBF-4D96-A633-AC7FFE7AC13C}" dt="2025-04-08T06:31:59.455" v="538"/>
        <pc:sldMkLst>
          <pc:docMk/>
          <pc:sldMk cId="237133883" sldId="2147483447"/>
        </pc:sldMkLst>
        <pc:grpChg chg="add mod">
          <ac:chgData name="Matteo Scattolin" userId="4c2db86b-a0c1-4427-81a8-6e7641dfa26a" providerId="ADAL" clId="{D05B32F5-8EBF-4D96-A633-AC7FFE7AC13C}" dt="2025-04-08T06:30:36.673" v="525" actId="164"/>
          <ac:grpSpMkLst>
            <pc:docMk/>
            <pc:sldMk cId="237133883" sldId="2147483447"/>
            <ac:grpSpMk id="5" creationId="{8B8A7C14-B8CB-1E58-295A-61E0208947C6}"/>
          </ac:grpSpMkLst>
        </pc:grpChg>
        <pc:grpChg chg="add mod ord">
          <ac:chgData name="Matteo Scattolin" userId="4c2db86b-a0c1-4427-81a8-6e7641dfa26a" providerId="ADAL" clId="{D05B32F5-8EBF-4D96-A633-AC7FFE7AC13C}" dt="2025-04-08T06:31:30.756" v="532" actId="166"/>
          <ac:grpSpMkLst>
            <pc:docMk/>
            <pc:sldMk cId="237133883" sldId="2147483447"/>
            <ac:grpSpMk id="6" creationId="{CB993AF1-C1A2-D5A0-1CF8-CF486AB1A668}"/>
          </ac:grpSpMkLst>
        </pc:grpChg>
        <pc:grpChg chg="add mod ord">
          <ac:chgData name="Matteo Scattolin" userId="4c2db86b-a0c1-4427-81a8-6e7641dfa26a" providerId="ADAL" clId="{D05B32F5-8EBF-4D96-A633-AC7FFE7AC13C}" dt="2025-04-08T06:31:34.768" v="533" actId="166"/>
          <ac:grpSpMkLst>
            <pc:docMk/>
            <pc:sldMk cId="237133883" sldId="2147483447"/>
            <ac:grpSpMk id="7" creationId="{CAD3508F-5CC6-9ACE-CB55-A788C5EBEE9B}"/>
          </ac:grpSpMkLst>
        </pc:grpChg>
        <pc:picChg chg="mod">
          <ac:chgData name="Matteo Scattolin" userId="4c2db86b-a0c1-4427-81a8-6e7641dfa26a" providerId="ADAL" clId="{D05B32F5-8EBF-4D96-A633-AC7FFE7AC13C}" dt="2025-04-08T06:30:36.673" v="525" actId="164"/>
          <ac:picMkLst>
            <pc:docMk/>
            <pc:sldMk cId="237133883" sldId="2147483447"/>
            <ac:picMk id="10" creationId="{65115960-D686-2047-9F33-DA86F3666775}"/>
          </ac:picMkLst>
        </pc:picChg>
        <pc:picChg chg="mod">
          <ac:chgData name="Matteo Scattolin" userId="4c2db86b-a0c1-4427-81a8-6e7641dfa26a" providerId="ADAL" clId="{D05B32F5-8EBF-4D96-A633-AC7FFE7AC13C}" dt="2025-04-08T06:31:22.842" v="531" actId="164"/>
          <ac:picMkLst>
            <pc:docMk/>
            <pc:sldMk cId="237133883" sldId="2147483447"/>
            <ac:picMk id="12" creationId="{3CD36F9D-ED5D-8BD9-5C32-58308DF98253}"/>
          </ac:picMkLst>
        </pc:picChg>
        <pc:picChg chg="mod">
          <ac:chgData name="Matteo Scattolin" userId="4c2db86b-a0c1-4427-81a8-6e7641dfa26a" providerId="ADAL" clId="{D05B32F5-8EBF-4D96-A633-AC7FFE7AC13C}" dt="2025-04-08T06:30:51.125" v="527" actId="164"/>
          <ac:picMkLst>
            <pc:docMk/>
            <pc:sldMk cId="237133883" sldId="2147483447"/>
            <ac:picMk id="20" creationId="{8634B0AB-83A9-5228-9A5C-0F776F72C3B0}"/>
          </ac:picMkLst>
        </pc:picChg>
        <pc:picChg chg="ord">
          <ac:chgData name="Matteo Scattolin" userId="4c2db86b-a0c1-4427-81a8-6e7641dfa26a" providerId="ADAL" clId="{D05B32F5-8EBF-4D96-A633-AC7FFE7AC13C}" dt="2025-04-08T06:31:38.570" v="534" actId="166"/>
          <ac:picMkLst>
            <pc:docMk/>
            <pc:sldMk cId="237133883" sldId="2147483447"/>
            <ac:picMk id="22" creationId="{E4275F03-41BF-1B2F-DB61-61BA4CD90425}"/>
          </ac:picMkLst>
        </pc:picChg>
        <pc:picChg chg="mod">
          <ac:chgData name="Matteo Scattolin" userId="4c2db86b-a0c1-4427-81a8-6e7641dfa26a" providerId="ADAL" clId="{D05B32F5-8EBF-4D96-A633-AC7FFE7AC13C}" dt="2025-04-08T06:30:51.125" v="527" actId="164"/>
          <ac:picMkLst>
            <pc:docMk/>
            <pc:sldMk cId="237133883" sldId="2147483447"/>
            <ac:picMk id="27" creationId="{41C9D6AA-B551-1FC3-1163-EFCCD62CE9EC}"/>
          </ac:picMkLst>
        </pc:picChg>
        <pc:picChg chg="mod">
          <ac:chgData name="Matteo Scattolin" userId="4c2db86b-a0c1-4427-81a8-6e7641dfa26a" providerId="ADAL" clId="{D05B32F5-8EBF-4D96-A633-AC7FFE7AC13C}" dt="2025-04-08T06:31:22.842" v="531" actId="164"/>
          <ac:picMkLst>
            <pc:docMk/>
            <pc:sldMk cId="237133883" sldId="2147483447"/>
            <ac:picMk id="29" creationId="{89D94777-62E1-ACF1-D869-681A082062E1}"/>
          </ac:picMkLst>
        </pc:picChg>
        <pc:picChg chg="mod">
          <ac:chgData name="Matteo Scattolin" userId="4c2db86b-a0c1-4427-81a8-6e7641dfa26a" providerId="ADAL" clId="{D05B32F5-8EBF-4D96-A633-AC7FFE7AC13C}" dt="2025-04-08T06:30:36.673" v="525" actId="164"/>
          <ac:picMkLst>
            <pc:docMk/>
            <pc:sldMk cId="237133883" sldId="2147483447"/>
            <ac:picMk id="31" creationId="{7F32B141-0EEF-F870-5A6E-33BAA9335FCE}"/>
          </ac:picMkLst>
        </pc:picChg>
      </pc:sldChg>
      <pc:sldChg chg="modSp mod">
        <pc:chgData name="Matteo Scattolin" userId="4c2db86b-a0c1-4427-81a8-6e7641dfa26a" providerId="ADAL" clId="{D05B32F5-8EBF-4D96-A633-AC7FFE7AC13C}" dt="2025-04-08T06:41:46.123" v="567" actId="20577"/>
        <pc:sldMkLst>
          <pc:docMk/>
          <pc:sldMk cId="3284770102" sldId="2147483625"/>
        </pc:sldMkLst>
        <pc:spChg chg="mod">
          <ac:chgData name="Matteo Scattolin" userId="4c2db86b-a0c1-4427-81a8-6e7641dfa26a" providerId="ADAL" clId="{D05B32F5-8EBF-4D96-A633-AC7FFE7AC13C}" dt="2025-04-08T06:41:46.123" v="567" actId="20577"/>
          <ac:spMkLst>
            <pc:docMk/>
            <pc:sldMk cId="3284770102" sldId="2147483625"/>
            <ac:spMk id="46" creationId="{FC815354-201C-84B4-359B-CA9B737E240E}"/>
          </ac:spMkLst>
        </pc:spChg>
        <pc:spChg chg="mod">
          <ac:chgData name="Matteo Scattolin" userId="4c2db86b-a0c1-4427-81a8-6e7641dfa26a" providerId="ADAL" clId="{D05B32F5-8EBF-4D96-A633-AC7FFE7AC13C}" dt="2025-04-08T06:40:12.178" v="553" actId="207"/>
          <ac:spMkLst>
            <pc:docMk/>
            <pc:sldMk cId="3284770102" sldId="2147483625"/>
            <ac:spMk id="59" creationId="{8260ECBE-AC63-DD22-93A9-019BC6009A0E}"/>
          </ac:spMkLst>
        </pc:spChg>
        <pc:spChg chg="mod">
          <ac:chgData name="Matteo Scattolin" userId="4c2db86b-a0c1-4427-81a8-6e7641dfa26a" providerId="ADAL" clId="{D05B32F5-8EBF-4D96-A633-AC7FFE7AC13C}" dt="2025-04-08T06:40:30.988" v="554" actId="207"/>
          <ac:spMkLst>
            <pc:docMk/>
            <pc:sldMk cId="3284770102" sldId="2147483625"/>
            <ac:spMk id="68" creationId="{E2A682B4-2A0F-2854-FDC9-86D5F61FFFD7}"/>
          </ac:spMkLst>
        </pc:spChg>
      </pc:sldChg>
      <pc:sldChg chg="modSp mod">
        <pc:chgData name="Matteo Scattolin" userId="4c2db86b-a0c1-4427-81a8-6e7641dfa26a" providerId="ADAL" clId="{D05B32F5-8EBF-4D96-A633-AC7FFE7AC13C}" dt="2025-04-08T06:33:59.086" v="549" actId="20577"/>
        <pc:sldMkLst>
          <pc:docMk/>
          <pc:sldMk cId="3854853519" sldId="2147483628"/>
        </pc:sldMkLst>
        <pc:spChg chg="mod">
          <ac:chgData name="Matteo Scattolin" userId="4c2db86b-a0c1-4427-81a8-6e7641dfa26a" providerId="ADAL" clId="{D05B32F5-8EBF-4D96-A633-AC7FFE7AC13C}" dt="2025-04-08T06:33:59.086" v="549" actId="20577"/>
          <ac:spMkLst>
            <pc:docMk/>
            <pc:sldMk cId="3854853519" sldId="2147483628"/>
            <ac:spMk id="4" creationId="{16050F39-C839-EF09-2E83-2ECE6747C432}"/>
          </ac:spMkLst>
        </pc:spChg>
      </pc:sldChg>
      <pc:sldChg chg="addSp modSp mod ord">
        <pc:chgData name="Matteo Scattolin" userId="4c2db86b-a0c1-4427-81a8-6e7641dfa26a" providerId="ADAL" clId="{D05B32F5-8EBF-4D96-A633-AC7FFE7AC13C}" dt="2025-04-08T06:42:53.740" v="589"/>
        <pc:sldMkLst>
          <pc:docMk/>
          <pc:sldMk cId="2704752248" sldId="2147483633"/>
        </pc:sldMkLst>
        <pc:spChg chg="add mod">
          <ac:chgData name="Matteo Scattolin" userId="4c2db86b-a0c1-4427-81a8-6e7641dfa26a" providerId="ADAL" clId="{D05B32F5-8EBF-4D96-A633-AC7FFE7AC13C}" dt="2025-04-08T06:42:38.879" v="587" actId="1036"/>
          <ac:spMkLst>
            <pc:docMk/>
            <pc:sldMk cId="2704752248" sldId="2147483633"/>
            <ac:spMk id="14" creationId="{08159B46-10DC-2B44-DB0B-8455BAAD5E8B}"/>
          </ac:spMkLst>
        </pc:spChg>
      </pc:sldChg>
      <pc:sldChg chg="modSp mod">
        <pc:chgData name="Matteo Scattolin" userId="4c2db86b-a0c1-4427-81a8-6e7641dfa26a" providerId="ADAL" clId="{D05B32F5-8EBF-4D96-A633-AC7FFE7AC13C}" dt="2025-04-08T08:30:02.195" v="654" actId="404"/>
        <pc:sldMkLst>
          <pc:docMk/>
          <pc:sldMk cId="425266526" sldId="2147483638"/>
        </pc:sldMkLst>
        <pc:spChg chg="mod">
          <ac:chgData name="Matteo Scattolin" userId="4c2db86b-a0c1-4427-81a8-6e7641dfa26a" providerId="ADAL" clId="{D05B32F5-8EBF-4D96-A633-AC7FFE7AC13C}" dt="2025-04-08T08:30:02.195" v="654" actId="404"/>
          <ac:spMkLst>
            <pc:docMk/>
            <pc:sldMk cId="425266526" sldId="2147483638"/>
            <ac:spMk id="14" creationId="{23AE704D-5BCE-4F5B-63C5-1E3AC5C7B930}"/>
          </ac:spMkLst>
        </pc:spChg>
      </pc:sldChg>
      <pc:sldChg chg="del ord">
        <pc:chgData name="Matteo Scattolin" userId="4c2db86b-a0c1-4427-81a8-6e7641dfa26a" providerId="ADAL" clId="{D05B32F5-8EBF-4D96-A633-AC7FFE7AC13C}" dt="2025-04-08T06:43:01.548" v="590" actId="47"/>
        <pc:sldMkLst>
          <pc:docMk/>
          <pc:sldMk cId="1161249436" sldId="2147483639"/>
        </pc:sldMkLst>
      </pc:sldChg>
      <pc:sldMasterChg chg="modSldLayout">
        <pc:chgData name="Matteo Scattolin" userId="4c2db86b-a0c1-4427-81a8-6e7641dfa26a" providerId="ADAL" clId="{D05B32F5-8EBF-4D96-A633-AC7FFE7AC13C}" dt="2025-04-08T06:13:54.670" v="323" actId="20577"/>
        <pc:sldMasterMkLst>
          <pc:docMk/>
          <pc:sldMasterMk cId="3851660094" sldId="2147483648"/>
        </pc:sldMasterMkLst>
        <pc:sldLayoutChg chg="modSp mod">
          <pc:chgData name="Matteo Scattolin" userId="4c2db86b-a0c1-4427-81a8-6e7641dfa26a" providerId="ADAL" clId="{D05B32F5-8EBF-4D96-A633-AC7FFE7AC13C}" dt="2025-04-08T06:13:54.490" v="288" actId="20577"/>
          <pc:sldLayoutMkLst>
            <pc:docMk/>
            <pc:sldMasterMk cId="3851660094" sldId="2147483648"/>
            <pc:sldLayoutMk cId="1157286442" sldId="2147483649"/>
          </pc:sldLayoutMkLst>
          <pc:spChg chg="mod modVis">
            <ac:chgData name="Matteo Scattolin" userId="4c2db86b-a0c1-4427-81a8-6e7641dfa26a" providerId="ADAL" clId="{D05B32F5-8EBF-4D96-A633-AC7FFE7AC13C}" dt="2025-04-08T06:13:52.351" v="151"/>
            <ac:spMkLst>
              <pc:docMk/>
              <pc:sldMasterMk cId="3851660094" sldId="2147483648"/>
              <pc:sldLayoutMk cId="1157286442" sldId="2147483649"/>
              <ac:spMk id="2" creationId="{EC111BAD-3704-6FE0-BD66-1E93EE2FBDFF}"/>
            </ac:spMkLst>
          </pc:spChg>
          <pc:spChg chg="mod modVis">
            <ac:chgData name="Matteo Scattolin" userId="4c2db86b-a0c1-4427-81a8-6e7641dfa26a" providerId="ADAL" clId="{D05B32F5-8EBF-4D96-A633-AC7FFE7AC13C}" dt="2025-04-08T06:13:50.842" v="7"/>
            <ac:spMkLst>
              <pc:docMk/>
              <pc:sldMasterMk cId="3851660094" sldId="2147483648"/>
              <pc:sldLayoutMk cId="1157286442" sldId="2147483649"/>
              <ac:spMk id="4" creationId="{D2D16E53-CE32-3219-7B3C-75AB70C53518}"/>
            </ac:spMkLst>
          </pc:spChg>
          <pc:spChg chg="mod">
            <ac:chgData name="Matteo Scattolin" userId="4c2db86b-a0c1-4427-81a8-6e7641dfa26a" providerId="ADAL" clId="{D05B32F5-8EBF-4D96-A633-AC7FFE7AC13C}" dt="2025-04-08T06:13:54.490" v="288" actId="20577"/>
            <ac:spMkLst>
              <pc:docMk/>
              <pc:sldMasterMk cId="3851660094" sldId="2147483648"/>
              <pc:sldLayoutMk cId="1157286442" sldId="2147483649"/>
              <ac:spMk id="6" creationId="{42A7A397-542F-0E44-25AD-CB6B64DF0508}"/>
            </ac:spMkLst>
          </pc:spChg>
          <pc:spChg chg="mod modVis">
            <ac:chgData name="Matteo Scattolin" userId="4c2db86b-a0c1-4427-81a8-6e7641dfa26a" providerId="ADAL" clId="{D05B32F5-8EBF-4D96-A633-AC7FFE7AC13C}" dt="2025-04-08T06:13:53.120" v="221"/>
            <ac:spMkLst>
              <pc:docMk/>
              <pc:sldMasterMk cId="3851660094" sldId="2147483648"/>
              <pc:sldLayoutMk cId="1157286442" sldId="2147483649"/>
              <ac:spMk id="10" creationId="{CC9988A0-70F4-D7E5-7310-17D352605510}"/>
            </ac:spMkLst>
          </pc:spChg>
          <pc:spChg chg="mod modVis">
            <ac:chgData name="Matteo Scattolin" userId="4c2db86b-a0c1-4427-81a8-6e7641dfa26a" providerId="ADAL" clId="{D05B32F5-8EBF-4D96-A633-AC7FFE7AC13C}" dt="2025-04-08T06:13:51.599" v="79"/>
            <ac:spMkLst>
              <pc:docMk/>
              <pc:sldMasterMk cId="3851660094" sldId="2147483648"/>
              <pc:sldLayoutMk cId="1157286442" sldId="2147483649"/>
              <ac:spMk id="11" creationId="{D6C179D1-F5C7-57B6-5E37-498C54F32E16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057" v="286" actId="20577"/>
          <pc:sldLayoutMkLst>
            <pc:docMk/>
            <pc:sldMasterMk cId="3851660094" sldId="2147483648"/>
            <pc:sldLayoutMk cId="1120317210" sldId="2147483674"/>
          </pc:sldLayoutMkLst>
          <pc:spChg chg="mod modVis">
            <ac:chgData name="Matteo Scattolin" userId="4c2db86b-a0c1-4427-81a8-6e7641dfa26a" providerId="ADAL" clId="{D05B32F5-8EBF-4D96-A633-AC7FFE7AC13C}" dt="2025-04-08T06:13:51.594" v="75"/>
            <ac:spMkLst>
              <pc:docMk/>
              <pc:sldMasterMk cId="3851660094" sldId="2147483648"/>
              <pc:sldLayoutMk cId="1120317210" sldId="2147483674"/>
              <ac:spMk id="2" creationId="{964DFE5F-A5FC-52DD-4738-B265FCACD058}"/>
            </ac:spMkLst>
          </pc:spChg>
          <pc:spChg chg="mod">
            <ac:chgData name="Matteo Scattolin" userId="4c2db86b-a0c1-4427-81a8-6e7641dfa26a" providerId="ADAL" clId="{D05B32F5-8EBF-4D96-A633-AC7FFE7AC13C}" dt="2025-04-08T06:13:54.057" v="286" actId="20577"/>
            <ac:spMkLst>
              <pc:docMk/>
              <pc:sldMasterMk cId="3851660094" sldId="2147483648"/>
              <pc:sldLayoutMk cId="1120317210" sldId="2147483674"/>
              <ac:spMk id="3" creationId="{BC4EB99E-EE45-3651-6E96-1376D5D4F6A6}"/>
            </ac:spMkLst>
          </pc:spChg>
          <pc:spChg chg="mod modVis">
            <ac:chgData name="Matteo Scattolin" userId="4c2db86b-a0c1-4427-81a8-6e7641dfa26a" providerId="ADAL" clId="{D05B32F5-8EBF-4D96-A633-AC7FFE7AC13C}" dt="2025-04-08T06:13:52.347" v="147"/>
            <ac:spMkLst>
              <pc:docMk/>
              <pc:sldMasterMk cId="3851660094" sldId="2147483648"/>
              <pc:sldLayoutMk cId="1120317210" sldId="2147483674"/>
              <ac:spMk id="4" creationId="{141544D7-7778-2A24-0D48-C001BEBC1668}"/>
            </ac:spMkLst>
          </pc:spChg>
          <pc:spChg chg="mod modVis">
            <ac:chgData name="Matteo Scattolin" userId="4c2db86b-a0c1-4427-81a8-6e7641dfa26a" providerId="ADAL" clId="{D05B32F5-8EBF-4D96-A633-AC7FFE7AC13C}" dt="2025-04-08T06:13:50.838" v="3"/>
            <ac:spMkLst>
              <pc:docMk/>
              <pc:sldMasterMk cId="3851660094" sldId="2147483648"/>
              <pc:sldLayoutMk cId="1120317210" sldId="2147483674"/>
              <ac:spMk id="6" creationId="{1C3E7F06-74E1-E1BF-396C-4A0FA079D032}"/>
            </ac:spMkLst>
          </pc:spChg>
          <pc:spChg chg="mod modVis">
            <ac:chgData name="Matteo Scattolin" userId="4c2db86b-a0c1-4427-81a8-6e7641dfa26a" providerId="ADAL" clId="{D05B32F5-8EBF-4D96-A633-AC7FFE7AC13C}" dt="2025-04-08T06:13:53.115" v="217"/>
            <ac:spMkLst>
              <pc:docMk/>
              <pc:sldMasterMk cId="3851660094" sldId="2147483648"/>
              <pc:sldLayoutMk cId="1120317210" sldId="2147483674"/>
              <ac:spMk id="7" creationId="{02BC1285-1FE9-903D-39A5-6B749AF0528D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485" v="287" actId="20577"/>
          <pc:sldLayoutMkLst>
            <pc:docMk/>
            <pc:sldMasterMk cId="3851660094" sldId="2147483648"/>
            <pc:sldLayoutMk cId="577733237" sldId="2147483677"/>
          </pc:sldLayoutMkLst>
          <pc:spChg chg="mod modVis">
            <ac:chgData name="Matteo Scattolin" userId="4c2db86b-a0c1-4427-81a8-6e7641dfa26a" providerId="ADAL" clId="{D05B32F5-8EBF-4D96-A633-AC7FFE7AC13C}" dt="2025-04-08T06:13:52.349" v="149"/>
            <ac:spMkLst>
              <pc:docMk/>
              <pc:sldMasterMk cId="3851660094" sldId="2147483648"/>
              <pc:sldLayoutMk cId="577733237" sldId="2147483677"/>
              <ac:spMk id="4" creationId="{E7574B01-63B5-161F-1222-587E17BE5658}"/>
            </ac:spMkLst>
          </pc:spChg>
          <pc:spChg chg="mod modVis">
            <ac:chgData name="Matteo Scattolin" userId="4c2db86b-a0c1-4427-81a8-6e7641dfa26a" providerId="ADAL" clId="{D05B32F5-8EBF-4D96-A633-AC7FFE7AC13C}" dt="2025-04-08T06:13:50.840" v="5"/>
            <ac:spMkLst>
              <pc:docMk/>
              <pc:sldMasterMk cId="3851660094" sldId="2147483648"/>
              <pc:sldLayoutMk cId="577733237" sldId="2147483677"/>
              <ac:spMk id="7" creationId="{4C16E119-BB10-2D51-6B2A-0AF6B99FB000}"/>
            </ac:spMkLst>
          </pc:spChg>
          <pc:spChg chg="mod">
            <ac:chgData name="Matteo Scattolin" userId="4c2db86b-a0c1-4427-81a8-6e7641dfa26a" providerId="ADAL" clId="{D05B32F5-8EBF-4D96-A633-AC7FFE7AC13C}" dt="2025-04-08T06:13:54.485" v="287" actId="20577"/>
            <ac:spMkLst>
              <pc:docMk/>
              <pc:sldMasterMk cId="3851660094" sldId="2147483648"/>
              <pc:sldLayoutMk cId="577733237" sldId="2147483677"/>
              <ac:spMk id="8" creationId="{36092E35-E4D4-313D-E833-436D8F350C6A}"/>
            </ac:spMkLst>
          </pc:spChg>
          <pc:spChg chg="mod modVis">
            <ac:chgData name="Matteo Scattolin" userId="4c2db86b-a0c1-4427-81a8-6e7641dfa26a" providerId="ADAL" clId="{D05B32F5-8EBF-4D96-A633-AC7FFE7AC13C}" dt="2025-04-08T06:13:53.117" v="219"/>
            <ac:spMkLst>
              <pc:docMk/>
              <pc:sldMasterMk cId="3851660094" sldId="2147483648"/>
              <pc:sldLayoutMk cId="577733237" sldId="2147483677"/>
              <ac:spMk id="12" creationId="{E2D310CB-2F80-4696-608D-6FE4311B3514}"/>
            </ac:spMkLst>
          </pc:spChg>
          <pc:spChg chg="mod modVis">
            <ac:chgData name="Matteo Scattolin" userId="4c2db86b-a0c1-4427-81a8-6e7641dfa26a" providerId="ADAL" clId="{D05B32F5-8EBF-4D96-A633-AC7FFE7AC13C}" dt="2025-04-08T06:13:51.596" v="77"/>
            <ac:spMkLst>
              <pc:docMk/>
              <pc:sldMasterMk cId="3851660094" sldId="2147483648"/>
              <pc:sldLayoutMk cId="577733237" sldId="2147483677"/>
              <ac:spMk id="14" creationId="{944A2781-06CE-66E6-4C5F-A901BB699562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05" v="291" actId="20577"/>
          <pc:sldLayoutMkLst>
            <pc:docMk/>
            <pc:sldMasterMk cId="3851660094" sldId="2147483648"/>
            <pc:sldLayoutMk cId="2866133892" sldId="2147483679"/>
          </pc:sldLayoutMkLst>
          <pc:spChg chg="mod">
            <ac:chgData name="Matteo Scattolin" userId="4c2db86b-a0c1-4427-81a8-6e7641dfa26a" providerId="ADAL" clId="{D05B32F5-8EBF-4D96-A633-AC7FFE7AC13C}" dt="2025-04-08T06:13:54.505" v="291" actId="20577"/>
            <ac:spMkLst>
              <pc:docMk/>
              <pc:sldMasterMk cId="3851660094" sldId="2147483648"/>
              <pc:sldLayoutMk cId="2866133892" sldId="2147483679"/>
              <ac:spMk id="7" creationId="{851FA15A-1298-BDC0-545B-F0B7F0E8999D}"/>
            </ac:spMkLst>
          </pc:spChg>
          <pc:spChg chg="mod modVis">
            <ac:chgData name="Matteo Scattolin" userId="4c2db86b-a0c1-4427-81a8-6e7641dfa26a" providerId="ADAL" clId="{D05B32F5-8EBF-4D96-A633-AC7FFE7AC13C}" dt="2025-04-08T06:13:52.358" v="157"/>
            <ac:spMkLst>
              <pc:docMk/>
              <pc:sldMasterMk cId="3851660094" sldId="2147483648"/>
              <pc:sldLayoutMk cId="2866133892" sldId="2147483679"/>
              <ac:spMk id="16" creationId="{EE28F91C-D667-A767-C45D-4318C9BDDA78}"/>
            </ac:spMkLst>
          </pc:spChg>
          <pc:spChg chg="mod modVis">
            <ac:chgData name="Matteo Scattolin" userId="4c2db86b-a0c1-4427-81a8-6e7641dfa26a" providerId="ADAL" clId="{D05B32F5-8EBF-4D96-A633-AC7FFE7AC13C}" dt="2025-04-08T06:13:50.847" v="13"/>
            <ac:spMkLst>
              <pc:docMk/>
              <pc:sldMasterMk cId="3851660094" sldId="2147483648"/>
              <pc:sldLayoutMk cId="2866133892" sldId="2147483679"/>
              <ac:spMk id="17" creationId="{C8E362A8-44BB-775C-28EA-00E8CDE1D872}"/>
            </ac:spMkLst>
          </pc:spChg>
          <pc:spChg chg="mod modVis">
            <ac:chgData name="Matteo Scattolin" userId="4c2db86b-a0c1-4427-81a8-6e7641dfa26a" providerId="ADAL" clId="{D05B32F5-8EBF-4D96-A633-AC7FFE7AC13C}" dt="2025-04-08T06:13:53.126" v="227"/>
            <ac:spMkLst>
              <pc:docMk/>
              <pc:sldMasterMk cId="3851660094" sldId="2147483648"/>
              <pc:sldLayoutMk cId="2866133892" sldId="2147483679"/>
              <ac:spMk id="18" creationId="{48C18BC2-15B5-D527-030B-E9F8FA574938}"/>
            </ac:spMkLst>
          </pc:spChg>
          <pc:spChg chg="mod modVis">
            <ac:chgData name="Matteo Scattolin" userId="4c2db86b-a0c1-4427-81a8-6e7641dfa26a" providerId="ADAL" clId="{D05B32F5-8EBF-4D96-A633-AC7FFE7AC13C}" dt="2025-04-08T06:13:51.605" v="85"/>
            <ac:spMkLst>
              <pc:docMk/>
              <pc:sldMasterMk cId="3851660094" sldId="2147483648"/>
              <pc:sldLayoutMk cId="2866133892" sldId="2147483679"/>
              <ac:spMk id="19" creationId="{FA647F6C-8B25-50B0-4C35-5FEFC0951C98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31" v="296" actId="20577"/>
          <pc:sldLayoutMkLst>
            <pc:docMk/>
            <pc:sldMasterMk cId="3851660094" sldId="2147483648"/>
            <pc:sldLayoutMk cId="3140590096" sldId="2147483680"/>
          </pc:sldLayoutMkLst>
          <pc:spChg chg="mod">
            <ac:chgData name="Matteo Scattolin" userId="4c2db86b-a0c1-4427-81a8-6e7641dfa26a" providerId="ADAL" clId="{D05B32F5-8EBF-4D96-A633-AC7FFE7AC13C}" dt="2025-04-08T06:13:54.531" v="296" actId="20577"/>
            <ac:spMkLst>
              <pc:docMk/>
              <pc:sldMasterMk cId="3851660094" sldId="2147483648"/>
              <pc:sldLayoutMk cId="3140590096" sldId="2147483680"/>
              <ac:spMk id="10" creationId="{5021C327-6953-B56E-123A-E07475D552AB}"/>
            </ac:spMkLst>
          </pc:spChg>
          <pc:spChg chg="mod modVis">
            <ac:chgData name="Matteo Scattolin" userId="4c2db86b-a0c1-4427-81a8-6e7641dfa26a" providerId="ADAL" clId="{D05B32F5-8EBF-4D96-A633-AC7FFE7AC13C}" dt="2025-04-08T06:13:52.367" v="167"/>
            <ac:spMkLst>
              <pc:docMk/>
              <pc:sldMasterMk cId="3851660094" sldId="2147483648"/>
              <pc:sldLayoutMk cId="3140590096" sldId="2147483680"/>
              <ac:spMk id="16" creationId="{4D0F1323-E0DD-BC42-7957-D3ACD88FFE6D}"/>
            </ac:spMkLst>
          </pc:spChg>
          <pc:spChg chg="mod modVis">
            <ac:chgData name="Matteo Scattolin" userId="4c2db86b-a0c1-4427-81a8-6e7641dfa26a" providerId="ADAL" clId="{D05B32F5-8EBF-4D96-A633-AC7FFE7AC13C}" dt="2025-04-08T06:13:50.856" v="23"/>
            <ac:spMkLst>
              <pc:docMk/>
              <pc:sldMasterMk cId="3851660094" sldId="2147483648"/>
              <pc:sldLayoutMk cId="3140590096" sldId="2147483680"/>
              <ac:spMk id="17" creationId="{5CAA2F52-DC00-45E4-3D6B-7D2223F37820}"/>
            </ac:spMkLst>
          </pc:spChg>
          <pc:spChg chg="mod modVis">
            <ac:chgData name="Matteo Scattolin" userId="4c2db86b-a0c1-4427-81a8-6e7641dfa26a" providerId="ADAL" clId="{D05B32F5-8EBF-4D96-A633-AC7FFE7AC13C}" dt="2025-04-08T06:13:53.137" v="237"/>
            <ac:spMkLst>
              <pc:docMk/>
              <pc:sldMasterMk cId="3851660094" sldId="2147483648"/>
              <pc:sldLayoutMk cId="3140590096" sldId="2147483680"/>
              <ac:spMk id="18" creationId="{0CB5EB19-5409-72CA-FB75-005D26DBA826}"/>
            </ac:spMkLst>
          </pc:spChg>
          <pc:spChg chg="mod modVis">
            <ac:chgData name="Matteo Scattolin" userId="4c2db86b-a0c1-4427-81a8-6e7641dfa26a" providerId="ADAL" clId="{D05B32F5-8EBF-4D96-A633-AC7FFE7AC13C}" dt="2025-04-08T06:13:51.617" v="95"/>
            <ac:spMkLst>
              <pc:docMk/>
              <pc:sldMasterMk cId="3851660094" sldId="2147483648"/>
              <pc:sldLayoutMk cId="3140590096" sldId="2147483680"/>
              <ac:spMk id="19" creationId="{51E310F6-F329-F010-C4CD-2CBF78997E7A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09" v="311" actId="20577"/>
          <pc:sldLayoutMkLst>
            <pc:docMk/>
            <pc:sldMasterMk cId="3851660094" sldId="2147483648"/>
            <pc:sldLayoutMk cId="3192492512" sldId="2147483681"/>
          </pc:sldLayoutMkLst>
          <pc:spChg chg="mod modVis">
            <ac:chgData name="Matteo Scattolin" userId="4c2db86b-a0c1-4427-81a8-6e7641dfa26a" providerId="ADAL" clId="{D05B32F5-8EBF-4D96-A633-AC7FFE7AC13C}" dt="2025-04-08T06:13:52.393" v="193"/>
            <ac:spMkLst>
              <pc:docMk/>
              <pc:sldMasterMk cId="3851660094" sldId="2147483648"/>
              <pc:sldLayoutMk cId="3192492512" sldId="2147483681"/>
              <ac:spMk id="4" creationId="{90F03E5A-4EEA-6AB3-2FF2-E0AE0A8BCE29}"/>
            </ac:spMkLst>
          </pc:spChg>
          <pc:spChg chg="mod modVis">
            <ac:chgData name="Matteo Scattolin" userId="4c2db86b-a0c1-4427-81a8-6e7641dfa26a" providerId="ADAL" clId="{D05B32F5-8EBF-4D96-A633-AC7FFE7AC13C}" dt="2025-04-08T06:13:50.884" v="49"/>
            <ac:spMkLst>
              <pc:docMk/>
              <pc:sldMasterMk cId="3851660094" sldId="2147483648"/>
              <pc:sldLayoutMk cId="3192492512" sldId="2147483681"/>
              <ac:spMk id="7" creationId="{3AD0A24E-1914-6DE9-70AC-218EEA0C322D}"/>
            </ac:spMkLst>
          </pc:spChg>
          <pc:spChg chg="mod">
            <ac:chgData name="Matteo Scattolin" userId="4c2db86b-a0c1-4427-81a8-6e7641dfa26a" providerId="ADAL" clId="{D05B32F5-8EBF-4D96-A633-AC7FFE7AC13C}" dt="2025-04-08T06:13:54.609" v="311" actId="20577"/>
            <ac:spMkLst>
              <pc:docMk/>
              <pc:sldMasterMk cId="3851660094" sldId="2147483648"/>
              <pc:sldLayoutMk cId="3192492512" sldId="2147483681"/>
              <ac:spMk id="8" creationId="{D7445F37-B8F7-BF36-D3D4-2E7F6D0A7AF2}"/>
            </ac:spMkLst>
          </pc:spChg>
          <pc:spChg chg="mod modVis">
            <ac:chgData name="Matteo Scattolin" userId="4c2db86b-a0c1-4427-81a8-6e7641dfa26a" providerId="ADAL" clId="{D05B32F5-8EBF-4D96-A633-AC7FFE7AC13C}" dt="2025-04-08T06:13:53.163" v="263"/>
            <ac:spMkLst>
              <pc:docMk/>
              <pc:sldMasterMk cId="3851660094" sldId="2147483648"/>
              <pc:sldLayoutMk cId="3192492512" sldId="2147483681"/>
              <ac:spMk id="15" creationId="{F510FFE9-931F-8DD9-4044-485C4AEF5D29}"/>
            </ac:spMkLst>
          </pc:spChg>
          <pc:spChg chg="mod modVis">
            <ac:chgData name="Matteo Scattolin" userId="4c2db86b-a0c1-4427-81a8-6e7641dfa26a" providerId="ADAL" clId="{D05B32F5-8EBF-4D96-A633-AC7FFE7AC13C}" dt="2025-04-08T06:13:51.643" v="121"/>
            <ac:spMkLst>
              <pc:docMk/>
              <pc:sldMasterMk cId="3851660094" sldId="2147483648"/>
              <pc:sldLayoutMk cId="3192492512" sldId="2147483681"/>
              <ac:spMk id="16" creationId="{95AE4A4A-1107-7105-6D0D-1C0802F3CF71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36" v="316" actId="20577"/>
          <pc:sldLayoutMkLst>
            <pc:docMk/>
            <pc:sldMasterMk cId="3851660094" sldId="2147483648"/>
            <pc:sldLayoutMk cId="3240258671" sldId="2147483683"/>
          </pc:sldLayoutMkLst>
          <pc:spChg chg="mod modVis">
            <ac:chgData name="Matteo Scattolin" userId="4c2db86b-a0c1-4427-81a8-6e7641dfa26a" providerId="ADAL" clId="{D05B32F5-8EBF-4D96-A633-AC7FFE7AC13C}" dt="2025-04-08T06:13:52.401" v="201"/>
            <ac:spMkLst>
              <pc:docMk/>
              <pc:sldMasterMk cId="3851660094" sldId="2147483648"/>
              <pc:sldLayoutMk cId="3240258671" sldId="2147483683"/>
              <ac:spMk id="3" creationId="{0B00322A-9834-36FA-5258-A27D5A761560}"/>
            </ac:spMkLst>
          </pc:spChg>
          <pc:spChg chg="mod modVis">
            <ac:chgData name="Matteo Scattolin" userId="4c2db86b-a0c1-4427-81a8-6e7641dfa26a" providerId="ADAL" clId="{D05B32F5-8EBF-4D96-A633-AC7FFE7AC13C}" dt="2025-04-08T06:13:50.890" v="57"/>
            <ac:spMkLst>
              <pc:docMk/>
              <pc:sldMasterMk cId="3851660094" sldId="2147483648"/>
              <pc:sldLayoutMk cId="3240258671" sldId="2147483683"/>
              <ac:spMk id="7" creationId="{CB688A1C-C4AC-54C3-4354-05DADBF3DBCB}"/>
            </ac:spMkLst>
          </pc:spChg>
          <pc:spChg chg="mod">
            <ac:chgData name="Matteo Scattolin" userId="4c2db86b-a0c1-4427-81a8-6e7641dfa26a" providerId="ADAL" clId="{D05B32F5-8EBF-4D96-A633-AC7FFE7AC13C}" dt="2025-04-08T06:13:54.636" v="316" actId="20577"/>
            <ac:spMkLst>
              <pc:docMk/>
              <pc:sldMasterMk cId="3851660094" sldId="2147483648"/>
              <pc:sldLayoutMk cId="3240258671" sldId="2147483683"/>
              <ac:spMk id="14" creationId="{D80C215D-0065-8D39-31A4-C08C40754F96}"/>
            </ac:spMkLst>
          </pc:spChg>
          <pc:spChg chg="mod modVis">
            <ac:chgData name="Matteo Scattolin" userId="4c2db86b-a0c1-4427-81a8-6e7641dfa26a" providerId="ADAL" clId="{D05B32F5-8EBF-4D96-A633-AC7FFE7AC13C}" dt="2025-04-08T06:13:53.171" v="271"/>
            <ac:spMkLst>
              <pc:docMk/>
              <pc:sldMasterMk cId="3851660094" sldId="2147483648"/>
              <pc:sldLayoutMk cId="3240258671" sldId="2147483683"/>
              <ac:spMk id="18" creationId="{1FB95B79-E80D-7CA2-79C7-D6040C469A69}"/>
            </ac:spMkLst>
          </pc:spChg>
          <pc:spChg chg="mod modVis">
            <ac:chgData name="Matteo Scattolin" userId="4c2db86b-a0c1-4427-81a8-6e7641dfa26a" providerId="ADAL" clId="{D05B32F5-8EBF-4D96-A633-AC7FFE7AC13C}" dt="2025-04-08T06:13:51.650" v="129"/>
            <ac:spMkLst>
              <pc:docMk/>
              <pc:sldMasterMk cId="3851660094" sldId="2147483648"/>
              <pc:sldLayoutMk cId="3240258671" sldId="2147483683"/>
              <ac:spMk id="19" creationId="{9069D7F4-0DD9-F9DC-DA45-1FACB17BD51F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20" v="313" actId="20577"/>
          <pc:sldLayoutMkLst>
            <pc:docMk/>
            <pc:sldMasterMk cId="3851660094" sldId="2147483648"/>
            <pc:sldLayoutMk cId="4288596455" sldId="2147483685"/>
          </pc:sldLayoutMkLst>
          <pc:spChg chg="mod">
            <ac:chgData name="Matteo Scattolin" userId="4c2db86b-a0c1-4427-81a8-6e7641dfa26a" providerId="ADAL" clId="{D05B32F5-8EBF-4D96-A633-AC7FFE7AC13C}" dt="2025-04-08T06:13:54.620" v="313" actId="20577"/>
            <ac:spMkLst>
              <pc:docMk/>
              <pc:sldMasterMk cId="3851660094" sldId="2147483648"/>
              <pc:sldLayoutMk cId="4288596455" sldId="2147483685"/>
              <ac:spMk id="10" creationId="{26F8756C-1F82-3A4F-ECA2-56953130E435}"/>
            </ac:spMkLst>
          </pc:spChg>
          <pc:spChg chg="mod modVis">
            <ac:chgData name="Matteo Scattolin" userId="4c2db86b-a0c1-4427-81a8-6e7641dfa26a" providerId="ADAL" clId="{D05B32F5-8EBF-4D96-A633-AC7FFE7AC13C}" dt="2025-04-08T06:13:52.395" v="195"/>
            <ac:spMkLst>
              <pc:docMk/>
              <pc:sldMasterMk cId="3851660094" sldId="2147483648"/>
              <pc:sldLayoutMk cId="4288596455" sldId="2147483685"/>
              <ac:spMk id="13" creationId="{FCCAC090-367A-1181-77BA-6D12231C1E06}"/>
            </ac:spMkLst>
          </pc:spChg>
          <pc:spChg chg="mod modVis">
            <ac:chgData name="Matteo Scattolin" userId="4c2db86b-a0c1-4427-81a8-6e7641dfa26a" providerId="ADAL" clId="{D05B32F5-8EBF-4D96-A633-AC7FFE7AC13C}" dt="2025-04-08T06:13:50.885" v="51"/>
            <ac:spMkLst>
              <pc:docMk/>
              <pc:sldMasterMk cId="3851660094" sldId="2147483648"/>
              <pc:sldLayoutMk cId="4288596455" sldId="2147483685"/>
              <ac:spMk id="14" creationId="{A35C0163-A511-4CF5-4934-966585DB8CFE}"/>
            </ac:spMkLst>
          </pc:spChg>
          <pc:spChg chg="mod modVis">
            <ac:chgData name="Matteo Scattolin" userId="4c2db86b-a0c1-4427-81a8-6e7641dfa26a" providerId="ADAL" clId="{D05B32F5-8EBF-4D96-A633-AC7FFE7AC13C}" dt="2025-04-08T06:13:53.165" v="265"/>
            <ac:spMkLst>
              <pc:docMk/>
              <pc:sldMasterMk cId="3851660094" sldId="2147483648"/>
              <pc:sldLayoutMk cId="4288596455" sldId="2147483685"/>
              <ac:spMk id="17" creationId="{BF5818A1-296C-1245-91EC-8053F1F3B444}"/>
            </ac:spMkLst>
          </pc:spChg>
          <pc:spChg chg="mod modVis">
            <ac:chgData name="Matteo Scattolin" userId="4c2db86b-a0c1-4427-81a8-6e7641dfa26a" providerId="ADAL" clId="{D05B32F5-8EBF-4D96-A633-AC7FFE7AC13C}" dt="2025-04-08T06:13:51.645" v="123"/>
            <ac:spMkLst>
              <pc:docMk/>
              <pc:sldMasterMk cId="3851660094" sldId="2147483648"/>
              <pc:sldLayoutMk cId="4288596455" sldId="2147483685"/>
              <ac:spMk id="18" creationId="{65C42545-C4B7-0FE3-649C-5063A4F9F5E3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30" v="315" actId="20577"/>
          <pc:sldLayoutMkLst>
            <pc:docMk/>
            <pc:sldMasterMk cId="3851660094" sldId="2147483648"/>
            <pc:sldLayoutMk cId="2709220860" sldId="2147483686"/>
          </pc:sldLayoutMkLst>
          <pc:spChg chg="mod modVis">
            <ac:chgData name="Matteo Scattolin" userId="4c2db86b-a0c1-4427-81a8-6e7641dfa26a" providerId="ADAL" clId="{D05B32F5-8EBF-4D96-A633-AC7FFE7AC13C}" dt="2025-04-08T06:13:52.399" v="199"/>
            <ac:spMkLst>
              <pc:docMk/>
              <pc:sldMasterMk cId="3851660094" sldId="2147483648"/>
              <pc:sldLayoutMk cId="2709220860" sldId="2147483686"/>
              <ac:spMk id="3" creationId="{F00338B8-B283-3E14-3188-5410972B3444}"/>
            </ac:spMkLst>
          </pc:spChg>
          <pc:spChg chg="mod modVis">
            <ac:chgData name="Matteo Scattolin" userId="4c2db86b-a0c1-4427-81a8-6e7641dfa26a" providerId="ADAL" clId="{D05B32F5-8EBF-4D96-A633-AC7FFE7AC13C}" dt="2025-04-08T06:13:50.888" v="55"/>
            <ac:spMkLst>
              <pc:docMk/>
              <pc:sldMasterMk cId="3851660094" sldId="2147483648"/>
              <pc:sldLayoutMk cId="2709220860" sldId="2147483686"/>
              <ac:spMk id="7" creationId="{10F5B09E-5FAC-C5D3-3006-FDA0C1C9DB71}"/>
            </ac:spMkLst>
          </pc:spChg>
          <pc:spChg chg="mod">
            <ac:chgData name="Matteo Scattolin" userId="4c2db86b-a0c1-4427-81a8-6e7641dfa26a" providerId="ADAL" clId="{D05B32F5-8EBF-4D96-A633-AC7FFE7AC13C}" dt="2025-04-08T06:13:54.630" v="315" actId="20577"/>
            <ac:spMkLst>
              <pc:docMk/>
              <pc:sldMasterMk cId="3851660094" sldId="2147483648"/>
              <pc:sldLayoutMk cId="2709220860" sldId="2147483686"/>
              <ac:spMk id="8" creationId="{98114797-7C27-FCFF-13F0-25907EB2FF08}"/>
            </ac:spMkLst>
          </pc:spChg>
          <pc:spChg chg="mod modVis">
            <ac:chgData name="Matteo Scattolin" userId="4c2db86b-a0c1-4427-81a8-6e7641dfa26a" providerId="ADAL" clId="{D05B32F5-8EBF-4D96-A633-AC7FFE7AC13C}" dt="2025-04-08T06:13:53.169" v="269"/>
            <ac:spMkLst>
              <pc:docMk/>
              <pc:sldMasterMk cId="3851660094" sldId="2147483648"/>
              <pc:sldLayoutMk cId="2709220860" sldId="2147483686"/>
              <ac:spMk id="14" creationId="{FE36E5FE-C9E6-DD6A-A07A-151D0863EC1A}"/>
            </ac:spMkLst>
          </pc:spChg>
          <pc:spChg chg="mod modVis">
            <ac:chgData name="Matteo Scattolin" userId="4c2db86b-a0c1-4427-81a8-6e7641dfa26a" providerId="ADAL" clId="{D05B32F5-8EBF-4D96-A633-AC7FFE7AC13C}" dt="2025-04-08T06:13:51.649" v="127"/>
            <ac:spMkLst>
              <pc:docMk/>
              <pc:sldMasterMk cId="3851660094" sldId="2147483648"/>
              <pc:sldLayoutMk cId="2709220860" sldId="2147483686"/>
              <ac:spMk id="15" creationId="{290F0F4C-2317-0ED6-F9CB-4FE9B80DBC6C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15" v="312" actId="20577"/>
          <pc:sldLayoutMkLst>
            <pc:docMk/>
            <pc:sldMasterMk cId="3851660094" sldId="2147483648"/>
            <pc:sldLayoutMk cId="38736282" sldId="2147483688"/>
          </pc:sldLayoutMkLst>
          <pc:spChg chg="mod">
            <ac:chgData name="Matteo Scattolin" userId="4c2db86b-a0c1-4427-81a8-6e7641dfa26a" providerId="ADAL" clId="{D05B32F5-8EBF-4D96-A633-AC7FFE7AC13C}" dt="2025-04-08T06:13:54.615" v="312" actId="20577"/>
            <ac:spMkLst>
              <pc:docMk/>
              <pc:sldMasterMk cId="3851660094" sldId="2147483648"/>
              <pc:sldLayoutMk cId="38736282" sldId="2147483688"/>
              <ac:spMk id="4" creationId="{66AF8127-E873-01F7-40AA-D9DF608D3211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84" v="306" actId="20577"/>
          <pc:sldLayoutMkLst>
            <pc:docMk/>
            <pc:sldMasterMk cId="3851660094" sldId="2147483648"/>
            <pc:sldLayoutMk cId="491950338" sldId="2147483691"/>
          </pc:sldLayoutMkLst>
          <pc:spChg chg="mod">
            <ac:chgData name="Matteo Scattolin" userId="4c2db86b-a0c1-4427-81a8-6e7641dfa26a" providerId="ADAL" clId="{D05B32F5-8EBF-4D96-A633-AC7FFE7AC13C}" dt="2025-04-08T06:13:54.584" v="306" actId="20577"/>
            <ac:spMkLst>
              <pc:docMk/>
              <pc:sldMasterMk cId="3851660094" sldId="2147483648"/>
              <pc:sldLayoutMk cId="491950338" sldId="2147483691"/>
              <ac:spMk id="3" creationId="{59E079C5-F2BD-B306-597B-10FB5E181E04}"/>
            </ac:spMkLst>
          </pc:spChg>
          <pc:spChg chg="mod modVis">
            <ac:chgData name="Matteo Scattolin" userId="4c2db86b-a0c1-4427-81a8-6e7641dfa26a" providerId="ADAL" clId="{D05B32F5-8EBF-4D96-A633-AC7FFE7AC13C}" dt="2025-04-08T06:13:52.383" v="183"/>
            <ac:spMkLst>
              <pc:docMk/>
              <pc:sldMasterMk cId="3851660094" sldId="2147483648"/>
              <pc:sldLayoutMk cId="491950338" sldId="2147483691"/>
              <ac:spMk id="8" creationId="{1ED7000D-6B30-F63C-05A0-8695F6C8771F}"/>
            </ac:spMkLst>
          </pc:spChg>
          <pc:spChg chg="mod modVis">
            <ac:chgData name="Matteo Scattolin" userId="4c2db86b-a0c1-4427-81a8-6e7641dfa26a" providerId="ADAL" clId="{D05B32F5-8EBF-4D96-A633-AC7FFE7AC13C}" dt="2025-04-08T06:13:50.872" v="39"/>
            <ac:spMkLst>
              <pc:docMk/>
              <pc:sldMasterMk cId="3851660094" sldId="2147483648"/>
              <pc:sldLayoutMk cId="491950338" sldId="2147483691"/>
              <ac:spMk id="9" creationId="{5CB80A59-9393-D6E6-4E64-1C46F600EA61}"/>
            </ac:spMkLst>
          </pc:spChg>
          <pc:spChg chg="mod modVis">
            <ac:chgData name="Matteo Scattolin" userId="4c2db86b-a0c1-4427-81a8-6e7641dfa26a" providerId="ADAL" clId="{D05B32F5-8EBF-4D96-A633-AC7FFE7AC13C}" dt="2025-04-08T06:13:53.154" v="253"/>
            <ac:spMkLst>
              <pc:docMk/>
              <pc:sldMasterMk cId="3851660094" sldId="2147483648"/>
              <pc:sldLayoutMk cId="491950338" sldId="2147483691"/>
              <ac:spMk id="13" creationId="{6410AE7D-B920-96CC-25A6-F9A1A2149085}"/>
            </ac:spMkLst>
          </pc:spChg>
          <pc:spChg chg="mod modVis">
            <ac:chgData name="Matteo Scattolin" userId="4c2db86b-a0c1-4427-81a8-6e7641dfa26a" providerId="ADAL" clId="{D05B32F5-8EBF-4D96-A633-AC7FFE7AC13C}" dt="2025-04-08T06:13:51.633" v="111"/>
            <ac:spMkLst>
              <pc:docMk/>
              <pc:sldMasterMk cId="3851660094" sldId="2147483648"/>
              <pc:sldLayoutMk cId="491950338" sldId="2147483691"/>
              <ac:spMk id="14" creationId="{9FB17589-05F1-82E2-7469-73B0F016C29D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93" v="308" actId="20577"/>
          <pc:sldLayoutMkLst>
            <pc:docMk/>
            <pc:sldMasterMk cId="3851660094" sldId="2147483648"/>
            <pc:sldLayoutMk cId="1886431305" sldId="2147483694"/>
          </pc:sldLayoutMkLst>
          <pc:spChg chg="mod modVis">
            <ac:chgData name="Matteo Scattolin" userId="4c2db86b-a0c1-4427-81a8-6e7641dfa26a" providerId="ADAL" clId="{D05B32F5-8EBF-4D96-A633-AC7FFE7AC13C}" dt="2025-04-08T06:13:52.387" v="187"/>
            <ac:spMkLst>
              <pc:docMk/>
              <pc:sldMasterMk cId="3851660094" sldId="2147483648"/>
              <pc:sldLayoutMk cId="1886431305" sldId="2147483694"/>
              <ac:spMk id="4" creationId="{59BB2D85-8FBC-6820-7F75-6A6FA5FF2D0A}"/>
            </ac:spMkLst>
          </pc:spChg>
          <pc:spChg chg="mod modVis">
            <ac:chgData name="Matteo Scattolin" userId="4c2db86b-a0c1-4427-81a8-6e7641dfa26a" providerId="ADAL" clId="{D05B32F5-8EBF-4D96-A633-AC7FFE7AC13C}" dt="2025-04-08T06:13:50.877" v="43"/>
            <ac:spMkLst>
              <pc:docMk/>
              <pc:sldMasterMk cId="3851660094" sldId="2147483648"/>
              <pc:sldLayoutMk cId="1886431305" sldId="2147483694"/>
              <ac:spMk id="7" creationId="{FE029685-8547-C6E8-4257-4FB2767AB386}"/>
            </ac:spMkLst>
          </pc:spChg>
          <pc:spChg chg="mod">
            <ac:chgData name="Matteo Scattolin" userId="4c2db86b-a0c1-4427-81a8-6e7641dfa26a" providerId="ADAL" clId="{D05B32F5-8EBF-4D96-A633-AC7FFE7AC13C}" dt="2025-04-08T06:13:54.593" v="308" actId="20577"/>
            <ac:spMkLst>
              <pc:docMk/>
              <pc:sldMasterMk cId="3851660094" sldId="2147483648"/>
              <pc:sldLayoutMk cId="1886431305" sldId="2147483694"/>
              <ac:spMk id="8" creationId="{92F59D06-B1EF-FD34-68F8-EB11921852A9}"/>
            </ac:spMkLst>
          </pc:spChg>
          <pc:spChg chg="mod modVis">
            <ac:chgData name="Matteo Scattolin" userId="4c2db86b-a0c1-4427-81a8-6e7641dfa26a" providerId="ADAL" clId="{D05B32F5-8EBF-4D96-A633-AC7FFE7AC13C}" dt="2025-04-08T06:13:53.158" v="257"/>
            <ac:spMkLst>
              <pc:docMk/>
              <pc:sldMasterMk cId="3851660094" sldId="2147483648"/>
              <pc:sldLayoutMk cId="1886431305" sldId="2147483694"/>
              <ac:spMk id="15" creationId="{79F1D54F-26EA-026F-99F5-D6896CDBE692}"/>
            </ac:spMkLst>
          </pc:spChg>
          <pc:spChg chg="mod modVis">
            <ac:chgData name="Matteo Scattolin" userId="4c2db86b-a0c1-4427-81a8-6e7641dfa26a" providerId="ADAL" clId="{D05B32F5-8EBF-4D96-A633-AC7FFE7AC13C}" dt="2025-04-08T06:13:51.637" v="115"/>
            <ac:spMkLst>
              <pc:docMk/>
              <pc:sldMasterMk cId="3851660094" sldId="2147483648"/>
              <pc:sldLayoutMk cId="1886431305" sldId="2147483694"/>
              <ac:spMk id="16" creationId="{315CA59A-95D5-22F3-7AF1-0DA8053A7208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99" v="309" actId="20577"/>
          <pc:sldLayoutMkLst>
            <pc:docMk/>
            <pc:sldMasterMk cId="3851660094" sldId="2147483648"/>
            <pc:sldLayoutMk cId="602166601" sldId="2147483695"/>
          </pc:sldLayoutMkLst>
          <pc:spChg chg="mod modVis">
            <ac:chgData name="Matteo Scattolin" userId="4c2db86b-a0c1-4427-81a8-6e7641dfa26a" providerId="ADAL" clId="{D05B32F5-8EBF-4D96-A633-AC7FFE7AC13C}" dt="2025-04-08T06:13:52.389" v="189"/>
            <ac:spMkLst>
              <pc:docMk/>
              <pc:sldMasterMk cId="3851660094" sldId="2147483648"/>
              <pc:sldLayoutMk cId="602166601" sldId="2147483695"/>
              <ac:spMk id="4" creationId="{D0797FBB-17CC-DD97-7DA6-CFC5EB9A2DF3}"/>
            </ac:spMkLst>
          </pc:spChg>
          <pc:spChg chg="mod modVis">
            <ac:chgData name="Matteo Scattolin" userId="4c2db86b-a0c1-4427-81a8-6e7641dfa26a" providerId="ADAL" clId="{D05B32F5-8EBF-4D96-A633-AC7FFE7AC13C}" dt="2025-04-08T06:13:50.879" v="45"/>
            <ac:spMkLst>
              <pc:docMk/>
              <pc:sldMasterMk cId="3851660094" sldId="2147483648"/>
              <pc:sldLayoutMk cId="602166601" sldId="2147483695"/>
              <ac:spMk id="8" creationId="{84BFB134-EB8D-F619-0124-912EE69D5411}"/>
            </ac:spMkLst>
          </pc:spChg>
          <pc:spChg chg="mod">
            <ac:chgData name="Matteo Scattolin" userId="4c2db86b-a0c1-4427-81a8-6e7641dfa26a" providerId="ADAL" clId="{D05B32F5-8EBF-4D96-A633-AC7FFE7AC13C}" dt="2025-04-08T06:13:54.599" v="309" actId="20577"/>
            <ac:spMkLst>
              <pc:docMk/>
              <pc:sldMasterMk cId="3851660094" sldId="2147483648"/>
              <pc:sldLayoutMk cId="602166601" sldId="2147483695"/>
              <ac:spMk id="10" creationId="{64707ED2-9169-89A8-396B-E60CDCB3A236}"/>
            </ac:spMkLst>
          </pc:spChg>
          <pc:spChg chg="mod modVis">
            <ac:chgData name="Matteo Scattolin" userId="4c2db86b-a0c1-4427-81a8-6e7641dfa26a" providerId="ADAL" clId="{D05B32F5-8EBF-4D96-A633-AC7FFE7AC13C}" dt="2025-04-08T06:13:53.160" v="259"/>
            <ac:spMkLst>
              <pc:docMk/>
              <pc:sldMasterMk cId="3851660094" sldId="2147483648"/>
              <pc:sldLayoutMk cId="602166601" sldId="2147483695"/>
              <ac:spMk id="15" creationId="{13ECA667-89C4-C9CD-42EF-2187101102B7}"/>
            </ac:spMkLst>
          </pc:spChg>
          <pc:spChg chg="mod modVis">
            <ac:chgData name="Matteo Scattolin" userId="4c2db86b-a0c1-4427-81a8-6e7641dfa26a" providerId="ADAL" clId="{D05B32F5-8EBF-4D96-A633-AC7FFE7AC13C}" dt="2025-04-08T06:13:51.638" v="117"/>
            <ac:spMkLst>
              <pc:docMk/>
              <pc:sldMasterMk cId="3851660094" sldId="2147483648"/>
              <pc:sldLayoutMk cId="602166601" sldId="2147483695"/>
              <ac:spMk id="16" creationId="{3ADBCB66-997F-9D8D-7385-C4864D794BEC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79" v="305" actId="20577"/>
          <pc:sldLayoutMkLst>
            <pc:docMk/>
            <pc:sldMasterMk cId="3851660094" sldId="2147483648"/>
            <pc:sldLayoutMk cId="124289213" sldId="2147483696"/>
          </pc:sldLayoutMkLst>
          <pc:spChg chg="mod modVis">
            <ac:chgData name="Matteo Scattolin" userId="4c2db86b-a0c1-4427-81a8-6e7641dfa26a" providerId="ADAL" clId="{D05B32F5-8EBF-4D96-A633-AC7FFE7AC13C}" dt="2025-04-08T06:13:52.381" v="181"/>
            <ac:spMkLst>
              <pc:docMk/>
              <pc:sldMasterMk cId="3851660094" sldId="2147483648"/>
              <pc:sldLayoutMk cId="124289213" sldId="2147483696"/>
              <ac:spMk id="2" creationId="{4BB4B4DF-5D14-C727-902D-004141B87400}"/>
            </ac:spMkLst>
          </pc:spChg>
          <pc:spChg chg="mod modVis">
            <ac:chgData name="Matteo Scattolin" userId="4c2db86b-a0c1-4427-81a8-6e7641dfa26a" providerId="ADAL" clId="{D05B32F5-8EBF-4D96-A633-AC7FFE7AC13C}" dt="2025-04-08T06:13:50.870" v="37"/>
            <ac:spMkLst>
              <pc:docMk/>
              <pc:sldMasterMk cId="3851660094" sldId="2147483648"/>
              <pc:sldLayoutMk cId="124289213" sldId="2147483696"/>
              <ac:spMk id="8" creationId="{7CC5180E-3070-EEE1-3F38-AF05231EAA6C}"/>
            </ac:spMkLst>
          </pc:spChg>
          <pc:spChg chg="mod">
            <ac:chgData name="Matteo Scattolin" userId="4c2db86b-a0c1-4427-81a8-6e7641dfa26a" providerId="ADAL" clId="{D05B32F5-8EBF-4D96-A633-AC7FFE7AC13C}" dt="2025-04-08T06:13:54.579" v="305" actId="20577"/>
            <ac:spMkLst>
              <pc:docMk/>
              <pc:sldMasterMk cId="3851660094" sldId="2147483648"/>
              <pc:sldLayoutMk cId="124289213" sldId="2147483696"/>
              <ac:spMk id="9" creationId="{5CA013D9-38B1-A978-F381-D55E48BEBB64}"/>
            </ac:spMkLst>
          </pc:spChg>
          <pc:spChg chg="mod modVis">
            <ac:chgData name="Matteo Scattolin" userId="4c2db86b-a0c1-4427-81a8-6e7641dfa26a" providerId="ADAL" clId="{D05B32F5-8EBF-4D96-A633-AC7FFE7AC13C}" dt="2025-04-08T06:13:53.152" v="251"/>
            <ac:spMkLst>
              <pc:docMk/>
              <pc:sldMasterMk cId="3851660094" sldId="2147483648"/>
              <pc:sldLayoutMk cId="124289213" sldId="2147483696"/>
              <ac:spMk id="13" creationId="{015736AF-BBDA-7735-F4F7-E7EFF0DB59E8}"/>
            </ac:spMkLst>
          </pc:spChg>
          <pc:spChg chg="mod modVis">
            <ac:chgData name="Matteo Scattolin" userId="4c2db86b-a0c1-4427-81a8-6e7641dfa26a" providerId="ADAL" clId="{D05B32F5-8EBF-4D96-A633-AC7FFE7AC13C}" dt="2025-04-08T06:13:51.631" v="109"/>
            <ac:spMkLst>
              <pc:docMk/>
              <pc:sldMasterMk cId="3851660094" sldId="2147483648"/>
              <pc:sldLayoutMk cId="124289213" sldId="2147483696"/>
              <ac:spMk id="14" creationId="{A3E86119-2277-0311-7B4A-D86B0F38C332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25" v="314" actId="20577"/>
          <pc:sldLayoutMkLst>
            <pc:docMk/>
            <pc:sldMasterMk cId="3851660094" sldId="2147483648"/>
            <pc:sldLayoutMk cId="3605276505" sldId="2147483704"/>
          </pc:sldLayoutMkLst>
          <pc:spChg chg="mod modVis">
            <ac:chgData name="Matteo Scattolin" userId="4c2db86b-a0c1-4427-81a8-6e7641dfa26a" providerId="ADAL" clId="{D05B32F5-8EBF-4D96-A633-AC7FFE7AC13C}" dt="2025-04-08T06:13:52.397" v="197"/>
            <ac:spMkLst>
              <pc:docMk/>
              <pc:sldMasterMk cId="3851660094" sldId="2147483648"/>
              <pc:sldLayoutMk cId="3605276505" sldId="2147483704"/>
              <ac:spMk id="3" creationId="{75459F50-5954-9344-EAA0-29DD3D83F7A0}"/>
            </ac:spMkLst>
          </pc:spChg>
          <pc:spChg chg="mod modVis">
            <ac:chgData name="Matteo Scattolin" userId="4c2db86b-a0c1-4427-81a8-6e7641dfa26a" providerId="ADAL" clId="{D05B32F5-8EBF-4D96-A633-AC7FFE7AC13C}" dt="2025-04-08T06:13:50.887" v="53"/>
            <ac:spMkLst>
              <pc:docMk/>
              <pc:sldMasterMk cId="3851660094" sldId="2147483648"/>
              <pc:sldLayoutMk cId="3605276505" sldId="2147483704"/>
              <ac:spMk id="7" creationId="{4551CA12-14DC-5BD7-8CEF-FED8375CE8D2}"/>
            </ac:spMkLst>
          </pc:spChg>
          <pc:spChg chg="mod">
            <ac:chgData name="Matteo Scattolin" userId="4c2db86b-a0c1-4427-81a8-6e7641dfa26a" providerId="ADAL" clId="{D05B32F5-8EBF-4D96-A633-AC7FFE7AC13C}" dt="2025-04-08T06:13:54.625" v="314" actId="20577"/>
            <ac:spMkLst>
              <pc:docMk/>
              <pc:sldMasterMk cId="3851660094" sldId="2147483648"/>
              <pc:sldLayoutMk cId="3605276505" sldId="2147483704"/>
              <ac:spMk id="8" creationId="{AEB36756-12B2-4932-7282-6C3946AAC3DF}"/>
            </ac:spMkLst>
          </pc:spChg>
          <pc:spChg chg="mod modVis">
            <ac:chgData name="Matteo Scattolin" userId="4c2db86b-a0c1-4427-81a8-6e7641dfa26a" providerId="ADAL" clId="{D05B32F5-8EBF-4D96-A633-AC7FFE7AC13C}" dt="2025-04-08T06:13:53.167" v="267"/>
            <ac:spMkLst>
              <pc:docMk/>
              <pc:sldMasterMk cId="3851660094" sldId="2147483648"/>
              <pc:sldLayoutMk cId="3605276505" sldId="2147483704"/>
              <ac:spMk id="19" creationId="{CD690018-E75E-2465-ADCA-E19BF5B5698A}"/>
            </ac:spMkLst>
          </pc:spChg>
          <pc:spChg chg="mod modVis">
            <ac:chgData name="Matteo Scattolin" userId="4c2db86b-a0c1-4427-81a8-6e7641dfa26a" providerId="ADAL" clId="{D05B32F5-8EBF-4D96-A633-AC7FFE7AC13C}" dt="2025-04-08T06:13:51.647" v="125"/>
            <ac:spMkLst>
              <pc:docMk/>
              <pc:sldMasterMk cId="3851660094" sldId="2147483648"/>
              <pc:sldLayoutMk cId="3605276505" sldId="2147483704"/>
              <ac:spMk id="20" creationId="{BB050505-84F4-45A2-7F60-3577CD6F3F3B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04" v="310" actId="20577"/>
          <pc:sldLayoutMkLst>
            <pc:docMk/>
            <pc:sldMasterMk cId="3851660094" sldId="2147483648"/>
            <pc:sldLayoutMk cId="811579504" sldId="2147483705"/>
          </pc:sldLayoutMkLst>
          <pc:spChg chg="mod modVis">
            <ac:chgData name="Matteo Scattolin" userId="4c2db86b-a0c1-4427-81a8-6e7641dfa26a" providerId="ADAL" clId="{D05B32F5-8EBF-4D96-A633-AC7FFE7AC13C}" dt="2025-04-08T06:13:52.391" v="191"/>
            <ac:spMkLst>
              <pc:docMk/>
              <pc:sldMasterMk cId="3851660094" sldId="2147483648"/>
              <pc:sldLayoutMk cId="811579504" sldId="2147483705"/>
              <ac:spMk id="3" creationId="{11EE9649-BC7E-DA44-3EAD-548A01D21F12}"/>
            </ac:spMkLst>
          </pc:spChg>
          <pc:spChg chg="mod modVis">
            <ac:chgData name="Matteo Scattolin" userId="4c2db86b-a0c1-4427-81a8-6e7641dfa26a" providerId="ADAL" clId="{D05B32F5-8EBF-4D96-A633-AC7FFE7AC13C}" dt="2025-04-08T06:13:50.881" v="47"/>
            <ac:spMkLst>
              <pc:docMk/>
              <pc:sldMasterMk cId="3851660094" sldId="2147483648"/>
              <pc:sldLayoutMk cId="811579504" sldId="2147483705"/>
              <ac:spMk id="7" creationId="{BF7310FA-023D-5F2F-681D-FE3606AB9D01}"/>
            </ac:spMkLst>
          </pc:spChg>
          <pc:spChg chg="mod">
            <ac:chgData name="Matteo Scattolin" userId="4c2db86b-a0c1-4427-81a8-6e7641dfa26a" providerId="ADAL" clId="{D05B32F5-8EBF-4D96-A633-AC7FFE7AC13C}" dt="2025-04-08T06:13:54.604" v="310" actId="20577"/>
            <ac:spMkLst>
              <pc:docMk/>
              <pc:sldMasterMk cId="3851660094" sldId="2147483648"/>
              <pc:sldLayoutMk cId="811579504" sldId="2147483705"/>
              <ac:spMk id="8" creationId="{996E41EE-21DD-28D4-F344-6A091DC2CA0B}"/>
            </ac:spMkLst>
          </pc:spChg>
          <pc:spChg chg="mod modVis">
            <ac:chgData name="Matteo Scattolin" userId="4c2db86b-a0c1-4427-81a8-6e7641dfa26a" providerId="ADAL" clId="{D05B32F5-8EBF-4D96-A633-AC7FFE7AC13C}" dt="2025-04-08T06:13:53.162" v="261"/>
            <ac:spMkLst>
              <pc:docMk/>
              <pc:sldMasterMk cId="3851660094" sldId="2147483648"/>
              <pc:sldLayoutMk cId="811579504" sldId="2147483705"/>
              <ac:spMk id="13" creationId="{3122367F-B8FA-5ABF-B892-FA8457CDBC7A}"/>
            </ac:spMkLst>
          </pc:spChg>
          <pc:spChg chg="mod modVis">
            <ac:chgData name="Matteo Scattolin" userId="4c2db86b-a0c1-4427-81a8-6e7641dfa26a" providerId="ADAL" clId="{D05B32F5-8EBF-4D96-A633-AC7FFE7AC13C}" dt="2025-04-08T06:13:51.641" v="119"/>
            <ac:spMkLst>
              <pc:docMk/>
              <pc:sldMasterMk cId="3851660094" sldId="2147483648"/>
              <pc:sldLayoutMk cId="811579504" sldId="2147483705"/>
              <ac:spMk id="14" creationId="{B0FAEBB0-C987-CBE2-FC06-0A8107D2F284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17" v="293" actId="20577"/>
          <pc:sldLayoutMkLst>
            <pc:docMk/>
            <pc:sldMasterMk cId="3851660094" sldId="2147483648"/>
            <pc:sldLayoutMk cId="3395724959" sldId="2147483706"/>
          </pc:sldLayoutMkLst>
          <pc:spChg chg="mod modVis">
            <ac:chgData name="Matteo Scattolin" userId="4c2db86b-a0c1-4427-81a8-6e7641dfa26a" providerId="ADAL" clId="{D05B32F5-8EBF-4D96-A633-AC7FFE7AC13C}" dt="2025-04-08T06:13:52.362" v="161"/>
            <ac:spMkLst>
              <pc:docMk/>
              <pc:sldMasterMk cId="3851660094" sldId="2147483648"/>
              <pc:sldLayoutMk cId="3395724959" sldId="2147483706"/>
              <ac:spMk id="2" creationId="{9B5BC903-2C08-3B26-A5C7-3328B2420496}"/>
            </ac:spMkLst>
          </pc:spChg>
          <pc:spChg chg="mod">
            <ac:chgData name="Matteo Scattolin" userId="4c2db86b-a0c1-4427-81a8-6e7641dfa26a" providerId="ADAL" clId="{D05B32F5-8EBF-4D96-A633-AC7FFE7AC13C}" dt="2025-04-08T06:13:54.517" v="293" actId="20577"/>
            <ac:spMkLst>
              <pc:docMk/>
              <pc:sldMasterMk cId="3851660094" sldId="2147483648"/>
              <pc:sldLayoutMk cId="3395724959" sldId="2147483706"/>
              <ac:spMk id="8" creationId="{09407FB2-FCD2-122D-0711-B2C77B3F78A2}"/>
            </ac:spMkLst>
          </pc:spChg>
          <pc:spChg chg="mod modVis">
            <ac:chgData name="Matteo Scattolin" userId="4c2db86b-a0c1-4427-81a8-6e7641dfa26a" providerId="ADAL" clId="{D05B32F5-8EBF-4D96-A633-AC7FFE7AC13C}" dt="2025-04-08T06:13:50.850" v="17"/>
            <ac:spMkLst>
              <pc:docMk/>
              <pc:sldMasterMk cId="3851660094" sldId="2147483648"/>
              <pc:sldLayoutMk cId="3395724959" sldId="2147483706"/>
              <ac:spMk id="9" creationId="{BF6AABE6-D534-3B52-3FFE-F78BCBAC0988}"/>
            </ac:spMkLst>
          </pc:spChg>
          <pc:spChg chg="mod modVis">
            <ac:chgData name="Matteo Scattolin" userId="4c2db86b-a0c1-4427-81a8-6e7641dfa26a" providerId="ADAL" clId="{D05B32F5-8EBF-4D96-A633-AC7FFE7AC13C}" dt="2025-04-08T06:13:53.131" v="231"/>
            <ac:spMkLst>
              <pc:docMk/>
              <pc:sldMasterMk cId="3851660094" sldId="2147483648"/>
              <pc:sldLayoutMk cId="3395724959" sldId="2147483706"/>
              <ac:spMk id="14" creationId="{2CD7A9EB-6593-B92D-EB45-AD03562C2969}"/>
            </ac:spMkLst>
          </pc:spChg>
          <pc:spChg chg="mod modVis">
            <ac:chgData name="Matteo Scattolin" userId="4c2db86b-a0c1-4427-81a8-6e7641dfa26a" providerId="ADAL" clId="{D05B32F5-8EBF-4D96-A633-AC7FFE7AC13C}" dt="2025-04-08T06:13:51.611" v="89"/>
            <ac:spMkLst>
              <pc:docMk/>
              <pc:sldMasterMk cId="3851660094" sldId="2147483648"/>
              <pc:sldLayoutMk cId="3395724959" sldId="2147483706"/>
              <ac:spMk id="15" creationId="{896DB139-139D-3000-18B9-E631B24E9EBF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41" v="317" actId="20577"/>
          <pc:sldLayoutMkLst>
            <pc:docMk/>
            <pc:sldMasterMk cId="3851660094" sldId="2147483648"/>
            <pc:sldLayoutMk cId="3092292255" sldId="2147483707"/>
          </pc:sldLayoutMkLst>
          <pc:spChg chg="mod modVis">
            <ac:chgData name="Matteo Scattolin" userId="4c2db86b-a0c1-4427-81a8-6e7641dfa26a" providerId="ADAL" clId="{D05B32F5-8EBF-4D96-A633-AC7FFE7AC13C}" dt="2025-04-08T06:13:52.403" v="203"/>
            <ac:spMkLst>
              <pc:docMk/>
              <pc:sldMasterMk cId="3851660094" sldId="2147483648"/>
              <pc:sldLayoutMk cId="3092292255" sldId="2147483707"/>
              <ac:spMk id="2" creationId="{39C52A26-2DCC-0159-A176-2CC3B04B7B41}"/>
            </ac:spMkLst>
          </pc:spChg>
          <pc:spChg chg="mod">
            <ac:chgData name="Matteo Scattolin" userId="4c2db86b-a0c1-4427-81a8-6e7641dfa26a" providerId="ADAL" clId="{D05B32F5-8EBF-4D96-A633-AC7FFE7AC13C}" dt="2025-04-08T06:13:54.641" v="317" actId="20577"/>
            <ac:spMkLst>
              <pc:docMk/>
              <pc:sldMasterMk cId="3851660094" sldId="2147483648"/>
              <pc:sldLayoutMk cId="3092292255" sldId="2147483707"/>
              <ac:spMk id="4" creationId="{E3E47C92-A0F7-5AFE-13B3-70386B4CB932}"/>
            </ac:spMkLst>
          </pc:spChg>
          <pc:spChg chg="mod modVis">
            <ac:chgData name="Matteo Scattolin" userId="4c2db86b-a0c1-4427-81a8-6e7641dfa26a" providerId="ADAL" clId="{D05B32F5-8EBF-4D96-A633-AC7FFE7AC13C}" dt="2025-04-08T06:13:50.893" v="59"/>
            <ac:spMkLst>
              <pc:docMk/>
              <pc:sldMasterMk cId="3851660094" sldId="2147483648"/>
              <pc:sldLayoutMk cId="3092292255" sldId="2147483707"/>
              <ac:spMk id="11" creationId="{E5B01154-5C45-2B14-A17B-5E92F78D99D0}"/>
            </ac:spMkLst>
          </pc:spChg>
          <pc:spChg chg="mod modVis">
            <ac:chgData name="Matteo Scattolin" userId="4c2db86b-a0c1-4427-81a8-6e7641dfa26a" providerId="ADAL" clId="{D05B32F5-8EBF-4D96-A633-AC7FFE7AC13C}" dt="2025-04-08T06:13:53.174" v="273"/>
            <ac:spMkLst>
              <pc:docMk/>
              <pc:sldMasterMk cId="3851660094" sldId="2147483648"/>
              <pc:sldLayoutMk cId="3092292255" sldId="2147483707"/>
              <ac:spMk id="12" creationId="{68D6E6C5-B231-2934-F715-00C52AC26D5F}"/>
            </ac:spMkLst>
          </pc:spChg>
          <pc:spChg chg="mod modVis">
            <ac:chgData name="Matteo Scattolin" userId="4c2db86b-a0c1-4427-81a8-6e7641dfa26a" providerId="ADAL" clId="{D05B32F5-8EBF-4D96-A633-AC7FFE7AC13C}" dt="2025-04-08T06:13:51.652" v="131"/>
            <ac:spMkLst>
              <pc:docMk/>
              <pc:sldMasterMk cId="3851660094" sldId="2147483648"/>
              <pc:sldLayoutMk cId="3092292255" sldId="2147483707"/>
              <ac:spMk id="13" creationId="{A7338B9D-366D-ECA4-E500-B6A1B8DF36D7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68" v="303" actId="20577"/>
          <pc:sldLayoutMkLst>
            <pc:docMk/>
            <pc:sldMasterMk cId="3851660094" sldId="2147483648"/>
            <pc:sldLayoutMk cId="40343442" sldId="2147483708"/>
          </pc:sldLayoutMkLst>
          <pc:spChg chg="mod">
            <ac:chgData name="Matteo Scattolin" userId="4c2db86b-a0c1-4427-81a8-6e7641dfa26a" providerId="ADAL" clId="{D05B32F5-8EBF-4D96-A633-AC7FFE7AC13C}" dt="2025-04-08T06:13:54.568" v="303" actId="20577"/>
            <ac:spMkLst>
              <pc:docMk/>
              <pc:sldMasterMk cId="3851660094" sldId="2147483648"/>
              <pc:sldLayoutMk cId="40343442" sldId="2147483708"/>
              <ac:spMk id="7" creationId="{141E8473-E467-51F8-0F65-9AD6BCFC7874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00" v="290" actId="20577"/>
          <pc:sldLayoutMkLst>
            <pc:docMk/>
            <pc:sldMasterMk cId="3851660094" sldId="2147483648"/>
            <pc:sldLayoutMk cId="2913749498" sldId="2147483714"/>
          </pc:sldLayoutMkLst>
          <pc:spChg chg="mod modVis">
            <ac:chgData name="Matteo Scattolin" userId="4c2db86b-a0c1-4427-81a8-6e7641dfa26a" providerId="ADAL" clId="{D05B32F5-8EBF-4D96-A633-AC7FFE7AC13C}" dt="2025-04-08T06:13:52.356" v="155"/>
            <ac:spMkLst>
              <pc:docMk/>
              <pc:sldMasterMk cId="3851660094" sldId="2147483648"/>
              <pc:sldLayoutMk cId="2913749498" sldId="2147483714"/>
              <ac:spMk id="4" creationId="{475D07D5-F167-092F-1589-70490935F6B8}"/>
            </ac:spMkLst>
          </pc:spChg>
          <pc:spChg chg="mod">
            <ac:chgData name="Matteo Scattolin" userId="4c2db86b-a0c1-4427-81a8-6e7641dfa26a" providerId="ADAL" clId="{D05B32F5-8EBF-4D96-A633-AC7FFE7AC13C}" dt="2025-04-08T06:13:54.500" v="290" actId="20577"/>
            <ac:spMkLst>
              <pc:docMk/>
              <pc:sldMasterMk cId="3851660094" sldId="2147483648"/>
              <pc:sldLayoutMk cId="2913749498" sldId="2147483714"/>
              <ac:spMk id="7" creationId="{56EC8D89-49E3-F6E2-EF85-2863D58620A6}"/>
            </ac:spMkLst>
          </pc:spChg>
          <pc:spChg chg="mod modVis">
            <ac:chgData name="Matteo Scattolin" userId="4c2db86b-a0c1-4427-81a8-6e7641dfa26a" providerId="ADAL" clId="{D05B32F5-8EBF-4D96-A633-AC7FFE7AC13C}" dt="2025-04-08T06:13:50.845" v="11"/>
            <ac:spMkLst>
              <pc:docMk/>
              <pc:sldMasterMk cId="3851660094" sldId="2147483648"/>
              <pc:sldLayoutMk cId="2913749498" sldId="2147483714"/>
              <ac:spMk id="11" creationId="{6707E6D2-1953-DF67-AC3B-45EE2DFE63BD}"/>
            </ac:spMkLst>
          </pc:spChg>
          <pc:spChg chg="mod modVis">
            <ac:chgData name="Matteo Scattolin" userId="4c2db86b-a0c1-4427-81a8-6e7641dfa26a" providerId="ADAL" clId="{D05B32F5-8EBF-4D96-A633-AC7FFE7AC13C}" dt="2025-04-08T06:13:53.124" v="225"/>
            <ac:spMkLst>
              <pc:docMk/>
              <pc:sldMasterMk cId="3851660094" sldId="2147483648"/>
              <pc:sldLayoutMk cId="2913749498" sldId="2147483714"/>
              <ac:spMk id="12" creationId="{23495CC6-F356-2526-936C-1D986378C581}"/>
            </ac:spMkLst>
          </pc:spChg>
          <pc:spChg chg="mod modVis">
            <ac:chgData name="Matteo Scattolin" userId="4c2db86b-a0c1-4427-81a8-6e7641dfa26a" providerId="ADAL" clId="{D05B32F5-8EBF-4D96-A633-AC7FFE7AC13C}" dt="2025-04-08T06:13:51.603" v="83"/>
            <ac:spMkLst>
              <pc:docMk/>
              <pc:sldMasterMk cId="3851660094" sldId="2147483648"/>
              <pc:sldLayoutMk cId="2913749498" sldId="2147483714"/>
              <ac:spMk id="14" creationId="{EABDCEB9-5468-0959-63A8-15AF206E37AB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495" v="289" actId="20577"/>
          <pc:sldLayoutMkLst>
            <pc:docMk/>
            <pc:sldMasterMk cId="3851660094" sldId="2147483648"/>
            <pc:sldLayoutMk cId="2269399904" sldId="2147483715"/>
          </pc:sldLayoutMkLst>
          <pc:spChg chg="mod modVis">
            <ac:chgData name="Matteo Scattolin" userId="4c2db86b-a0c1-4427-81a8-6e7641dfa26a" providerId="ADAL" clId="{D05B32F5-8EBF-4D96-A633-AC7FFE7AC13C}" dt="2025-04-08T06:13:52.353" v="153"/>
            <ac:spMkLst>
              <pc:docMk/>
              <pc:sldMasterMk cId="3851660094" sldId="2147483648"/>
              <pc:sldLayoutMk cId="2269399904" sldId="2147483715"/>
              <ac:spMk id="4" creationId="{FFC4052D-65AB-82C6-4143-BB4B4F03E375}"/>
            </ac:spMkLst>
          </pc:spChg>
          <pc:spChg chg="mod modVis">
            <ac:chgData name="Matteo Scattolin" userId="4c2db86b-a0c1-4427-81a8-6e7641dfa26a" providerId="ADAL" clId="{D05B32F5-8EBF-4D96-A633-AC7FFE7AC13C}" dt="2025-04-08T06:13:50.844" v="9"/>
            <ac:spMkLst>
              <pc:docMk/>
              <pc:sldMasterMk cId="3851660094" sldId="2147483648"/>
              <pc:sldLayoutMk cId="2269399904" sldId="2147483715"/>
              <ac:spMk id="5" creationId="{E50EC1EC-DB1A-C965-90B3-71CB6876B979}"/>
            </ac:spMkLst>
          </pc:spChg>
          <pc:spChg chg="mod modVis">
            <ac:chgData name="Matteo Scattolin" userId="4c2db86b-a0c1-4427-81a8-6e7641dfa26a" providerId="ADAL" clId="{D05B32F5-8EBF-4D96-A633-AC7FFE7AC13C}" dt="2025-04-08T06:13:53.122" v="223"/>
            <ac:spMkLst>
              <pc:docMk/>
              <pc:sldMasterMk cId="3851660094" sldId="2147483648"/>
              <pc:sldLayoutMk cId="2269399904" sldId="2147483715"/>
              <ac:spMk id="6" creationId="{8194351E-129F-7B5A-A6A2-9F711A7B272A}"/>
            </ac:spMkLst>
          </pc:spChg>
          <pc:spChg chg="mod modVis">
            <ac:chgData name="Matteo Scattolin" userId="4c2db86b-a0c1-4427-81a8-6e7641dfa26a" providerId="ADAL" clId="{D05B32F5-8EBF-4D96-A633-AC7FFE7AC13C}" dt="2025-04-08T06:13:51.601" v="81"/>
            <ac:spMkLst>
              <pc:docMk/>
              <pc:sldMasterMk cId="3851660094" sldId="2147483648"/>
              <pc:sldLayoutMk cId="2269399904" sldId="2147483715"/>
              <ac:spMk id="7" creationId="{6E7B0D74-19E0-EABD-99BF-A97ECAC2F30E}"/>
            </ac:spMkLst>
          </pc:spChg>
          <pc:spChg chg="mod">
            <ac:chgData name="Matteo Scattolin" userId="4c2db86b-a0c1-4427-81a8-6e7641dfa26a" providerId="ADAL" clId="{D05B32F5-8EBF-4D96-A633-AC7FFE7AC13C}" dt="2025-04-08T06:13:54.495" v="289" actId="20577"/>
            <ac:spMkLst>
              <pc:docMk/>
              <pc:sldMasterMk cId="3851660094" sldId="2147483648"/>
              <pc:sldLayoutMk cId="2269399904" sldId="2147483715"/>
              <ac:spMk id="10" creationId="{51878EFC-235A-518B-E5F4-940CA67996D8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12" v="292" actId="20577"/>
          <pc:sldLayoutMkLst>
            <pc:docMk/>
            <pc:sldMasterMk cId="3851660094" sldId="2147483648"/>
            <pc:sldLayoutMk cId="1682821972" sldId="2147483716"/>
          </pc:sldLayoutMkLst>
          <pc:spChg chg="mod">
            <ac:chgData name="Matteo Scattolin" userId="4c2db86b-a0c1-4427-81a8-6e7641dfa26a" providerId="ADAL" clId="{D05B32F5-8EBF-4D96-A633-AC7FFE7AC13C}" dt="2025-04-08T06:13:54.512" v="292" actId="20577"/>
            <ac:spMkLst>
              <pc:docMk/>
              <pc:sldMasterMk cId="3851660094" sldId="2147483648"/>
              <pc:sldLayoutMk cId="1682821972" sldId="2147483716"/>
              <ac:spMk id="3" creationId="{7723CF05-31CB-1B05-B335-7D646E7DE20F}"/>
            </ac:spMkLst>
          </pc:spChg>
          <pc:spChg chg="mod modVis">
            <ac:chgData name="Matteo Scattolin" userId="4c2db86b-a0c1-4427-81a8-6e7641dfa26a" providerId="ADAL" clId="{D05B32F5-8EBF-4D96-A633-AC7FFE7AC13C}" dt="2025-04-08T06:13:52.360" v="159"/>
            <ac:spMkLst>
              <pc:docMk/>
              <pc:sldMasterMk cId="3851660094" sldId="2147483648"/>
              <pc:sldLayoutMk cId="1682821972" sldId="2147483716"/>
              <ac:spMk id="14" creationId="{5448FBCB-109F-65AA-4B60-3FB4C2197151}"/>
            </ac:spMkLst>
          </pc:spChg>
          <pc:spChg chg="mod modVis">
            <ac:chgData name="Matteo Scattolin" userId="4c2db86b-a0c1-4427-81a8-6e7641dfa26a" providerId="ADAL" clId="{D05B32F5-8EBF-4D96-A633-AC7FFE7AC13C}" dt="2025-04-08T06:13:50.849" v="15"/>
            <ac:spMkLst>
              <pc:docMk/>
              <pc:sldMasterMk cId="3851660094" sldId="2147483648"/>
              <pc:sldLayoutMk cId="1682821972" sldId="2147483716"/>
              <ac:spMk id="15" creationId="{D6EFDE23-618A-5E10-1B5B-2317126DC7B6}"/>
            </ac:spMkLst>
          </pc:spChg>
          <pc:spChg chg="mod modVis">
            <ac:chgData name="Matteo Scattolin" userId="4c2db86b-a0c1-4427-81a8-6e7641dfa26a" providerId="ADAL" clId="{D05B32F5-8EBF-4D96-A633-AC7FFE7AC13C}" dt="2025-04-08T06:13:53.128" v="229"/>
            <ac:spMkLst>
              <pc:docMk/>
              <pc:sldMasterMk cId="3851660094" sldId="2147483648"/>
              <pc:sldLayoutMk cId="1682821972" sldId="2147483716"/>
              <ac:spMk id="18" creationId="{E7BD77D2-2D6D-D1E6-7CB7-FB82831E8D83}"/>
            </ac:spMkLst>
          </pc:spChg>
          <pc:spChg chg="mod modVis">
            <ac:chgData name="Matteo Scattolin" userId="4c2db86b-a0c1-4427-81a8-6e7641dfa26a" providerId="ADAL" clId="{D05B32F5-8EBF-4D96-A633-AC7FFE7AC13C}" dt="2025-04-08T06:13:51.608" v="87"/>
            <ac:spMkLst>
              <pc:docMk/>
              <pc:sldMasterMk cId="3851660094" sldId="2147483648"/>
              <pc:sldLayoutMk cId="1682821972" sldId="2147483716"/>
              <ac:spMk id="19" creationId="{EA8B44E0-0F62-7C3E-4BEC-1BD3ED80D6FA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21" v="294" actId="20577"/>
          <pc:sldLayoutMkLst>
            <pc:docMk/>
            <pc:sldMasterMk cId="3851660094" sldId="2147483648"/>
            <pc:sldLayoutMk cId="2046388713" sldId="2147483717"/>
          </pc:sldLayoutMkLst>
          <pc:spChg chg="mod modVis">
            <ac:chgData name="Matteo Scattolin" userId="4c2db86b-a0c1-4427-81a8-6e7641dfa26a" providerId="ADAL" clId="{D05B32F5-8EBF-4D96-A633-AC7FFE7AC13C}" dt="2025-04-08T06:13:52.364" v="163"/>
            <ac:spMkLst>
              <pc:docMk/>
              <pc:sldMasterMk cId="3851660094" sldId="2147483648"/>
              <pc:sldLayoutMk cId="2046388713" sldId="2147483717"/>
              <ac:spMk id="2" creationId="{130512FA-D5AE-1879-349F-B047C4871AEE}"/>
            </ac:spMkLst>
          </pc:spChg>
          <pc:spChg chg="mod modVis">
            <ac:chgData name="Matteo Scattolin" userId="4c2db86b-a0c1-4427-81a8-6e7641dfa26a" providerId="ADAL" clId="{D05B32F5-8EBF-4D96-A633-AC7FFE7AC13C}" dt="2025-04-08T06:13:50.853" v="19"/>
            <ac:spMkLst>
              <pc:docMk/>
              <pc:sldMasterMk cId="3851660094" sldId="2147483648"/>
              <pc:sldLayoutMk cId="2046388713" sldId="2147483717"/>
              <ac:spMk id="3" creationId="{E5A109E9-8DCC-58FA-072C-98971A172BF7}"/>
            </ac:spMkLst>
          </pc:spChg>
          <pc:spChg chg="mod modVis">
            <ac:chgData name="Matteo Scattolin" userId="4c2db86b-a0c1-4427-81a8-6e7641dfa26a" providerId="ADAL" clId="{D05B32F5-8EBF-4D96-A633-AC7FFE7AC13C}" dt="2025-04-08T06:13:53.133" v="233"/>
            <ac:spMkLst>
              <pc:docMk/>
              <pc:sldMasterMk cId="3851660094" sldId="2147483648"/>
              <pc:sldLayoutMk cId="2046388713" sldId="2147483717"/>
              <ac:spMk id="4" creationId="{61B91051-B6DB-3A0D-41FC-EE1BAD36D1AC}"/>
            </ac:spMkLst>
          </pc:spChg>
          <pc:spChg chg="mod">
            <ac:chgData name="Matteo Scattolin" userId="4c2db86b-a0c1-4427-81a8-6e7641dfa26a" providerId="ADAL" clId="{D05B32F5-8EBF-4D96-A633-AC7FFE7AC13C}" dt="2025-04-08T06:13:54.521" v="294" actId="20577"/>
            <ac:spMkLst>
              <pc:docMk/>
              <pc:sldMasterMk cId="3851660094" sldId="2147483648"/>
              <pc:sldLayoutMk cId="2046388713" sldId="2147483717"/>
              <ac:spMk id="8" creationId="{E62615E7-C10E-93C2-AA47-493B736859B5}"/>
            </ac:spMkLst>
          </pc:spChg>
          <pc:spChg chg="mod modVis">
            <ac:chgData name="Matteo Scattolin" userId="4c2db86b-a0c1-4427-81a8-6e7641dfa26a" providerId="ADAL" clId="{D05B32F5-8EBF-4D96-A633-AC7FFE7AC13C}" dt="2025-04-08T06:13:51.613" v="91"/>
            <ac:spMkLst>
              <pc:docMk/>
              <pc:sldMasterMk cId="3851660094" sldId="2147483648"/>
              <pc:sldLayoutMk cId="2046388713" sldId="2147483717"/>
              <ac:spMk id="10" creationId="{526E60A4-A662-5646-482D-E08C9FFAC511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26" v="295" actId="20577"/>
          <pc:sldLayoutMkLst>
            <pc:docMk/>
            <pc:sldMasterMk cId="3851660094" sldId="2147483648"/>
            <pc:sldLayoutMk cId="492654308" sldId="2147483718"/>
          </pc:sldLayoutMkLst>
          <pc:spChg chg="mod modVis">
            <ac:chgData name="Matteo Scattolin" userId="4c2db86b-a0c1-4427-81a8-6e7641dfa26a" providerId="ADAL" clId="{D05B32F5-8EBF-4D96-A633-AC7FFE7AC13C}" dt="2025-04-08T06:13:52.365" v="165"/>
            <ac:spMkLst>
              <pc:docMk/>
              <pc:sldMasterMk cId="3851660094" sldId="2147483648"/>
              <pc:sldLayoutMk cId="492654308" sldId="2147483718"/>
              <ac:spMk id="2" creationId="{02CDD0B3-EC86-8004-7EB3-CCE5B9377315}"/>
            </ac:spMkLst>
          </pc:spChg>
          <pc:spChg chg="mod">
            <ac:chgData name="Matteo Scattolin" userId="4c2db86b-a0c1-4427-81a8-6e7641dfa26a" providerId="ADAL" clId="{D05B32F5-8EBF-4D96-A633-AC7FFE7AC13C}" dt="2025-04-08T06:13:54.526" v="295" actId="20577"/>
            <ac:spMkLst>
              <pc:docMk/>
              <pc:sldMasterMk cId="3851660094" sldId="2147483648"/>
              <pc:sldLayoutMk cId="492654308" sldId="2147483718"/>
              <ac:spMk id="8" creationId="{EFBC1099-1346-C6F0-FEDF-A28B02F71E82}"/>
            </ac:spMkLst>
          </pc:spChg>
          <pc:spChg chg="mod modVis">
            <ac:chgData name="Matteo Scattolin" userId="4c2db86b-a0c1-4427-81a8-6e7641dfa26a" providerId="ADAL" clId="{D05B32F5-8EBF-4D96-A633-AC7FFE7AC13C}" dt="2025-04-08T06:13:50.854" v="21"/>
            <ac:spMkLst>
              <pc:docMk/>
              <pc:sldMasterMk cId="3851660094" sldId="2147483648"/>
              <pc:sldLayoutMk cId="492654308" sldId="2147483718"/>
              <ac:spMk id="10" creationId="{0744BDFF-71D0-BB11-A77E-4C708862AFAC}"/>
            </ac:spMkLst>
          </pc:spChg>
          <pc:spChg chg="mod modVis">
            <ac:chgData name="Matteo Scattolin" userId="4c2db86b-a0c1-4427-81a8-6e7641dfa26a" providerId="ADAL" clId="{D05B32F5-8EBF-4D96-A633-AC7FFE7AC13C}" dt="2025-04-08T06:13:53.135" v="235"/>
            <ac:spMkLst>
              <pc:docMk/>
              <pc:sldMasterMk cId="3851660094" sldId="2147483648"/>
              <pc:sldLayoutMk cId="492654308" sldId="2147483718"/>
              <ac:spMk id="13" creationId="{AC7767A1-CEE7-AA3D-1687-6CBD8A2AC506}"/>
            </ac:spMkLst>
          </pc:spChg>
          <pc:spChg chg="mod modVis">
            <ac:chgData name="Matteo Scattolin" userId="4c2db86b-a0c1-4427-81a8-6e7641dfa26a" providerId="ADAL" clId="{D05B32F5-8EBF-4D96-A633-AC7FFE7AC13C}" dt="2025-04-08T06:13:51.615" v="93"/>
            <ac:spMkLst>
              <pc:docMk/>
              <pc:sldMasterMk cId="3851660094" sldId="2147483648"/>
              <pc:sldLayoutMk cId="492654308" sldId="2147483718"/>
              <ac:spMk id="14" creationId="{4E8E0E7D-DB43-F447-8852-1D4D8DA6A97D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36" v="297" actId="20577"/>
          <pc:sldLayoutMkLst>
            <pc:docMk/>
            <pc:sldMasterMk cId="3851660094" sldId="2147483648"/>
            <pc:sldLayoutMk cId="1986913224" sldId="2147483719"/>
          </pc:sldLayoutMkLst>
          <pc:spChg chg="mod modVis">
            <ac:chgData name="Matteo Scattolin" userId="4c2db86b-a0c1-4427-81a8-6e7641dfa26a" providerId="ADAL" clId="{D05B32F5-8EBF-4D96-A633-AC7FFE7AC13C}" dt="2025-04-08T06:13:52.369" v="169"/>
            <ac:spMkLst>
              <pc:docMk/>
              <pc:sldMasterMk cId="3851660094" sldId="2147483648"/>
              <pc:sldLayoutMk cId="1986913224" sldId="2147483719"/>
              <ac:spMk id="2" creationId="{40ED8B81-394E-AF95-65BE-FACF4C66889B}"/>
            </ac:spMkLst>
          </pc:spChg>
          <pc:spChg chg="mod modVis">
            <ac:chgData name="Matteo Scattolin" userId="4c2db86b-a0c1-4427-81a8-6e7641dfa26a" providerId="ADAL" clId="{D05B32F5-8EBF-4D96-A633-AC7FFE7AC13C}" dt="2025-04-08T06:13:50.858" v="25"/>
            <ac:spMkLst>
              <pc:docMk/>
              <pc:sldMasterMk cId="3851660094" sldId="2147483648"/>
              <pc:sldLayoutMk cId="1986913224" sldId="2147483719"/>
              <ac:spMk id="3" creationId="{79C66DCC-14D0-610C-FB0E-898E6D8CA141}"/>
            </ac:spMkLst>
          </pc:spChg>
          <pc:spChg chg="mod modVis">
            <ac:chgData name="Matteo Scattolin" userId="4c2db86b-a0c1-4427-81a8-6e7641dfa26a" providerId="ADAL" clId="{D05B32F5-8EBF-4D96-A633-AC7FFE7AC13C}" dt="2025-04-08T06:13:53.139" v="239"/>
            <ac:spMkLst>
              <pc:docMk/>
              <pc:sldMasterMk cId="3851660094" sldId="2147483648"/>
              <pc:sldLayoutMk cId="1986913224" sldId="2147483719"/>
              <ac:spMk id="4" creationId="{1530F657-3ECE-6DE6-590F-1D589B472151}"/>
            </ac:spMkLst>
          </pc:spChg>
          <pc:spChg chg="mod modVis">
            <ac:chgData name="Matteo Scattolin" userId="4c2db86b-a0c1-4427-81a8-6e7641dfa26a" providerId="ADAL" clId="{D05B32F5-8EBF-4D96-A633-AC7FFE7AC13C}" dt="2025-04-08T06:13:51.619" v="97"/>
            <ac:spMkLst>
              <pc:docMk/>
              <pc:sldMasterMk cId="3851660094" sldId="2147483648"/>
              <pc:sldLayoutMk cId="1986913224" sldId="2147483719"/>
              <ac:spMk id="8" creationId="{F78320A6-840B-6093-E0DE-64C459A6F0E1}"/>
            </ac:spMkLst>
          </pc:spChg>
          <pc:spChg chg="mod">
            <ac:chgData name="Matteo Scattolin" userId="4c2db86b-a0c1-4427-81a8-6e7641dfa26a" providerId="ADAL" clId="{D05B32F5-8EBF-4D96-A633-AC7FFE7AC13C}" dt="2025-04-08T06:13:54.536" v="297" actId="20577"/>
            <ac:spMkLst>
              <pc:docMk/>
              <pc:sldMasterMk cId="3851660094" sldId="2147483648"/>
              <pc:sldLayoutMk cId="1986913224" sldId="2147483719"/>
              <ac:spMk id="10" creationId="{8B770F42-F347-C558-E0F3-F226AABDCE1B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47" v="299" actId="20577"/>
          <pc:sldLayoutMkLst>
            <pc:docMk/>
            <pc:sldMasterMk cId="3851660094" sldId="2147483648"/>
            <pc:sldLayoutMk cId="3038590942" sldId="2147483720"/>
          </pc:sldLayoutMkLst>
          <pc:spChg chg="mod modVis">
            <ac:chgData name="Matteo Scattolin" userId="4c2db86b-a0c1-4427-81a8-6e7641dfa26a" providerId="ADAL" clId="{D05B32F5-8EBF-4D96-A633-AC7FFE7AC13C}" dt="2025-04-08T06:13:52.373" v="173"/>
            <ac:spMkLst>
              <pc:docMk/>
              <pc:sldMasterMk cId="3851660094" sldId="2147483648"/>
              <pc:sldLayoutMk cId="3038590942" sldId="2147483720"/>
              <ac:spMk id="2" creationId="{55301E4A-1781-A2D0-E21C-976D57F9FF96}"/>
            </ac:spMkLst>
          </pc:spChg>
          <pc:spChg chg="mod modVis">
            <ac:chgData name="Matteo Scattolin" userId="4c2db86b-a0c1-4427-81a8-6e7641dfa26a" providerId="ADAL" clId="{D05B32F5-8EBF-4D96-A633-AC7FFE7AC13C}" dt="2025-04-08T06:13:50.863" v="29"/>
            <ac:spMkLst>
              <pc:docMk/>
              <pc:sldMasterMk cId="3851660094" sldId="2147483648"/>
              <pc:sldLayoutMk cId="3038590942" sldId="2147483720"/>
              <ac:spMk id="3" creationId="{6BDBBFF1-30C3-7810-05CA-872B827BD4EE}"/>
            </ac:spMkLst>
          </pc:spChg>
          <pc:spChg chg="mod">
            <ac:chgData name="Matteo Scattolin" userId="4c2db86b-a0c1-4427-81a8-6e7641dfa26a" providerId="ADAL" clId="{D05B32F5-8EBF-4D96-A633-AC7FFE7AC13C}" dt="2025-04-08T06:13:54.547" v="299" actId="20577"/>
            <ac:spMkLst>
              <pc:docMk/>
              <pc:sldMasterMk cId="3851660094" sldId="2147483648"/>
              <pc:sldLayoutMk cId="3038590942" sldId="2147483720"/>
              <ac:spMk id="8" creationId="{1D95F949-4ABF-6BBF-B87F-B5A5CF79DE47}"/>
            </ac:spMkLst>
          </pc:spChg>
          <pc:spChg chg="mod modVis">
            <ac:chgData name="Matteo Scattolin" userId="4c2db86b-a0c1-4427-81a8-6e7641dfa26a" providerId="ADAL" clId="{D05B32F5-8EBF-4D96-A633-AC7FFE7AC13C}" dt="2025-04-08T06:13:53.143" v="243"/>
            <ac:spMkLst>
              <pc:docMk/>
              <pc:sldMasterMk cId="3851660094" sldId="2147483648"/>
              <pc:sldLayoutMk cId="3038590942" sldId="2147483720"/>
              <ac:spMk id="13" creationId="{E3A89CE7-BC84-2E3E-2537-956757FB97AB}"/>
            </ac:spMkLst>
          </pc:spChg>
          <pc:spChg chg="mod modVis">
            <ac:chgData name="Matteo Scattolin" userId="4c2db86b-a0c1-4427-81a8-6e7641dfa26a" providerId="ADAL" clId="{D05B32F5-8EBF-4D96-A633-AC7FFE7AC13C}" dt="2025-04-08T06:13:51.623" v="101"/>
            <ac:spMkLst>
              <pc:docMk/>
              <pc:sldMasterMk cId="3851660094" sldId="2147483648"/>
              <pc:sldLayoutMk cId="3038590942" sldId="2147483720"/>
              <ac:spMk id="14" creationId="{CC2353C8-EBEB-4963-7419-4D7828649630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63" v="302" actId="20577"/>
          <pc:sldLayoutMkLst>
            <pc:docMk/>
            <pc:sldMasterMk cId="3851660094" sldId="2147483648"/>
            <pc:sldLayoutMk cId="1097283377" sldId="2147483721"/>
          </pc:sldLayoutMkLst>
          <pc:spChg chg="mod modVis">
            <ac:chgData name="Matteo Scattolin" userId="4c2db86b-a0c1-4427-81a8-6e7641dfa26a" providerId="ADAL" clId="{D05B32F5-8EBF-4D96-A633-AC7FFE7AC13C}" dt="2025-04-08T06:13:52.379" v="179"/>
            <ac:spMkLst>
              <pc:docMk/>
              <pc:sldMasterMk cId="3851660094" sldId="2147483648"/>
              <pc:sldLayoutMk cId="1097283377" sldId="2147483721"/>
              <ac:spMk id="2" creationId="{5D2BE8BF-7ACE-45FD-59E6-4A4E5C5C1570}"/>
            </ac:spMkLst>
          </pc:spChg>
          <pc:spChg chg="mod modVis">
            <ac:chgData name="Matteo Scattolin" userId="4c2db86b-a0c1-4427-81a8-6e7641dfa26a" providerId="ADAL" clId="{D05B32F5-8EBF-4D96-A633-AC7FFE7AC13C}" dt="2025-04-08T06:13:50.868" v="35"/>
            <ac:spMkLst>
              <pc:docMk/>
              <pc:sldMasterMk cId="3851660094" sldId="2147483648"/>
              <pc:sldLayoutMk cId="1097283377" sldId="2147483721"/>
              <ac:spMk id="8" creationId="{43559C14-6094-4288-E4AD-BE48593CD06A}"/>
            </ac:spMkLst>
          </pc:spChg>
          <pc:spChg chg="mod">
            <ac:chgData name="Matteo Scattolin" userId="4c2db86b-a0c1-4427-81a8-6e7641dfa26a" providerId="ADAL" clId="{D05B32F5-8EBF-4D96-A633-AC7FFE7AC13C}" dt="2025-04-08T06:13:54.563" v="302" actId="20577"/>
            <ac:spMkLst>
              <pc:docMk/>
              <pc:sldMasterMk cId="3851660094" sldId="2147483648"/>
              <pc:sldLayoutMk cId="1097283377" sldId="2147483721"/>
              <ac:spMk id="9" creationId="{D70CED15-C829-8117-9B3A-D0FAD0834491}"/>
            </ac:spMkLst>
          </pc:spChg>
          <pc:spChg chg="mod modVis">
            <ac:chgData name="Matteo Scattolin" userId="4c2db86b-a0c1-4427-81a8-6e7641dfa26a" providerId="ADAL" clId="{D05B32F5-8EBF-4D96-A633-AC7FFE7AC13C}" dt="2025-04-08T06:13:53.150" v="249"/>
            <ac:spMkLst>
              <pc:docMk/>
              <pc:sldMasterMk cId="3851660094" sldId="2147483648"/>
              <pc:sldLayoutMk cId="1097283377" sldId="2147483721"/>
              <ac:spMk id="13" creationId="{1BCDCBC6-8BD7-F4FD-B13A-42552007F7BD}"/>
            </ac:spMkLst>
          </pc:spChg>
          <pc:spChg chg="mod modVis">
            <ac:chgData name="Matteo Scattolin" userId="4c2db86b-a0c1-4427-81a8-6e7641dfa26a" providerId="ADAL" clId="{D05B32F5-8EBF-4D96-A633-AC7FFE7AC13C}" dt="2025-04-08T06:13:51.629" v="107"/>
            <ac:spMkLst>
              <pc:docMk/>
              <pc:sldMasterMk cId="3851660094" sldId="2147483648"/>
              <pc:sldLayoutMk cId="1097283377" sldId="2147483721"/>
              <ac:spMk id="14" creationId="{87AB21C5-CD6F-A251-ADDF-61685A4410C4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52" v="300" actId="20577"/>
          <pc:sldLayoutMkLst>
            <pc:docMk/>
            <pc:sldMasterMk cId="3851660094" sldId="2147483648"/>
            <pc:sldLayoutMk cId="2205401856" sldId="2147483722"/>
          </pc:sldLayoutMkLst>
          <pc:spChg chg="mod modVis">
            <ac:chgData name="Matteo Scattolin" userId="4c2db86b-a0c1-4427-81a8-6e7641dfa26a" providerId="ADAL" clId="{D05B32F5-8EBF-4D96-A633-AC7FFE7AC13C}" dt="2025-04-08T06:13:52.375" v="175"/>
            <ac:spMkLst>
              <pc:docMk/>
              <pc:sldMasterMk cId="3851660094" sldId="2147483648"/>
              <pc:sldLayoutMk cId="2205401856" sldId="2147483722"/>
              <ac:spMk id="2" creationId="{B8ED0E97-0C1E-BED7-8697-49C34612DCE0}"/>
            </ac:spMkLst>
          </pc:spChg>
          <pc:spChg chg="mod modVis">
            <ac:chgData name="Matteo Scattolin" userId="4c2db86b-a0c1-4427-81a8-6e7641dfa26a" providerId="ADAL" clId="{D05B32F5-8EBF-4D96-A633-AC7FFE7AC13C}" dt="2025-04-08T06:13:50.865" v="31"/>
            <ac:spMkLst>
              <pc:docMk/>
              <pc:sldMasterMk cId="3851660094" sldId="2147483648"/>
              <pc:sldLayoutMk cId="2205401856" sldId="2147483722"/>
              <ac:spMk id="4" creationId="{65810D46-1E50-3663-8230-8FC35C7551EE}"/>
            </ac:spMkLst>
          </pc:spChg>
          <pc:spChg chg="mod modVis">
            <ac:chgData name="Matteo Scattolin" userId="4c2db86b-a0c1-4427-81a8-6e7641dfa26a" providerId="ADAL" clId="{D05B32F5-8EBF-4D96-A633-AC7FFE7AC13C}" dt="2025-04-08T06:13:53.146" v="245"/>
            <ac:spMkLst>
              <pc:docMk/>
              <pc:sldMasterMk cId="3851660094" sldId="2147483648"/>
              <pc:sldLayoutMk cId="2205401856" sldId="2147483722"/>
              <ac:spMk id="8" creationId="{7FC114AF-AC7A-D497-1495-A574F6079C94}"/>
            </ac:spMkLst>
          </pc:spChg>
          <pc:spChg chg="mod modVis">
            <ac:chgData name="Matteo Scattolin" userId="4c2db86b-a0c1-4427-81a8-6e7641dfa26a" providerId="ADAL" clId="{D05B32F5-8EBF-4D96-A633-AC7FFE7AC13C}" dt="2025-04-08T06:13:51.625" v="103"/>
            <ac:spMkLst>
              <pc:docMk/>
              <pc:sldMasterMk cId="3851660094" sldId="2147483648"/>
              <pc:sldLayoutMk cId="2205401856" sldId="2147483722"/>
              <ac:spMk id="9" creationId="{797BF80F-0439-32A6-6A3D-91DA091F796E}"/>
            </ac:spMkLst>
          </pc:spChg>
          <pc:spChg chg="mod">
            <ac:chgData name="Matteo Scattolin" userId="4c2db86b-a0c1-4427-81a8-6e7641dfa26a" providerId="ADAL" clId="{D05B32F5-8EBF-4D96-A633-AC7FFE7AC13C}" dt="2025-04-08T06:13:54.552" v="300" actId="20577"/>
            <ac:spMkLst>
              <pc:docMk/>
              <pc:sldMasterMk cId="3851660094" sldId="2147483648"/>
              <pc:sldLayoutMk cId="2205401856" sldId="2147483722"/>
              <ac:spMk id="14" creationId="{14C565CD-2AC4-3F64-6A77-F0494658AD60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89" v="307" actId="20577"/>
          <pc:sldLayoutMkLst>
            <pc:docMk/>
            <pc:sldMasterMk cId="3851660094" sldId="2147483648"/>
            <pc:sldLayoutMk cId="299401662" sldId="2147483723"/>
          </pc:sldLayoutMkLst>
          <pc:spChg chg="mod modVis">
            <ac:chgData name="Matteo Scattolin" userId="4c2db86b-a0c1-4427-81a8-6e7641dfa26a" providerId="ADAL" clId="{D05B32F5-8EBF-4D96-A633-AC7FFE7AC13C}" dt="2025-04-08T06:13:52.385" v="185"/>
            <ac:spMkLst>
              <pc:docMk/>
              <pc:sldMasterMk cId="3851660094" sldId="2147483648"/>
              <pc:sldLayoutMk cId="299401662" sldId="2147483723"/>
              <ac:spMk id="4" creationId="{28A8041F-50E9-5CF0-CD06-9D5725FE69A8}"/>
            </ac:spMkLst>
          </pc:spChg>
          <pc:spChg chg="mod modVis">
            <ac:chgData name="Matteo Scattolin" userId="4c2db86b-a0c1-4427-81a8-6e7641dfa26a" providerId="ADAL" clId="{D05B32F5-8EBF-4D96-A633-AC7FFE7AC13C}" dt="2025-04-08T06:13:50.875" v="41"/>
            <ac:spMkLst>
              <pc:docMk/>
              <pc:sldMasterMk cId="3851660094" sldId="2147483648"/>
              <pc:sldLayoutMk cId="299401662" sldId="2147483723"/>
              <ac:spMk id="7" creationId="{57B90FD5-D77C-DF84-EDD5-672324F3E1B4}"/>
            </ac:spMkLst>
          </pc:spChg>
          <pc:spChg chg="mod">
            <ac:chgData name="Matteo Scattolin" userId="4c2db86b-a0c1-4427-81a8-6e7641dfa26a" providerId="ADAL" clId="{D05B32F5-8EBF-4D96-A633-AC7FFE7AC13C}" dt="2025-04-08T06:13:54.589" v="307" actId="20577"/>
            <ac:spMkLst>
              <pc:docMk/>
              <pc:sldMasterMk cId="3851660094" sldId="2147483648"/>
              <pc:sldLayoutMk cId="299401662" sldId="2147483723"/>
              <ac:spMk id="11" creationId="{DB178BDF-2CFE-A8FA-2A41-430DDFD331CE}"/>
            </ac:spMkLst>
          </pc:spChg>
          <pc:spChg chg="mod modVis">
            <ac:chgData name="Matteo Scattolin" userId="4c2db86b-a0c1-4427-81a8-6e7641dfa26a" providerId="ADAL" clId="{D05B32F5-8EBF-4D96-A633-AC7FFE7AC13C}" dt="2025-04-08T06:13:53.155" v="255"/>
            <ac:spMkLst>
              <pc:docMk/>
              <pc:sldMasterMk cId="3851660094" sldId="2147483648"/>
              <pc:sldLayoutMk cId="299401662" sldId="2147483723"/>
              <ac:spMk id="15" creationId="{999ABA49-C9CA-5954-F570-8E453DC9E0EF}"/>
            </ac:spMkLst>
          </pc:spChg>
          <pc:spChg chg="mod modVis">
            <ac:chgData name="Matteo Scattolin" userId="4c2db86b-a0c1-4427-81a8-6e7641dfa26a" providerId="ADAL" clId="{D05B32F5-8EBF-4D96-A633-AC7FFE7AC13C}" dt="2025-04-08T06:13:51.635" v="113"/>
            <ac:spMkLst>
              <pc:docMk/>
              <pc:sldMasterMk cId="3851660094" sldId="2147483648"/>
              <pc:sldLayoutMk cId="299401662" sldId="2147483723"/>
              <ac:spMk id="16" creationId="{414B1F28-6674-6413-995B-657550DA7E06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46" v="318" actId="20577"/>
          <pc:sldLayoutMkLst>
            <pc:docMk/>
            <pc:sldMasterMk cId="3851660094" sldId="2147483648"/>
            <pc:sldLayoutMk cId="2633772084" sldId="2147483724"/>
          </pc:sldLayoutMkLst>
          <pc:spChg chg="mod modVis">
            <ac:chgData name="Matteo Scattolin" userId="4c2db86b-a0c1-4427-81a8-6e7641dfa26a" providerId="ADAL" clId="{D05B32F5-8EBF-4D96-A633-AC7FFE7AC13C}" dt="2025-04-08T06:13:52.405" v="205"/>
            <ac:spMkLst>
              <pc:docMk/>
              <pc:sldMasterMk cId="3851660094" sldId="2147483648"/>
              <pc:sldLayoutMk cId="2633772084" sldId="2147483724"/>
              <ac:spMk id="2" creationId="{94AB4C34-33B4-55B2-4AFE-87E92B75D37E}"/>
            </ac:spMkLst>
          </pc:spChg>
          <pc:spChg chg="mod modVis">
            <ac:chgData name="Matteo Scattolin" userId="4c2db86b-a0c1-4427-81a8-6e7641dfa26a" providerId="ADAL" clId="{D05B32F5-8EBF-4D96-A633-AC7FFE7AC13C}" dt="2025-04-08T06:13:50.894" v="61"/>
            <ac:spMkLst>
              <pc:docMk/>
              <pc:sldMasterMk cId="3851660094" sldId="2147483648"/>
              <pc:sldLayoutMk cId="2633772084" sldId="2147483724"/>
              <ac:spMk id="3" creationId="{EB1B9A42-C23F-03AA-CC6D-676390B840B6}"/>
            </ac:spMkLst>
          </pc:spChg>
          <pc:spChg chg="mod">
            <ac:chgData name="Matteo Scattolin" userId="4c2db86b-a0c1-4427-81a8-6e7641dfa26a" providerId="ADAL" clId="{D05B32F5-8EBF-4D96-A633-AC7FFE7AC13C}" dt="2025-04-08T06:13:54.646" v="318" actId="20577"/>
            <ac:spMkLst>
              <pc:docMk/>
              <pc:sldMasterMk cId="3851660094" sldId="2147483648"/>
              <pc:sldLayoutMk cId="2633772084" sldId="2147483724"/>
              <ac:spMk id="8" creationId="{31B24D53-9C7B-32DB-DF3B-10F06A9DBACD}"/>
            </ac:spMkLst>
          </pc:spChg>
          <pc:spChg chg="mod modVis">
            <ac:chgData name="Matteo Scattolin" userId="4c2db86b-a0c1-4427-81a8-6e7641dfa26a" providerId="ADAL" clId="{D05B32F5-8EBF-4D96-A633-AC7FFE7AC13C}" dt="2025-04-08T06:13:53.176" v="275"/>
            <ac:spMkLst>
              <pc:docMk/>
              <pc:sldMasterMk cId="3851660094" sldId="2147483648"/>
              <pc:sldLayoutMk cId="2633772084" sldId="2147483724"/>
              <ac:spMk id="12" creationId="{33C6E2BA-1F5E-AD04-5F3C-B4761E1B95EF}"/>
            </ac:spMkLst>
          </pc:spChg>
          <pc:spChg chg="mod modVis">
            <ac:chgData name="Matteo Scattolin" userId="4c2db86b-a0c1-4427-81a8-6e7641dfa26a" providerId="ADAL" clId="{D05B32F5-8EBF-4D96-A633-AC7FFE7AC13C}" dt="2025-04-08T06:13:51.655" v="133"/>
            <ac:spMkLst>
              <pc:docMk/>
              <pc:sldMasterMk cId="3851660094" sldId="2147483648"/>
              <pc:sldLayoutMk cId="2633772084" sldId="2147483724"/>
              <ac:spMk id="13" creationId="{BC77D19D-3701-51D7-FCA5-4D5F6DF8A59E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51" v="319" actId="20577"/>
          <pc:sldLayoutMkLst>
            <pc:docMk/>
            <pc:sldMasterMk cId="3851660094" sldId="2147483648"/>
            <pc:sldLayoutMk cId="4099018862" sldId="2147483725"/>
          </pc:sldLayoutMkLst>
          <pc:spChg chg="mod modVis">
            <ac:chgData name="Matteo Scattolin" userId="4c2db86b-a0c1-4427-81a8-6e7641dfa26a" providerId="ADAL" clId="{D05B32F5-8EBF-4D96-A633-AC7FFE7AC13C}" dt="2025-04-08T06:13:52.407" v="207"/>
            <ac:spMkLst>
              <pc:docMk/>
              <pc:sldMasterMk cId="3851660094" sldId="2147483648"/>
              <pc:sldLayoutMk cId="4099018862" sldId="2147483725"/>
              <ac:spMk id="2" creationId="{FC81A3D3-DF32-791F-C787-EDFD26AFD294}"/>
            </ac:spMkLst>
          </pc:spChg>
          <pc:spChg chg="mod">
            <ac:chgData name="Matteo Scattolin" userId="4c2db86b-a0c1-4427-81a8-6e7641dfa26a" providerId="ADAL" clId="{D05B32F5-8EBF-4D96-A633-AC7FFE7AC13C}" dt="2025-04-08T06:13:54.651" v="319" actId="20577"/>
            <ac:spMkLst>
              <pc:docMk/>
              <pc:sldMasterMk cId="3851660094" sldId="2147483648"/>
              <pc:sldLayoutMk cId="4099018862" sldId="2147483725"/>
              <ac:spMk id="3" creationId="{342FA203-7751-2E97-F6D8-B3B01873A30B}"/>
            </ac:spMkLst>
          </pc:spChg>
          <pc:spChg chg="mod modVis">
            <ac:chgData name="Matteo Scattolin" userId="4c2db86b-a0c1-4427-81a8-6e7641dfa26a" providerId="ADAL" clId="{D05B32F5-8EBF-4D96-A633-AC7FFE7AC13C}" dt="2025-04-08T06:13:50.896" v="63"/>
            <ac:spMkLst>
              <pc:docMk/>
              <pc:sldMasterMk cId="3851660094" sldId="2147483648"/>
              <pc:sldLayoutMk cId="4099018862" sldId="2147483725"/>
              <ac:spMk id="8" creationId="{E5F36E59-9A00-DC6C-E949-A604E74B3BC6}"/>
            </ac:spMkLst>
          </pc:spChg>
          <pc:spChg chg="mod modVis">
            <ac:chgData name="Matteo Scattolin" userId="4c2db86b-a0c1-4427-81a8-6e7641dfa26a" providerId="ADAL" clId="{D05B32F5-8EBF-4D96-A633-AC7FFE7AC13C}" dt="2025-04-08T06:13:53.177" v="277"/>
            <ac:spMkLst>
              <pc:docMk/>
              <pc:sldMasterMk cId="3851660094" sldId="2147483648"/>
              <pc:sldLayoutMk cId="4099018862" sldId="2147483725"/>
              <ac:spMk id="10" creationId="{B068F6D5-2618-6575-D495-9EBF8E8E9F31}"/>
            </ac:spMkLst>
          </pc:spChg>
          <pc:spChg chg="mod modVis">
            <ac:chgData name="Matteo Scattolin" userId="4c2db86b-a0c1-4427-81a8-6e7641dfa26a" providerId="ADAL" clId="{D05B32F5-8EBF-4D96-A633-AC7FFE7AC13C}" dt="2025-04-08T06:13:51.657" v="135"/>
            <ac:spMkLst>
              <pc:docMk/>
              <pc:sldMasterMk cId="3851660094" sldId="2147483648"/>
              <pc:sldLayoutMk cId="4099018862" sldId="2147483725"/>
              <ac:spMk id="11" creationId="{5AC3DE18-1723-C9A4-A992-EE60C9FDB754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56" v="320" actId="20577"/>
          <pc:sldLayoutMkLst>
            <pc:docMk/>
            <pc:sldMasterMk cId="3851660094" sldId="2147483648"/>
            <pc:sldLayoutMk cId="1912917430" sldId="2147483726"/>
          </pc:sldLayoutMkLst>
          <pc:spChg chg="mod modVis">
            <ac:chgData name="Matteo Scattolin" userId="4c2db86b-a0c1-4427-81a8-6e7641dfa26a" providerId="ADAL" clId="{D05B32F5-8EBF-4D96-A633-AC7FFE7AC13C}" dt="2025-04-08T06:13:52.409" v="209"/>
            <ac:spMkLst>
              <pc:docMk/>
              <pc:sldMasterMk cId="3851660094" sldId="2147483648"/>
              <pc:sldLayoutMk cId="1912917430" sldId="2147483726"/>
              <ac:spMk id="4" creationId="{1996E9AC-777A-E90F-386E-33627E90AE0B}"/>
            </ac:spMkLst>
          </pc:spChg>
          <pc:spChg chg="mod modVis">
            <ac:chgData name="Matteo Scattolin" userId="4c2db86b-a0c1-4427-81a8-6e7641dfa26a" providerId="ADAL" clId="{D05B32F5-8EBF-4D96-A633-AC7FFE7AC13C}" dt="2025-04-08T06:13:50.898" v="65"/>
            <ac:spMkLst>
              <pc:docMk/>
              <pc:sldMasterMk cId="3851660094" sldId="2147483648"/>
              <pc:sldLayoutMk cId="1912917430" sldId="2147483726"/>
              <ac:spMk id="6" creationId="{43093EBA-219C-5593-D464-83068CFE7D9C}"/>
            </ac:spMkLst>
          </pc:spChg>
          <pc:spChg chg="mod modVis">
            <ac:chgData name="Matteo Scattolin" userId="4c2db86b-a0c1-4427-81a8-6e7641dfa26a" providerId="ADAL" clId="{D05B32F5-8EBF-4D96-A633-AC7FFE7AC13C}" dt="2025-04-08T06:13:53.179" v="279"/>
            <ac:spMkLst>
              <pc:docMk/>
              <pc:sldMasterMk cId="3851660094" sldId="2147483648"/>
              <pc:sldLayoutMk cId="1912917430" sldId="2147483726"/>
              <ac:spMk id="7" creationId="{90D3A597-5717-6E81-97A9-B81C205593DF}"/>
            </ac:spMkLst>
          </pc:spChg>
          <pc:spChg chg="mod modVis">
            <ac:chgData name="Matteo Scattolin" userId="4c2db86b-a0c1-4427-81a8-6e7641dfa26a" providerId="ADAL" clId="{D05B32F5-8EBF-4D96-A633-AC7FFE7AC13C}" dt="2025-04-08T06:13:51.659" v="137"/>
            <ac:spMkLst>
              <pc:docMk/>
              <pc:sldMasterMk cId="3851660094" sldId="2147483648"/>
              <pc:sldLayoutMk cId="1912917430" sldId="2147483726"/>
              <ac:spMk id="8" creationId="{A31A0559-7F34-C96A-667F-05DE2DB36B74}"/>
            </ac:spMkLst>
          </pc:spChg>
          <pc:spChg chg="mod">
            <ac:chgData name="Matteo Scattolin" userId="4c2db86b-a0c1-4427-81a8-6e7641dfa26a" providerId="ADAL" clId="{D05B32F5-8EBF-4D96-A633-AC7FFE7AC13C}" dt="2025-04-08T06:13:54.656" v="320" actId="20577"/>
            <ac:spMkLst>
              <pc:docMk/>
              <pc:sldMasterMk cId="3851660094" sldId="2147483648"/>
              <pc:sldLayoutMk cId="1912917430" sldId="2147483726"/>
              <ac:spMk id="12" creationId="{53A890DC-E2D9-97FA-3578-2FE571F63010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60" v="321" actId="20577"/>
          <pc:sldLayoutMkLst>
            <pc:docMk/>
            <pc:sldMasterMk cId="3851660094" sldId="2147483648"/>
            <pc:sldLayoutMk cId="587253537" sldId="2147483727"/>
          </pc:sldLayoutMkLst>
          <pc:spChg chg="mod modVis">
            <ac:chgData name="Matteo Scattolin" userId="4c2db86b-a0c1-4427-81a8-6e7641dfa26a" providerId="ADAL" clId="{D05B32F5-8EBF-4D96-A633-AC7FFE7AC13C}" dt="2025-04-08T06:13:52.410" v="211"/>
            <ac:spMkLst>
              <pc:docMk/>
              <pc:sldMasterMk cId="3851660094" sldId="2147483648"/>
              <pc:sldLayoutMk cId="587253537" sldId="2147483727"/>
              <ac:spMk id="4" creationId="{31EAF71E-F533-F328-5004-F334ADEDE389}"/>
            </ac:spMkLst>
          </pc:spChg>
          <pc:spChg chg="mod modVis">
            <ac:chgData name="Matteo Scattolin" userId="4c2db86b-a0c1-4427-81a8-6e7641dfa26a" providerId="ADAL" clId="{D05B32F5-8EBF-4D96-A633-AC7FFE7AC13C}" dt="2025-04-08T06:13:50.900" v="67"/>
            <ac:spMkLst>
              <pc:docMk/>
              <pc:sldMasterMk cId="3851660094" sldId="2147483648"/>
              <pc:sldLayoutMk cId="587253537" sldId="2147483727"/>
              <ac:spMk id="6" creationId="{C7818599-5177-50D7-4FA1-210D781EC1DE}"/>
            </ac:spMkLst>
          </pc:spChg>
          <pc:spChg chg="mod">
            <ac:chgData name="Matteo Scattolin" userId="4c2db86b-a0c1-4427-81a8-6e7641dfa26a" providerId="ADAL" clId="{D05B32F5-8EBF-4D96-A633-AC7FFE7AC13C}" dt="2025-04-08T06:13:54.660" v="321" actId="20577"/>
            <ac:spMkLst>
              <pc:docMk/>
              <pc:sldMasterMk cId="3851660094" sldId="2147483648"/>
              <pc:sldLayoutMk cId="587253537" sldId="2147483727"/>
              <ac:spMk id="7" creationId="{6737ACC3-60F8-987F-3232-4B5582B451D4}"/>
            </ac:spMkLst>
          </pc:spChg>
          <pc:spChg chg="mod modVis">
            <ac:chgData name="Matteo Scattolin" userId="4c2db86b-a0c1-4427-81a8-6e7641dfa26a" providerId="ADAL" clId="{D05B32F5-8EBF-4D96-A633-AC7FFE7AC13C}" dt="2025-04-08T06:13:53.181" v="281"/>
            <ac:spMkLst>
              <pc:docMk/>
              <pc:sldMasterMk cId="3851660094" sldId="2147483648"/>
              <pc:sldLayoutMk cId="587253537" sldId="2147483727"/>
              <ac:spMk id="11" creationId="{3608DF62-B149-1863-8851-4027B603C2D7}"/>
            </ac:spMkLst>
          </pc:spChg>
          <pc:spChg chg="mod modVis">
            <ac:chgData name="Matteo Scattolin" userId="4c2db86b-a0c1-4427-81a8-6e7641dfa26a" providerId="ADAL" clId="{D05B32F5-8EBF-4D96-A633-AC7FFE7AC13C}" dt="2025-04-08T06:13:51.660" v="139"/>
            <ac:spMkLst>
              <pc:docMk/>
              <pc:sldMasterMk cId="3851660094" sldId="2147483648"/>
              <pc:sldLayoutMk cId="587253537" sldId="2147483727"/>
              <ac:spMk id="12" creationId="{21D3EA5A-9ED9-8BA7-BFD5-45586F1859DE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65" v="322" actId="20577"/>
          <pc:sldLayoutMkLst>
            <pc:docMk/>
            <pc:sldMasterMk cId="3851660094" sldId="2147483648"/>
            <pc:sldLayoutMk cId="3489934444" sldId="2147483728"/>
          </pc:sldLayoutMkLst>
          <pc:spChg chg="mod modVis">
            <ac:chgData name="Matteo Scattolin" userId="4c2db86b-a0c1-4427-81a8-6e7641dfa26a" providerId="ADAL" clId="{D05B32F5-8EBF-4D96-A633-AC7FFE7AC13C}" dt="2025-04-08T06:13:52.413" v="213"/>
            <ac:spMkLst>
              <pc:docMk/>
              <pc:sldMasterMk cId="3851660094" sldId="2147483648"/>
              <pc:sldLayoutMk cId="3489934444" sldId="2147483728"/>
              <ac:spMk id="2" creationId="{1466939F-20F0-F829-2FDE-10360604741F}"/>
            </ac:spMkLst>
          </pc:spChg>
          <pc:spChg chg="mod modVis">
            <ac:chgData name="Matteo Scattolin" userId="4c2db86b-a0c1-4427-81a8-6e7641dfa26a" providerId="ADAL" clId="{D05B32F5-8EBF-4D96-A633-AC7FFE7AC13C}" dt="2025-04-08T06:13:50.902" v="69"/>
            <ac:spMkLst>
              <pc:docMk/>
              <pc:sldMasterMk cId="3851660094" sldId="2147483648"/>
              <pc:sldLayoutMk cId="3489934444" sldId="2147483728"/>
              <ac:spMk id="3" creationId="{EE07FF2C-8999-02B5-0C1C-AE2B70B41459}"/>
            </ac:spMkLst>
          </pc:spChg>
          <pc:spChg chg="mod">
            <ac:chgData name="Matteo Scattolin" userId="4c2db86b-a0c1-4427-81a8-6e7641dfa26a" providerId="ADAL" clId="{D05B32F5-8EBF-4D96-A633-AC7FFE7AC13C}" dt="2025-04-08T06:13:54.665" v="322" actId="20577"/>
            <ac:spMkLst>
              <pc:docMk/>
              <pc:sldMasterMk cId="3851660094" sldId="2147483648"/>
              <pc:sldLayoutMk cId="3489934444" sldId="2147483728"/>
              <ac:spMk id="8" creationId="{EBDE4F53-2D01-2BFF-77F6-2C9465C130EC}"/>
            </ac:spMkLst>
          </pc:spChg>
          <pc:spChg chg="mod modVis">
            <ac:chgData name="Matteo Scattolin" userId="4c2db86b-a0c1-4427-81a8-6e7641dfa26a" providerId="ADAL" clId="{D05B32F5-8EBF-4D96-A633-AC7FFE7AC13C}" dt="2025-04-08T06:13:53.183" v="283"/>
            <ac:spMkLst>
              <pc:docMk/>
              <pc:sldMasterMk cId="3851660094" sldId="2147483648"/>
              <pc:sldLayoutMk cId="3489934444" sldId="2147483728"/>
              <ac:spMk id="12" creationId="{0A3BCA3C-5707-B276-03BA-A4935C765403}"/>
            </ac:spMkLst>
          </pc:spChg>
          <pc:spChg chg="mod modVis">
            <ac:chgData name="Matteo Scattolin" userId="4c2db86b-a0c1-4427-81a8-6e7641dfa26a" providerId="ADAL" clId="{D05B32F5-8EBF-4D96-A633-AC7FFE7AC13C}" dt="2025-04-08T06:13:51.663" v="141"/>
            <ac:spMkLst>
              <pc:docMk/>
              <pc:sldMasterMk cId="3851660094" sldId="2147483648"/>
              <pc:sldLayoutMk cId="3489934444" sldId="2147483728"/>
              <ac:spMk id="13" creationId="{158AC174-BAB3-7486-3C6C-4C8A32B8267A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670" v="323" actId="20577"/>
          <pc:sldLayoutMkLst>
            <pc:docMk/>
            <pc:sldMasterMk cId="3851660094" sldId="2147483648"/>
            <pc:sldLayoutMk cId="1727671132" sldId="2147483729"/>
          </pc:sldLayoutMkLst>
          <pc:spChg chg="mod modVis">
            <ac:chgData name="Matteo Scattolin" userId="4c2db86b-a0c1-4427-81a8-6e7641dfa26a" providerId="ADAL" clId="{D05B32F5-8EBF-4D96-A633-AC7FFE7AC13C}" dt="2025-04-08T06:13:52.415" v="215"/>
            <ac:spMkLst>
              <pc:docMk/>
              <pc:sldMasterMk cId="3851660094" sldId="2147483648"/>
              <pc:sldLayoutMk cId="1727671132" sldId="2147483729"/>
              <ac:spMk id="2" creationId="{30FAE914-0863-B407-6610-DD885156E131}"/>
            </ac:spMkLst>
          </pc:spChg>
          <pc:spChg chg="mod modVis">
            <ac:chgData name="Matteo Scattolin" userId="4c2db86b-a0c1-4427-81a8-6e7641dfa26a" providerId="ADAL" clId="{D05B32F5-8EBF-4D96-A633-AC7FFE7AC13C}" dt="2025-04-08T06:13:50.904" v="71"/>
            <ac:spMkLst>
              <pc:docMk/>
              <pc:sldMasterMk cId="3851660094" sldId="2147483648"/>
              <pc:sldLayoutMk cId="1727671132" sldId="2147483729"/>
              <ac:spMk id="3" creationId="{4641EEB0-9B10-AE9D-EF76-CCF9AFBC082E}"/>
            </ac:spMkLst>
          </pc:spChg>
          <pc:spChg chg="mod">
            <ac:chgData name="Matteo Scattolin" userId="4c2db86b-a0c1-4427-81a8-6e7641dfa26a" providerId="ADAL" clId="{D05B32F5-8EBF-4D96-A633-AC7FFE7AC13C}" dt="2025-04-08T06:13:54.670" v="323" actId="20577"/>
            <ac:spMkLst>
              <pc:docMk/>
              <pc:sldMasterMk cId="3851660094" sldId="2147483648"/>
              <pc:sldLayoutMk cId="1727671132" sldId="2147483729"/>
              <ac:spMk id="5" creationId="{80C0342E-3C1E-65F7-A379-F3E4723908E0}"/>
            </ac:spMkLst>
          </pc:spChg>
          <pc:spChg chg="mod modVis">
            <ac:chgData name="Matteo Scattolin" userId="4c2db86b-a0c1-4427-81a8-6e7641dfa26a" providerId="ADAL" clId="{D05B32F5-8EBF-4D96-A633-AC7FFE7AC13C}" dt="2025-04-08T06:13:53.185" v="285"/>
            <ac:spMkLst>
              <pc:docMk/>
              <pc:sldMasterMk cId="3851660094" sldId="2147483648"/>
              <pc:sldLayoutMk cId="1727671132" sldId="2147483729"/>
              <ac:spMk id="10" creationId="{ED032143-5A76-C003-25C8-AE35040F846A}"/>
            </ac:spMkLst>
          </pc:spChg>
          <pc:spChg chg="mod modVis">
            <ac:chgData name="Matteo Scattolin" userId="4c2db86b-a0c1-4427-81a8-6e7641dfa26a" providerId="ADAL" clId="{D05B32F5-8EBF-4D96-A633-AC7FFE7AC13C}" dt="2025-04-08T06:13:51.665" v="143"/>
            <ac:spMkLst>
              <pc:docMk/>
              <pc:sldMasterMk cId="3851660094" sldId="2147483648"/>
              <pc:sldLayoutMk cId="1727671132" sldId="2147483729"/>
              <ac:spMk id="11" creationId="{87266405-F211-A58B-2E79-FDF2F951EDF2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58" v="301" actId="20577"/>
          <pc:sldLayoutMkLst>
            <pc:docMk/>
            <pc:sldMasterMk cId="3851660094" sldId="2147483648"/>
            <pc:sldLayoutMk cId="142831993" sldId="2147483820"/>
          </pc:sldLayoutMkLst>
          <pc:spChg chg="mod modVis">
            <ac:chgData name="Matteo Scattolin" userId="4c2db86b-a0c1-4427-81a8-6e7641dfa26a" providerId="ADAL" clId="{D05B32F5-8EBF-4D96-A633-AC7FFE7AC13C}" dt="2025-04-08T06:13:52.377" v="177"/>
            <ac:spMkLst>
              <pc:docMk/>
              <pc:sldMasterMk cId="3851660094" sldId="2147483648"/>
              <pc:sldLayoutMk cId="142831993" sldId="2147483820"/>
              <ac:spMk id="2" creationId="{B8ED0E97-0C1E-BED7-8697-49C34612DCE0}"/>
            </ac:spMkLst>
          </pc:spChg>
          <pc:spChg chg="mod modVis">
            <ac:chgData name="Matteo Scattolin" userId="4c2db86b-a0c1-4427-81a8-6e7641dfa26a" providerId="ADAL" clId="{D05B32F5-8EBF-4D96-A633-AC7FFE7AC13C}" dt="2025-04-08T06:13:50.866" v="33"/>
            <ac:spMkLst>
              <pc:docMk/>
              <pc:sldMasterMk cId="3851660094" sldId="2147483648"/>
              <pc:sldLayoutMk cId="142831993" sldId="2147483820"/>
              <ac:spMk id="4" creationId="{65810D46-1E50-3663-8230-8FC35C7551EE}"/>
            </ac:spMkLst>
          </pc:spChg>
          <pc:spChg chg="mod modVis">
            <ac:chgData name="Matteo Scattolin" userId="4c2db86b-a0c1-4427-81a8-6e7641dfa26a" providerId="ADAL" clId="{D05B32F5-8EBF-4D96-A633-AC7FFE7AC13C}" dt="2025-04-08T06:13:53.148" v="247"/>
            <ac:spMkLst>
              <pc:docMk/>
              <pc:sldMasterMk cId="3851660094" sldId="2147483648"/>
              <pc:sldLayoutMk cId="142831993" sldId="2147483820"/>
              <ac:spMk id="8" creationId="{7FC114AF-AC7A-D497-1495-A574F6079C94}"/>
            </ac:spMkLst>
          </pc:spChg>
          <pc:spChg chg="mod modVis">
            <ac:chgData name="Matteo Scattolin" userId="4c2db86b-a0c1-4427-81a8-6e7641dfa26a" providerId="ADAL" clId="{D05B32F5-8EBF-4D96-A633-AC7FFE7AC13C}" dt="2025-04-08T06:13:51.627" v="105"/>
            <ac:spMkLst>
              <pc:docMk/>
              <pc:sldMasterMk cId="3851660094" sldId="2147483648"/>
              <pc:sldLayoutMk cId="142831993" sldId="2147483820"/>
              <ac:spMk id="9" creationId="{797BF80F-0439-32A6-6A3D-91DA091F796E}"/>
            </ac:spMkLst>
          </pc:spChg>
          <pc:spChg chg="mod">
            <ac:chgData name="Matteo Scattolin" userId="4c2db86b-a0c1-4427-81a8-6e7641dfa26a" providerId="ADAL" clId="{D05B32F5-8EBF-4D96-A633-AC7FFE7AC13C}" dt="2025-04-08T06:13:54.558" v="301" actId="20577"/>
            <ac:spMkLst>
              <pc:docMk/>
              <pc:sldMasterMk cId="3851660094" sldId="2147483648"/>
              <pc:sldLayoutMk cId="142831993" sldId="2147483820"/>
              <ac:spMk id="14" creationId="{14C565CD-2AC4-3F64-6A77-F0494658AD60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73" v="304" actId="20577"/>
          <pc:sldLayoutMkLst>
            <pc:docMk/>
            <pc:sldMasterMk cId="3851660094" sldId="2147483648"/>
            <pc:sldLayoutMk cId="2228223020" sldId="2147483821"/>
          </pc:sldLayoutMkLst>
          <pc:spChg chg="mod">
            <ac:chgData name="Matteo Scattolin" userId="4c2db86b-a0c1-4427-81a8-6e7641dfa26a" providerId="ADAL" clId="{D05B32F5-8EBF-4D96-A633-AC7FFE7AC13C}" dt="2025-04-08T06:13:54.573" v="304" actId="20577"/>
            <ac:spMkLst>
              <pc:docMk/>
              <pc:sldMasterMk cId="3851660094" sldId="2147483648"/>
              <pc:sldLayoutMk cId="2228223020" sldId="2147483821"/>
              <ac:spMk id="7" creationId="{141E8473-E467-51F8-0F65-9AD6BCFC7874}"/>
            </ac:spMkLst>
          </pc:spChg>
        </pc:sldLayoutChg>
        <pc:sldLayoutChg chg="modSp mod">
          <pc:chgData name="Matteo Scattolin" userId="4c2db86b-a0c1-4427-81a8-6e7641dfa26a" providerId="ADAL" clId="{D05B32F5-8EBF-4D96-A633-AC7FFE7AC13C}" dt="2025-04-08T06:13:54.542" v="298" actId="20577"/>
          <pc:sldLayoutMkLst>
            <pc:docMk/>
            <pc:sldMasterMk cId="3851660094" sldId="2147483648"/>
            <pc:sldLayoutMk cId="1001392522" sldId="2147483822"/>
          </pc:sldLayoutMkLst>
          <pc:spChg chg="mod modVis">
            <ac:chgData name="Matteo Scattolin" userId="4c2db86b-a0c1-4427-81a8-6e7641dfa26a" providerId="ADAL" clId="{D05B32F5-8EBF-4D96-A633-AC7FFE7AC13C}" dt="2025-04-08T06:13:52.371" v="171"/>
            <ac:spMkLst>
              <pc:docMk/>
              <pc:sldMasterMk cId="3851660094" sldId="2147483648"/>
              <pc:sldLayoutMk cId="1001392522" sldId="2147483822"/>
              <ac:spMk id="2" creationId="{40ED8B81-394E-AF95-65BE-FACF4C66889B}"/>
            </ac:spMkLst>
          </pc:spChg>
          <pc:spChg chg="mod modVis">
            <ac:chgData name="Matteo Scattolin" userId="4c2db86b-a0c1-4427-81a8-6e7641dfa26a" providerId="ADAL" clId="{D05B32F5-8EBF-4D96-A633-AC7FFE7AC13C}" dt="2025-04-08T06:13:50.860" v="27"/>
            <ac:spMkLst>
              <pc:docMk/>
              <pc:sldMasterMk cId="3851660094" sldId="2147483648"/>
              <pc:sldLayoutMk cId="1001392522" sldId="2147483822"/>
              <ac:spMk id="3" creationId="{79C66DCC-14D0-610C-FB0E-898E6D8CA141}"/>
            </ac:spMkLst>
          </pc:spChg>
          <pc:spChg chg="mod modVis">
            <ac:chgData name="Matteo Scattolin" userId="4c2db86b-a0c1-4427-81a8-6e7641dfa26a" providerId="ADAL" clId="{D05B32F5-8EBF-4D96-A633-AC7FFE7AC13C}" dt="2025-04-08T06:13:53.141" v="241"/>
            <ac:spMkLst>
              <pc:docMk/>
              <pc:sldMasterMk cId="3851660094" sldId="2147483648"/>
              <pc:sldLayoutMk cId="1001392522" sldId="2147483822"/>
              <ac:spMk id="4" creationId="{1530F657-3ECE-6DE6-590F-1D589B472151}"/>
            </ac:spMkLst>
          </pc:spChg>
          <pc:spChg chg="mod modVis">
            <ac:chgData name="Matteo Scattolin" userId="4c2db86b-a0c1-4427-81a8-6e7641dfa26a" providerId="ADAL" clId="{D05B32F5-8EBF-4D96-A633-AC7FFE7AC13C}" dt="2025-04-08T06:13:51.621" v="99"/>
            <ac:spMkLst>
              <pc:docMk/>
              <pc:sldMasterMk cId="3851660094" sldId="2147483648"/>
              <pc:sldLayoutMk cId="1001392522" sldId="2147483822"/>
              <ac:spMk id="8" creationId="{F78320A6-840B-6093-E0DE-64C459A6F0E1}"/>
            </ac:spMkLst>
          </pc:spChg>
          <pc:spChg chg="mod">
            <ac:chgData name="Matteo Scattolin" userId="4c2db86b-a0c1-4427-81a8-6e7641dfa26a" providerId="ADAL" clId="{D05B32F5-8EBF-4D96-A633-AC7FFE7AC13C}" dt="2025-04-08T06:13:54.542" v="298" actId="20577"/>
            <ac:spMkLst>
              <pc:docMk/>
              <pc:sldMasterMk cId="3851660094" sldId="2147483648"/>
              <pc:sldLayoutMk cId="1001392522" sldId="2147483822"/>
              <ac:spMk id="10" creationId="{8B770F42-F347-C558-E0F3-F226AABDCE1B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8.xlsb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9.xlsb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10.xlsb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11.xlsb"/><Relationship Id="rId1" Type="http://schemas.openxmlformats.org/officeDocument/2006/relationships/themeOverride" Target="../theme/themeOverride13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.xlsb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4.xlsb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5.xlsb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6.xlsb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7.xlsb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4436183395291197E-2"/>
          <c:y val="6.4436183395291197E-2"/>
          <c:w val="0.87112763320941755"/>
          <c:h val="0.87112763320941755"/>
        </c:manualLayout>
      </c:layout>
      <c:pie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6496659508470543E-2"/>
          <c:y val="0.11700171001352104"/>
          <c:w val="0.86700767263427114"/>
          <c:h val="0.867007672634271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7C7C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B41-394C-8E2C-DFB339FB9DD4}"/>
              </c:ext>
            </c:extLst>
          </c:dPt>
          <c:dPt>
            <c:idx val="1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B41-394C-8E2C-DFB339FB9DD4}"/>
              </c:ext>
            </c:extLst>
          </c:dPt>
          <c:dPt>
            <c:idx val="2"/>
            <c:bubble3D val="0"/>
            <c:spPr>
              <a:solidFill>
                <a:srgbClr val="FF002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7B41-394C-8E2C-DFB339FB9DD4}"/>
              </c:ext>
            </c:extLst>
          </c:dPt>
          <c:dPt>
            <c:idx val="3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7B41-394C-8E2C-DFB339FB9DD4}"/>
              </c:ext>
            </c:extLst>
          </c:dPt>
          <c:val>
            <c:numRef>
              <c:f>Sheet1!$B$1:$B$4</c:f>
              <c:numCache>
                <c:formatCode>0%</c:formatCode>
                <c:ptCount val="4"/>
                <c:pt idx="0">
                  <c:v>0.10639999999999999</c:v>
                </c:pt>
                <c:pt idx="1">
                  <c:v>0.24790000000000001</c:v>
                </c:pt>
                <c:pt idx="2">
                  <c:v>0.21740000000000001</c:v>
                </c:pt>
                <c:pt idx="3">
                  <c:v>0.428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B41-394C-8E2C-DFB339FB9D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6496163682864456E-2"/>
          <c:y val="6.6496163682864456E-2"/>
          <c:w val="0.86700767263427114"/>
          <c:h val="0.867007672634271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A8E-0349-8F30-75FDB45BE3A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A8E-0349-8F30-75FDB45BE3A6}"/>
              </c:ext>
            </c:extLst>
          </c:dPt>
          <c:dPt>
            <c:idx val="2"/>
            <c:bubble3D val="0"/>
            <c:spPr>
              <a:solidFill>
                <a:schemeClr val="accent2">
                  <a:lumMod val="75000"/>
                  <a:lumOff val="2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DA8E-0349-8F30-75FDB45BE3A6}"/>
              </c:ext>
            </c:extLst>
          </c:dPt>
          <c:dPt>
            <c:idx val="3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DA8E-0349-8F30-75FDB45BE3A6}"/>
              </c:ext>
            </c:extLst>
          </c:dPt>
          <c:dPt>
            <c:idx val="4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DA8E-0349-8F30-75FDB45BE3A6}"/>
              </c:ext>
            </c:extLst>
          </c:dPt>
          <c:val>
            <c:numRef>
              <c:f>Sheet1!$A$1:$A$5</c:f>
              <c:numCache>
                <c:formatCode>General</c:formatCode>
                <c:ptCount val="5"/>
                <c:pt idx="0">
                  <c:v>11.899999999999999</c:v>
                </c:pt>
                <c:pt idx="1">
                  <c:v>7.3999999999999995</c:v>
                </c:pt>
                <c:pt idx="2">
                  <c:v>2.2999999999999998</c:v>
                </c:pt>
                <c:pt idx="3">
                  <c:v>2.2999999999999998</c:v>
                </c:pt>
                <c:pt idx="4">
                  <c:v>76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A8E-0349-8F30-75FDB45BE3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6496659508470543E-2"/>
          <c:y val="0.11700171001352104"/>
          <c:w val="0.86700767263427114"/>
          <c:h val="0.867007672634271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7C7C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BDF-C049-AEE5-73AE3D66C119}"/>
              </c:ext>
            </c:extLst>
          </c:dPt>
          <c:dPt>
            <c:idx val="1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BDF-C049-AEE5-73AE3D66C119}"/>
              </c:ext>
            </c:extLst>
          </c:dPt>
          <c:dPt>
            <c:idx val="2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BDF-C049-AEE5-73AE3D66C119}"/>
              </c:ext>
            </c:extLst>
          </c:dPt>
          <c:dPt>
            <c:idx val="3"/>
            <c:bubble3D val="0"/>
            <c:spPr>
              <a:solidFill>
                <a:srgbClr val="FF002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2BDF-C049-AEE5-73AE3D66C119}"/>
              </c:ext>
            </c:extLst>
          </c:dPt>
          <c:val>
            <c:numRef>
              <c:f>Sheet1!$B$1:$B$4</c:f>
              <c:numCache>
                <c:formatCode>0%</c:formatCode>
                <c:ptCount val="4"/>
                <c:pt idx="0">
                  <c:v>0.10639999999999999</c:v>
                </c:pt>
                <c:pt idx="1">
                  <c:v>0.24790000000000001</c:v>
                </c:pt>
                <c:pt idx="2">
                  <c:v>0.21740000000000001</c:v>
                </c:pt>
                <c:pt idx="3">
                  <c:v>0.428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BDF-C049-AEE5-73AE3D66C1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6496163682864456E-2"/>
          <c:y val="6.6496163682864456E-2"/>
          <c:w val="0.86700767263427114"/>
          <c:h val="0.86700767263427114"/>
        </c:manualLayout>
      </c:layout>
      <c:doughnutChart>
        <c:varyColors val="0"/>
        <c:ser>
          <c:idx val="0"/>
          <c:order val="0"/>
          <c:spPr>
            <a:solidFill>
              <a:srgbClr val="D9D9D9"/>
            </a:solidFill>
          </c:spPr>
          <c:dPt>
            <c:idx val="0"/>
            <c:bubble3D val="0"/>
            <c:spPr>
              <a:solidFill>
                <a:srgbClr val="FA00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A8E-0349-8F30-75FDB45BE3A6}"/>
              </c:ext>
            </c:extLst>
          </c:dPt>
          <c:dPt>
            <c:idx val="1"/>
            <c:bubble3D val="0"/>
            <c:spPr>
              <a:solidFill>
                <a:srgbClr val="D9D9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A8E-0349-8F30-75FDB45BE3A6}"/>
              </c:ext>
            </c:extLst>
          </c:dPt>
          <c:dPt>
            <c:idx val="2"/>
            <c:bubble3D val="0"/>
            <c:spPr>
              <a:solidFill>
                <a:srgbClr val="D9D9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DA8E-0349-8F30-75FDB45BE3A6}"/>
              </c:ext>
            </c:extLst>
          </c:dPt>
          <c:dPt>
            <c:idx val="3"/>
            <c:bubble3D val="0"/>
            <c:spPr>
              <a:solidFill>
                <a:srgbClr val="D9D9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DA8E-0349-8F30-75FDB45BE3A6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DA8E-0349-8F30-75FDB45BE3A6}"/>
              </c:ext>
            </c:extLst>
          </c:dPt>
          <c:val>
            <c:numRef>
              <c:f>Sheet1!$A$1:$A$5</c:f>
              <c:numCache>
                <c:formatCode>0.0%</c:formatCode>
                <c:ptCount val="5"/>
                <c:pt idx="0">
                  <c:v>0.15</c:v>
                </c:pt>
                <c:pt idx="1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A8E-0349-8F30-75FDB45BE3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4436183395291197E-2"/>
          <c:y val="6.4436183395291197E-2"/>
          <c:w val="0.87112763320941755"/>
          <c:h val="0.87112763320941755"/>
        </c:manualLayout>
      </c:layout>
      <c:doughnutChart>
        <c:varyColors val="1"/>
        <c:ser>
          <c:idx val="0"/>
          <c:order val="0"/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AB6-194D-A306-950BF338EB8E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DAB6-194D-A306-950BF338EB8E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DAB6-194D-A306-950BF338EB8E}"/>
              </c:ext>
            </c:extLst>
          </c:dPt>
          <c:val>
            <c:numRef>
              <c:f>Sheet1!$A$1:$A$3</c:f>
              <c:numCache>
                <c:formatCode>0%</c:formatCode>
                <c:ptCount val="3"/>
                <c:pt idx="0">
                  <c:v>0.77</c:v>
                </c:pt>
                <c:pt idx="1">
                  <c:v>0.12</c:v>
                </c:pt>
                <c:pt idx="2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AB6-194D-A306-950BF338EB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txPr>
    <a:bodyPr/>
    <a:lstStyle/>
    <a:p>
      <a:pPr>
        <a:defRPr sz="700" b="1"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4436183395291197E-2"/>
          <c:y val="6.4436183395291197E-2"/>
          <c:w val="0.87112763320941755"/>
          <c:h val="0.87112763320941755"/>
        </c:manualLayout>
      </c:layout>
      <c:doughnutChart>
        <c:varyColors val="1"/>
        <c:ser>
          <c:idx val="0"/>
          <c:order val="0"/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8AFA-4741-9891-197EBF8D4AC2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8AFA-4741-9891-197EBF8D4AC2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8AFA-4741-9891-197EBF8D4AC2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8AFA-4741-9891-197EBF8D4AC2}"/>
              </c:ext>
            </c:extLst>
          </c:dPt>
          <c:dLbls>
            <c:delete val="1"/>
          </c:dLbls>
          <c:val>
            <c:numRef>
              <c:f>Sheet1!$A$1:$A$4</c:f>
              <c:numCache>
                <c:formatCode>0%</c:formatCode>
                <c:ptCount val="4"/>
                <c:pt idx="0">
                  <c:v>0.52470000000000006</c:v>
                </c:pt>
                <c:pt idx="1">
                  <c:v>0.2417</c:v>
                </c:pt>
                <c:pt idx="2">
                  <c:v>0.1</c:v>
                </c:pt>
                <c:pt idx="3">
                  <c:v>0.1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AFA-4741-9891-197EBF8D4AC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txPr>
    <a:bodyPr/>
    <a:lstStyle/>
    <a:p>
      <a:pPr>
        <a:defRPr sz="700" b="1"/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4436183395291197E-2"/>
          <c:y val="6.4436183395291197E-2"/>
          <c:w val="0.87112763320941755"/>
          <c:h val="0.87112763320941755"/>
        </c:manualLayout>
      </c:layout>
      <c:doughnutChart>
        <c:varyColors val="1"/>
        <c:ser>
          <c:idx val="0"/>
          <c:order val="0"/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58E1-4B4A-983C-399CA23C8544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58E1-4B4A-983C-399CA23C8544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58E1-4B4A-983C-399CA23C8544}"/>
              </c:ext>
            </c:extLst>
          </c:dPt>
          <c:dLbls>
            <c:delete val="1"/>
          </c:dLbls>
          <c:val>
            <c:numRef>
              <c:f>Sheet1!$A$1:$A$3</c:f>
              <c:numCache>
                <c:formatCode>0%</c:formatCode>
                <c:ptCount val="3"/>
                <c:pt idx="0">
                  <c:v>0.34</c:v>
                </c:pt>
                <c:pt idx="1">
                  <c:v>0.36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8E1-4B4A-983C-399CA23C854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txPr>
    <a:bodyPr/>
    <a:lstStyle/>
    <a:p>
      <a:pPr>
        <a:defRPr sz="700" b="1"/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6496163682864456E-2"/>
          <c:y val="6.6496163682864456E-2"/>
          <c:w val="0.86700767263427114"/>
          <c:h val="0.867007672634271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511-7B45-A729-B89C9E507AE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511-7B45-A729-B89C9E507AEC}"/>
              </c:ext>
            </c:extLst>
          </c:dPt>
          <c:dPt>
            <c:idx val="2"/>
            <c:bubble3D val="0"/>
            <c:spPr>
              <a:solidFill>
                <a:schemeClr val="accent2">
                  <a:lumMod val="75000"/>
                  <a:lumOff val="2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511-7B45-A729-B89C9E507AEC}"/>
              </c:ext>
            </c:extLst>
          </c:dPt>
          <c:dPt>
            <c:idx val="3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0511-7B45-A729-B89C9E507AEC}"/>
              </c:ext>
            </c:extLst>
          </c:dPt>
          <c:dPt>
            <c:idx val="4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0511-7B45-A729-B89C9E507AEC}"/>
              </c:ext>
            </c:extLst>
          </c:dPt>
          <c:val>
            <c:numRef>
              <c:f>Sheet1!$A$1:$A$5</c:f>
              <c:numCache>
                <c:formatCode>General</c:formatCode>
                <c:ptCount val="5"/>
                <c:pt idx="0">
                  <c:v>8.1</c:v>
                </c:pt>
                <c:pt idx="1">
                  <c:v>7.7</c:v>
                </c:pt>
                <c:pt idx="2">
                  <c:v>7.5</c:v>
                </c:pt>
                <c:pt idx="3">
                  <c:v>6.1</c:v>
                </c:pt>
                <c:pt idx="4">
                  <c:v>70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511-7B45-A729-B89C9E507A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6496163682864456E-2"/>
          <c:y val="6.6496163682864456E-2"/>
          <c:w val="0.86700767263427114"/>
          <c:h val="0.867007672634271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FF002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29A-3C4D-AAF5-81687665D257}"/>
              </c:ext>
            </c:extLst>
          </c:dPt>
          <c:dPt>
            <c:idx val="1"/>
            <c:bubble3D val="0"/>
            <c:spPr>
              <a:solidFill>
                <a:sysClr val="windowText" lastClr="0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29A-3C4D-AAF5-81687665D257}"/>
              </c:ext>
            </c:extLst>
          </c:dPt>
          <c:dPt>
            <c:idx val="2"/>
            <c:bubble3D val="0"/>
            <c:spPr>
              <a:solidFill>
                <a:schemeClr val="accent2">
                  <a:lumMod val="75000"/>
                  <a:lumOff val="2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29A-3C4D-AAF5-81687665D257}"/>
              </c:ext>
            </c:extLst>
          </c:dPt>
          <c:dPt>
            <c:idx val="3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29A-3C4D-AAF5-81687665D257}"/>
              </c:ext>
            </c:extLst>
          </c:dPt>
          <c:dPt>
            <c:idx val="4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329A-3C4D-AAF5-81687665D257}"/>
              </c:ext>
            </c:extLst>
          </c:dPt>
          <c:val>
            <c:numRef>
              <c:f>Sheet1!$A$1:$A$5</c:f>
              <c:numCache>
                <c:formatCode>0.0%</c:formatCode>
                <c:ptCount val="5"/>
                <c:pt idx="0">
                  <c:v>6.9</c:v>
                </c:pt>
                <c:pt idx="1">
                  <c:v>6.5</c:v>
                </c:pt>
                <c:pt idx="2">
                  <c:v>3.5000000000000004</c:v>
                </c:pt>
                <c:pt idx="3">
                  <c:v>3.1</c:v>
                </c:pt>
                <c:pt idx="4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29A-3C4D-AAF5-81687665D2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6496163682864456E-2"/>
          <c:y val="6.6496163682864456E-2"/>
          <c:w val="0.86700767263427114"/>
          <c:h val="0.867007672634271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85C-324B-9B4F-58E58DD5435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85C-324B-9B4F-58E58DD54357}"/>
              </c:ext>
            </c:extLst>
          </c:dPt>
          <c:dPt>
            <c:idx val="2"/>
            <c:bubble3D val="0"/>
            <c:spPr>
              <a:solidFill>
                <a:schemeClr val="accent2">
                  <a:lumMod val="75000"/>
                  <a:lumOff val="2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85C-324B-9B4F-58E58DD54357}"/>
              </c:ext>
            </c:extLst>
          </c:dPt>
          <c:dPt>
            <c:idx val="3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85C-324B-9B4F-58E58DD54357}"/>
              </c:ext>
            </c:extLst>
          </c:dPt>
          <c:dPt>
            <c:idx val="4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85C-324B-9B4F-58E58DD54357}"/>
              </c:ext>
            </c:extLst>
          </c:dPt>
          <c:val>
            <c:numRef>
              <c:f>Sheet1!$A$1:$A$5</c:f>
              <c:numCache>
                <c:formatCode>General</c:formatCode>
                <c:ptCount val="5"/>
                <c:pt idx="0">
                  <c:v>15.6</c:v>
                </c:pt>
                <c:pt idx="1">
                  <c:v>12.9</c:v>
                </c:pt>
                <c:pt idx="2">
                  <c:v>8</c:v>
                </c:pt>
                <c:pt idx="3">
                  <c:v>3.2</c:v>
                </c:pt>
                <c:pt idx="4">
                  <c:v>6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85C-324B-9B4F-58E58DD543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6496659508470543E-2"/>
          <c:y val="0.11700171001352104"/>
          <c:w val="0.86700767263427114"/>
          <c:h val="0.867007672634271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F5D-F342-909F-FE531A4586E2}"/>
              </c:ext>
            </c:extLst>
          </c:dPt>
          <c:dPt>
            <c:idx val="1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F5D-F342-909F-FE531A4586E2}"/>
              </c:ext>
            </c:extLst>
          </c:dPt>
          <c:dPt>
            <c:idx val="2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F5D-F342-909F-FE531A4586E2}"/>
              </c:ext>
            </c:extLst>
          </c:dPt>
          <c:dPt>
            <c:idx val="3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F5D-F342-909F-FE531A4586E2}"/>
              </c:ext>
            </c:extLst>
          </c:dPt>
          <c:val>
            <c:numRef>
              <c:f>Sheet1!$B$1:$B$4</c:f>
              <c:numCache>
                <c:formatCode>0%</c:formatCode>
                <c:ptCount val="4"/>
                <c:pt idx="0">
                  <c:v>0.10639999999999999</c:v>
                </c:pt>
                <c:pt idx="1">
                  <c:v>0.24790000000000001</c:v>
                </c:pt>
                <c:pt idx="2">
                  <c:v>0.21740000000000001</c:v>
                </c:pt>
                <c:pt idx="3">
                  <c:v>0.428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F5D-F342-909F-FE531A4586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6496659508470543E-2"/>
          <c:y val="0.11700171001352104"/>
          <c:w val="0.86700767263427114"/>
          <c:h val="0.867007672634271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7C7C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093-824D-BDA3-3ACB4251B6FD}"/>
              </c:ext>
            </c:extLst>
          </c:dPt>
          <c:dPt>
            <c:idx val="1"/>
            <c:bubble3D val="0"/>
            <c:spPr>
              <a:solidFill>
                <a:srgbClr val="FF002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093-824D-BDA3-3ACB4251B6FD}"/>
              </c:ext>
            </c:extLst>
          </c:dPt>
          <c:dPt>
            <c:idx val="2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093-824D-BDA3-3ACB4251B6FD}"/>
              </c:ext>
            </c:extLst>
          </c:dPt>
          <c:dPt>
            <c:idx val="3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5093-824D-BDA3-3ACB4251B6FD}"/>
              </c:ext>
            </c:extLst>
          </c:dPt>
          <c:val>
            <c:numRef>
              <c:f>Sheet1!$B$1:$B$4</c:f>
              <c:numCache>
                <c:formatCode>0%</c:formatCode>
                <c:ptCount val="4"/>
                <c:pt idx="0">
                  <c:v>0.10639999999999999</c:v>
                </c:pt>
                <c:pt idx="1">
                  <c:v>0.24790000000000001</c:v>
                </c:pt>
                <c:pt idx="2">
                  <c:v>0.21740000000000001</c:v>
                </c:pt>
                <c:pt idx="3">
                  <c:v>0.428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093-824D-BDA3-3ACB4251B6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itachi Sans" pitchFamily="2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itachi Sans" pitchFamily="2" charset="0"/>
              </a:defRPr>
            </a:lvl1pPr>
          </a:lstStyle>
          <a:p>
            <a:fld id="{6EB418D2-6CC8-4835-9C14-6C5E91E6DCA9}" type="datetimeFigureOut">
              <a:rPr lang="en-GB" smtClean="0"/>
              <a:pPr/>
              <a:t>08/04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itachi Sans" pitchFamily="2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itachi Sans" pitchFamily="2" charset="0"/>
              </a:defRPr>
            </a:lvl1pPr>
          </a:lstStyle>
          <a:p>
            <a:fld id="{D031864C-0A57-49E1-8FDC-7624A9AEBDB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623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Hitachi Sans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Hitachi Sans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Hitachi Sans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Hitachi Sans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Hitachi Sans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31864C-0A57-49E1-8FDC-7624A9AEBDB8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sz="12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2716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it-IT"/>
              <a:t>Guidare la trasformazione energetica significa per Hitachi Energy supportare la transizione energetica per raggiungere un futuro a zero emissioni di carbonio</a:t>
            </a:r>
          </a:p>
          <a:p>
            <a:pPr rtl="0"/>
            <a:r>
              <a:rPr lang="it-IT"/>
              <a:t>Se dovessimo riassumerlo in una parola, questa sarebbe ELETTRICITÀ</a:t>
            </a:r>
          </a:p>
          <a:p>
            <a:pPr rtl="0"/>
            <a:r>
              <a:rPr lang="it-IT"/>
              <a:t>…poiché l’elettricità sarà la spina dorsale del sistema energetico</a:t>
            </a:r>
          </a:p>
          <a:p>
            <a:pPr rtl="0"/>
            <a:r>
              <a:rPr lang="it-IT"/>
              <a:t>Ma cosa significa veramente?</a:t>
            </a:r>
          </a:p>
          <a:p>
            <a:pPr rtl="0"/>
            <a:r>
              <a:rPr lang="it-IT"/>
              <a:t>…</a:t>
            </a:r>
          </a:p>
          <a:p>
            <a:pPr rtl="0"/>
            <a:r>
              <a:rPr lang="it-IT"/>
              <a:t>In termini di cifre, oggi l'elettricità rappresenta circa il 20% del consumo energetico totale; nel 2050, in uno scenario di emissioni nette pari a zero, tale percentuale supererà il 50%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031864C-0A57-49E1-8FDC-7624A9AEBDB8}" type="slidenum">
              <a:rPr/>
              <a:pPr rtl="0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021992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it-IT" sz="1200" b="1">
                <a:effectLst/>
                <a:latin typeface="Arial"/>
                <a:cs typeface="Arial"/>
              </a:rPr>
              <a:t>Informazioni su Hitachi Energy</a:t>
            </a:r>
          </a:p>
          <a:p>
            <a:endParaRPr lang="en-US" sz="1200" b="1" dirty="0">
              <a:effectLst/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de centrale a Zurigo, Svizzer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~</a:t>
            </a:r>
            <a:r>
              <a:rPr kumimoji="0" lang="it-IT" sz="16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5.000 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pendent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HGPｺﾞｼｯｸE" pitchFamily="50" charset="-128"/>
                <a:cs typeface="Arial" panose="020B0604020202020204" pitchFamily="34" charset="0"/>
              </a:rPr>
              <a:t>Oltre 60 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HGPｺﾞｼｯｸE" pitchFamily="50" charset="-128"/>
                <a:cs typeface="Arial" panose="020B0604020202020204" pitchFamily="34" charset="0"/>
              </a:rPr>
              <a:t>Paes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ltre 1.800 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HGPｺﾞｼｯｸE" pitchFamily="50" charset="-128"/>
                <a:cs typeface="Arial" panose="020B0604020202020204" pitchFamily="34" charset="0"/>
              </a:rPr>
              <a:t>ingegneri di camp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HGPｺﾞｼｯｸE" pitchFamily="50" charset="-128"/>
                <a:cs typeface="Arial" panose="020B0604020202020204" pitchFamily="34" charset="0"/>
              </a:rPr>
              <a:t>150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HGPｺﾞｼｯｸE" pitchFamily="50" charset="-128"/>
                <a:cs typeface="Arial" panose="020B0604020202020204" pitchFamily="34" charset="0"/>
              </a:rPr>
              <a:t> nazionalità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0 </a:t>
            </a:r>
            <a:r>
              <a:rPr kumimoji="0" lang="it-IT" sz="12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ni di patrimonio combinato 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HGPｺﾞｼｯｸE" pitchFamily="50" charset="-128"/>
                <a:cs typeface="Arial" panose="020B0604020202020204" pitchFamily="34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.600 </a:t>
            </a:r>
            <a:r>
              <a:rPr lang="it-IT" sz="18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Hitachi Sans" pitchFamily="50" charset="0"/>
              </a:rPr>
              <a:t>esperti di R&amp;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HGPｺﾞｼｯｸE" pitchFamily="50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2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nque unità aziendal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2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x aziendale (per fatturato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it-IT" sz="12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HGPｺﾞｼｯｸE" pitchFamily="50" charset="-128"/>
                <a:cs typeface="+mn-cs"/>
              </a:rPr>
              <a:t>Client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it-IT" sz="12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HGPｺﾞｼｯｸE" pitchFamily="50" charset="-128"/>
                <a:cs typeface="+mn-cs"/>
              </a:rPr>
              <a:t>Offer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it-IT" sz="12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HGPｺﾞｼｯｸE" pitchFamily="50" charset="-128"/>
                <a:cs typeface="+mn-cs"/>
              </a:rPr>
              <a:t>Geografie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31864C-0A57-49E1-8FDC-7624A9AEBDB8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sz="12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645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4AE5B4-BA5D-491F-41EF-900565E2B8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4D306CF-7059-20A8-E48C-2A3AF3A85E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4E0AA9-70D3-743D-44AE-0336FC0B44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31C308-FFA0-3579-0D1C-53C4ECE506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31864C-0A57-49E1-8FDC-7624A9AEBDB8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sz="12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78367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96CE4A-ACBD-FB2E-ACE5-B8ADAF4FBA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9ABD86-1D1D-2CB7-4D04-68CCE5B03A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98522E-2E98-ED5A-4ECD-547945568C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it-IT" sz="1200" b="1">
                <a:effectLst/>
                <a:latin typeface="Arial"/>
                <a:cs typeface="Arial"/>
              </a:rPr>
              <a:t>Informazioni su Hitachi Energy</a:t>
            </a:r>
          </a:p>
          <a:p>
            <a:endParaRPr lang="en-US" sz="1200" b="1">
              <a:effectLst/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de centrale a Zurigo, Svizzer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~</a:t>
            </a:r>
            <a:r>
              <a:rPr kumimoji="0" lang="it-IT" sz="16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5.000 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pendent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HGPｺﾞｼｯｸE" pitchFamily="50" charset="-128"/>
                <a:cs typeface="Arial" panose="020B0604020202020204" pitchFamily="34" charset="0"/>
              </a:rPr>
              <a:t>Oltre 60 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HGPｺﾞｼｯｸE" pitchFamily="50" charset="-128"/>
                <a:cs typeface="Arial" panose="020B0604020202020204" pitchFamily="34" charset="0"/>
              </a:rPr>
              <a:t>Paes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ltre 1.800 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HGPｺﾞｼｯｸE" pitchFamily="50" charset="-128"/>
                <a:cs typeface="Arial" panose="020B0604020202020204" pitchFamily="34" charset="0"/>
              </a:rPr>
              <a:t>ingegneri di camp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HGPｺﾞｼｯｸE" pitchFamily="50" charset="-128"/>
                <a:cs typeface="Arial" panose="020B0604020202020204" pitchFamily="34" charset="0"/>
              </a:rPr>
              <a:t>150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HGPｺﾞｼｯｸE" pitchFamily="50" charset="-128"/>
                <a:cs typeface="Arial" panose="020B0604020202020204" pitchFamily="34" charset="0"/>
              </a:rPr>
              <a:t> nazionalità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0 </a:t>
            </a:r>
            <a:r>
              <a:rPr kumimoji="0" lang="it-IT" sz="12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ni di patrimonio combinato 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HGPｺﾞｼｯｸE" pitchFamily="50" charset="-128"/>
                <a:cs typeface="Arial" panose="020B0604020202020204" pitchFamily="34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.600 </a:t>
            </a:r>
            <a:r>
              <a:rPr lang="it-IT" sz="1800" b="0" i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Hitachi Sans" pitchFamily="50" charset="0"/>
              </a:rPr>
              <a:t>esperti di R&amp;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HGPｺﾞｼｯｸE" pitchFamily="50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2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nque unità aziendal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2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x aziendale (per fatturato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it-IT" sz="12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HGPｺﾞｼｯｸE" pitchFamily="50" charset="-128"/>
                <a:cs typeface="+mn-cs"/>
              </a:rPr>
              <a:t>Client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it-IT" sz="12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HGPｺﾞｼｯｸE" pitchFamily="50" charset="-128"/>
                <a:cs typeface="+mn-cs"/>
              </a:rPr>
              <a:t>Offer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it-IT" sz="12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HGPｺﾞｼｯｸE" pitchFamily="50" charset="-128"/>
                <a:cs typeface="+mn-cs"/>
              </a:rPr>
              <a:t>Geografie</a:t>
            </a:r>
          </a:p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3BC7F0-3FB5-553E-7399-3219C960BF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31864C-0A57-49E1-8FDC-7624A9AEBDB8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sz="12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71286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5F91CA-C145-1CE8-DB7E-74A6F516EC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C031768-19C4-809E-9B72-D2D18A2672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960D2D-D598-7089-2723-27B9925A09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9EC478-81C6-1092-3945-413820B115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31864C-0A57-49E1-8FDC-7624A9AEBDB8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sz="12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2392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031864C-0A57-49E1-8FDC-7624A9AEBDB8}" type="slidenum">
              <a:rPr/>
              <a:pPr rtl="0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33612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80134D-92AF-DB1F-1A67-E45CA9F962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3536AC-6836-1AFC-45B1-00DA7FC7C5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5B9A92-6AC4-F231-2B19-9666F01293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04F425-7FD0-C8E7-DE9D-448F9AFDFD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31864C-0A57-49E1-8FDC-7624A9AEBDB8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sz="1200" b="0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00014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13" Type="http://schemas.openxmlformats.org/officeDocument/2006/relationships/image" Target="../media/image10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9.sv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27.svg"/><Relationship Id="rId9" Type="http://schemas.openxmlformats.org/officeDocument/2006/relationships/image" Target="../media/image32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13" Type="http://schemas.openxmlformats.org/officeDocument/2006/relationships/image" Target="../media/image10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9.sv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27.svg"/><Relationship Id="rId9" Type="http://schemas.openxmlformats.org/officeDocument/2006/relationships/image" Target="../media/image3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mall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F063A1-8C8A-7FBB-CF2B-92F1187A4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138" y="5391735"/>
            <a:ext cx="3629661" cy="830997"/>
          </a:xfrm>
        </p:spPr>
        <p:txBody>
          <a:bodyPr anchor="b" anchorCtr="0">
            <a:spAutoFit/>
          </a:bodyPr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>
                <a:effectLst/>
                <a:latin typeface="Hitachi Sans" pitchFamily="2" charset="77"/>
              </a:rPr>
              <a:t>Presentation headline title placeholder should be two to </a:t>
            </a:r>
            <a:br>
              <a:rPr lang="en-GB">
                <a:effectLst/>
                <a:latin typeface="Hitachi Sans" pitchFamily="2" charset="77"/>
              </a:rPr>
            </a:br>
            <a:r>
              <a:rPr lang="en-GB">
                <a:effectLst/>
                <a:latin typeface="Hitachi Sans" pitchFamily="2" charset="77"/>
              </a:rPr>
              <a:t>three lines where possib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B67D6BA-0D97-2FB2-2A3C-DBD02F81E3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122" y="-1"/>
            <a:ext cx="12137601" cy="2691380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1748F4E-4BDF-C0D4-341C-3978098D480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138" y="5083130"/>
            <a:ext cx="3629660" cy="19043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Subtitle here if needed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4FD5E04-723F-6DA5-005D-B07544BFE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73550" y="5530876"/>
            <a:ext cx="3646450" cy="691856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BC4EB99E-EE45-3651-6E96-1376D5D4F6A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trictly" hidden="1">
            <a:extLst>
              <a:ext uri="{FF2B5EF4-FFF2-40B4-BE49-F238E27FC236}">
                <a16:creationId xmlns:a16="http://schemas.microsoft.com/office/drawing/2014/main" id="{141544D7-7778-2A24-0D48-C001BEBC166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Internal" hidden="1">
            <a:extLst>
              <a:ext uri="{FF2B5EF4-FFF2-40B4-BE49-F238E27FC236}">
                <a16:creationId xmlns:a16="http://schemas.microsoft.com/office/drawing/2014/main" id="{1C3E7F06-74E1-E1BF-396C-4A0FA079D03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Public">
            <a:extLst>
              <a:ext uri="{FF2B5EF4-FFF2-40B4-BE49-F238E27FC236}">
                <a16:creationId xmlns:a16="http://schemas.microsoft.com/office/drawing/2014/main" id="{02BC1285-1FE9-903D-39A5-6B749AF0528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" name="Confidential" hidden="1">
            <a:extLst>
              <a:ext uri="{FF2B5EF4-FFF2-40B4-BE49-F238E27FC236}">
                <a16:creationId xmlns:a16="http://schemas.microsoft.com/office/drawing/2014/main" id="{964DFE5F-A5FC-52DD-4738-B265FCACD0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03172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D01D18-73E6-8329-C0B6-96EC2EAD46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074" y="1595855"/>
            <a:ext cx="8391526" cy="476092"/>
          </a:xfrm>
        </p:spPr>
        <p:txBody>
          <a:bodyPr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None/>
              <a:defRPr sz="3000">
                <a:solidFill>
                  <a:schemeClr val="bg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2400"/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2400"/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2400"/>
            </a:lvl4pPr>
            <a:lvl5pPr marL="0" indent="0" algn="l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/>
            </a:lvl5pPr>
          </a:lstStyle>
          <a:p>
            <a:pPr lvl="0"/>
            <a:r>
              <a:rPr lang="en-GB"/>
              <a:t>Introduction text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19D55E-7884-FC04-5115-65B766C038A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53E6E2A-F31D-893C-579D-8DF22C2A85F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EFBC1099-1346-C6F0-FEDF-A28B02F71E8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02CDD0B3-EC86-8004-7EB3-CCE5B937731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Internal" hidden="1">
            <a:extLst>
              <a:ext uri="{FF2B5EF4-FFF2-40B4-BE49-F238E27FC236}">
                <a16:creationId xmlns:a16="http://schemas.microsoft.com/office/drawing/2014/main" id="{0744BDFF-71D0-BB11-A77E-4C708862AFA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Public">
            <a:extLst>
              <a:ext uri="{FF2B5EF4-FFF2-40B4-BE49-F238E27FC236}">
                <a16:creationId xmlns:a16="http://schemas.microsoft.com/office/drawing/2014/main" id="{AC7767A1-CEE7-AA3D-1687-6CBD8A2AC50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4" name="Confidential" hidden="1">
            <a:extLst>
              <a:ext uri="{FF2B5EF4-FFF2-40B4-BE49-F238E27FC236}">
                <a16:creationId xmlns:a16="http://schemas.microsoft.com/office/drawing/2014/main" id="{4E8E0E7D-DB43-F447-8852-1D4D8DA6A97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26543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D01D18-73E6-8329-C0B6-96EC2EAD46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3429000"/>
            <a:ext cx="6654370" cy="380873"/>
          </a:xfrm>
        </p:spPr>
        <p:txBody>
          <a:bodyPr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None/>
              <a:defRPr sz="2400"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2400"/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2400"/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2400"/>
            </a:lvl4pPr>
            <a:lvl5pPr marL="0" indent="0" algn="l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/>
            </a:lvl5pPr>
          </a:lstStyle>
          <a:p>
            <a:pPr lvl="0"/>
            <a:r>
              <a:rPr lang="en-GB"/>
              <a:t>Introduction text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F05E062-2325-4F56-1A65-5A580A67A5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3075" y="698500"/>
            <a:ext cx="6654370" cy="380873"/>
          </a:xfrm>
        </p:spPr>
        <p:txBody>
          <a:bodyPr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None/>
              <a:defRPr sz="240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2400"/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2400"/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2400"/>
            </a:lvl4pPr>
            <a:lvl5pPr marL="0" indent="0" algn="l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/>
            </a:lvl5pPr>
          </a:lstStyle>
          <a:p>
            <a:pPr lvl="0"/>
            <a:r>
              <a:rPr lang="en-GB"/>
              <a:t>Introduction title goes he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99D66D8-8E9F-0544-ABAB-C5A8264731E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D745D30-3546-B222-916D-A6954C0BB9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10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5021C327-6953-B56E-123A-E07475D552A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Strictly" hidden="1">
            <a:extLst>
              <a:ext uri="{FF2B5EF4-FFF2-40B4-BE49-F238E27FC236}">
                <a16:creationId xmlns:a16="http://schemas.microsoft.com/office/drawing/2014/main" id="{4D0F1323-E0DD-BC42-7957-D3ACD88FFE6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Internal" hidden="1">
            <a:extLst>
              <a:ext uri="{FF2B5EF4-FFF2-40B4-BE49-F238E27FC236}">
                <a16:creationId xmlns:a16="http://schemas.microsoft.com/office/drawing/2014/main" id="{5CAA2F52-DC00-45E4-3D6B-7D2223F3782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Public">
            <a:extLst>
              <a:ext uri="{FF2B5EF4-FFF2-40B4-BE49-F238E27FC236}">
                <a16:creationId xmlns:a16="http://schemas.microsoft.com/office/drawing/2014/main" id="{0CB5EB19-5409-72CA-FB75-005D26DBA8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9" name="Confidential" hidden="1">
            <a:extLst>
              <a:ext uri="{FF2B5EF4-FFF2-40B4-BE49-F238E27FC236}">
                <a16:creationId xmlns:a16="http://schemas.microsoft.com/office/drawing/2014/main" id="{51E310F6-F329-F010-C4CD-2CBF78997E7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0590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9900" y="698500"/>
            <a:ext cx="6496050" cy="415498"/>
          </a:xfrm>
        </p:spPr>
        <p:txBody>
          <a:bodyPr/>
          <a:lstStyle>
            <a:lvl1pPr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Divider title he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E50D42E-A753-265B-D758-DC1B416B5AE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6D7D6BE-7F8E-D902-09B4-162EE71759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10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8B770F42-F347-C558-E0F3-F226AABDCE1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40ED8B81-394E-AF95-65BE-FACF4C66889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Internal" hidden="1">
            <a:extLst>
              <a:ext uri="{FF2B5EF4-FFF2-40B4-BE49-F238E27FC236}">
                <a16:creationId xmlns:a16="http://schemas.microsoft.com/office/drawing/2014/main" id="{79C66DCC-14D0-610C-FB0E-898E6D8CA14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Public">
            <a:extLst>
              <a:ext uri="{FF2B5EF4-FFF2-40B4-BE49-F238E27FC236}">
                <a16:creationId xmlns:a16="http://schemas.microsoft.com/office/drawing/2014/main" id="{1530F657-3ECE-6DE6-590F-1D589B47215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8" name="Confidential" hidden="1">
            <a:extLst>
              <a:ext uri="{FF2B5EF4-FFF2-40B4-BE49-F238E27FC236}">
                <a16:creationId xmlns:a16="http://schemas.microsoft.com/office/drawing/2014/main" id="{F78320A6-840B-6093-E0DE-64C459A6F0E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6913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9900" y="698500"/>
            <a:ext cx="6496050" cy="415498"/>
          </a:xfrm>
        </p:spPr>
        <p:txBody>
          <a:bodyPr/>
          <a:lstStyle>
            <a:lvl1pPr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Divider title he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E50D42E-A753-265B-D758-DC1B416B5AE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6D7D6BE-7F8E-D902-09B4-162EE71759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10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8B770F42-F347-C558-E0F3-F226AABDCE1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40ED8B81-394E-AF95-65BE-FACF4C66889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Internal" hidden="1">
            <a:extLst>
              <a:ext uri="{FF2B5EF4-FFF2-40B4-BE49-F238E27FC236}">
                <a16:creationId xmlns:a16="http://schemas.microsoft.com/office/drawing/2014/main" id="{79C66DCC-14D0-610C-FB0E-898E6D8CA14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Public">
            <a:extLst>
              <a:ext uri="{FF2B5EF4-FFF2-40B4-BE49-F238E27FC236}">
                <a16:creationId xmlns:a16="http://schemas.microsoft.com/office/drawing/2014/main" id="{1530F657-3ECE-6DE6-590F-1D589B47215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8" name="Confidential" hidden="1">
            <a:extLst>
              <a:ext uri="{FF2B5EF4-FFF2-40B4-BE49-F238E27FC236}">
                <a16:creationId xmlns:a16="http://schemas.microsoft.com/office/drawing/2014/main" id="{F78320A6-840B-6093-E0DE-64C459A6F0E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1392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9900" y="1002021"/>
            <a:ext cx="6496050" cy="415498"/>
          </a:xfr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Divider title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41521A-FD2E-EF86-582E-CDA0462AF43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68445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hapter X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E679E0F-D67E-9D17-B2E5-7D416B6D5C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1D95F949-4ABF-6BBF-B87F-B5A5CF79DE4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55301E4A-1781-A2D0-E21C-976D57F9FF9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Internal" hidden="1">
            <a:extLst>
              <a:ext uri="{FF2B5EF4-FFF2-40B4-BE49-F238E27FC236}">
                <a16:creationId xmlns:a16="http://schemas.microsoft.com/office/drawing/2014/main" id="{6BDBBFF1-30C3-7810-05CA-872B827BD4E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Public">
            <a:extLst>
              <a:ext uri="{FF2B5EF4-FFF2-40B4-BE49-F238E27FC236}">
                <a16:creationId xmlns:a16="http://schemas.microsoft.com/office/drawing/2014/main" id="{E3A89CE7-BC84-2E3E-2537-956757FB97A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4" name="Confidential" hidden="1">
            <a:extLst>
              <a:ext uri="{FF2B5EF4-FFF2-40B4-BE49-F238E27FC236}">
                <a16:creationId xmlns:a16="http://schemas.microsoft.com/office/drawing/2014/main" id="{CC2353C8-EBEB-4963-7419-4D782864963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85909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Divider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11">
            <a:extLst>
              <a:ext uri="{FF2B5EF4-FFF2-40B4-BE49-F238E27FC236}">
                <a16:creationId xmlns:a16="http://schemas.microsoft.com/office/drawing/2014/main" id="{F30A33DD-C7D8-56BD-404F-663943A2E1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965" y="698500"/>
            <a:ext cx="11239609" cy="5461000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8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Large title try 50pt, 80pt or 95pt text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91F39B6-AD79-C81B-C0E1-9E101AADBB8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6B0EF72-3B7B-431D-E740-8508AB6E24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81217" y="541200"/>
            <a:ext cx="1026000" cy="227505"/>
          </a:xfrm>
          <a:prstGeom prst="rect">
            <a:avLst/>
          </a:prstGeom>
        </p:spPr>
      </p:pic>
      <p:sp>
        <p:nvSpPr>
          <p:cNvPr id="14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14C565CD-2AC4-3F64-6A77-F0494658AD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017000" y="64884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B8ED0E97-0C1E-BED7-8697-49C34612DCE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Internal" hidden="1">
            <a:extLst>
              <a:ext uri="{FF2B5EF4-FFF2-40B4-BE49-F238E27FC236}">
                <a16:creationId xmlns:a16="http://schemas.microsoft.com/office/drawing/2014/main" id="{65810D46-1E50-3663-8230-8FC35C7551E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Public">
            <a:extLst>
              <a:ext uri="{FF2B5EF4-FFF2-40B4-BE49-F238E27FC236}">
                <a16:creationId xmlns:a16="http://schemas.microsoft.com/office/drawing/2014/main" id="{7FC114AF-AC7A-D497-1495-A574F6079C9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9" name="Confidential" hidden="1">
            <a:extLst>
              <a:ext uri="{FF2B5EF4-FFF2-40B4-BE49-F238E27FC236}">
                <a16:creationId xmlns:a16="http://schemas.microsoft.com/office/drawing/2014/main" id="{797BF80F-0439-32A6-6A3D-91DA091F796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5401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Divider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11">
            <a:extLst>
              <a:ext uri="{FF2B5EF4-FFF2-40B4-BE49-F238E27FC236}">
                <a16:creationId xmlns:a16="http://schemas.microsoft.com/office/drawing/2014/main" id="{F30A33DD-C7D8-56BD-404F-663943A2E1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965" y="698500"/>
            <a:ext cx="11239609" cy="5461000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8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Large title try 50pt, 80pt or 95pt text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91F39B6-AD79-C81B-C0E1-9E101AADBB8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6B0EF72-3B7B-431D-E740-8508AB6E24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81217" y="541200"/>
            <a:ext cx="1026000" cy="227505"/>
          </a:xfrm>
          <a:prstGeom prst="rect">
            <a:avLst/>
          </a:prstGeom>
        </p:spPr>
      </p:pic>
      <p:sp>
        <p:nvSpPr>
          <p:cNvPr id="14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14C565CD-2AC4-3F64-6A77-F0494658AD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017000" y="64884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B8ED0E97-0C1E-BED7-8697-49C34612DCE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Internal" hidden="1">
            <a:extLst>
              <a:ext uri="{FF2B5EF4-FFF2-40B4-BE49-F238E27FC236}">
                <a16:creationId xmlns:a16="http://schemas.microsoft.com/office/drawing/2014/main" id="{65810D46-1E50-3663-8230-8FC35C7551E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Public">
            <a:extLst>
              <a:ext uri="{FF2B5EF4-FFF2-40B4-BE49-F238E27FC236}">
                <a16:creationId xmlns:a16="http://schemas.microsoft.com/office/drawing/2014/main" id="{7FC114AF-AC7A-D497-1495-A574F6079C9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9" name="Confidential" hidden="1">
            <a:extLst>
              <a:ext uri="{FF2B5EF4-FFF2-40B4-BE49-F238E27FC236}">
                <a16:creationId xmlns:a16="http://schemas.microsoft.com/office/drawing/2014/main" id="{797BF80F-0439-32A6-6A3D-91DA091F796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831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Divider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11">
            <a:extLst>
              <a:ext uri="{FF2B5EF4-FFF2-40B4-BE49-F238E27FC236}">
                <a16:creationId xmlns:a16="http://schemas.microsoft.com/office/drawing/2014/main" id="{F30A33DD-C7D8-56BD-404F-663943A2E1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965" y="698500"/>
            <a:ext cx="11239609" cy="5461000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50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Large title try 50pt, 80pt </a:t>
            </a:r>
            <a:br>
              <a:rPr lang="en-GB"/>
            </a:br>
            <a:r>
              <a:rPr lang="en-GB"/>
              <a:t>or 95pt text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91F39B6-AD79-C81B-C0E1-9E101AADBB8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2EA5B1A-A1DF-A144-6D40-2A6711DB648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9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D70CED15-C829-8117-9B3A-D0FAD083449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5D2BE8BF-7ACE-45FD-59E6-4A4E5C5C157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Internal" hidden="1">
            <a:extLst>
              <a:ext uri="{FF2B5EF4-FFF2-40B4-BE49-F238E27FC236}">
                <a16:creationId xmlns:a16="http://schemas.microsoft.com/office/drawing/2014/main" id="{43559C14-6094-4288-E4AD-BE48593CD06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Public">
            <a:extLst>
              <a:ext uri="{FF2B5EF4-FFF2-40B4-BE49-F238E27FC236}">
                <a16:creationId xmlns:a16="http://schemas.microsoft.com/office/drawing/2014/main" id="{1BCDCBC6-8BD7-F4FD-B13A-42552007F7B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4" name="Confidential" hidden="1">
            <a:extLst>
              <a:ext uri="{FF2B5EF4-FFF2-40B4-BE49-F238E27FC236}">
                <a16:creationId xmlns:a16="http://schemas.microsoft.com/office/drawing/2014/main" id="{87AB21C5-CD6F-A251-ADDF-61685A4410C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2833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B80DDEF-B260-8D66-03B8-6EA59987C6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899" y="698500"/>
            <a:ext cx="9502776" cy="491966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400"/>
              </a:spcAft>
              <a:buNone/>
              <a:defRPr sz="7200" i="1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GB"/>
              <a:t>Quote text here then indent to toggle to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23BFE85-C68D-F07E-D425-2C1301EF29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8DDE8B8-5E17-FC6A-5B5B-9D97F8E349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7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141E8473-E467-51F8-0F65-9AD6BCFC787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43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B80DDEF-B260-8D66-03B8-6EA59987C6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899" y="912600"/>
            <a:ext cx="5546726" cy="2516400"/>
          </a:xfrm>
          <a:solidFill>
            <a:srgbClr val="FFFFFF">
              <a:alpha val="60000"/>
            </a:srgbClr>
          </a:solidFill>
        </p:spPr>
        <p:txBody>
          <a:bodyPr lIns="216000" tIns="216000" rIns="216000" bIns="216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400"/>
              </a:spcAft>
              <a:buFont typeface="Arial" panose="020B0604020202020204" pitchFamily="34" charset="0"/>
              <a:buNone/>
              <a:defRPr sz="2600" i="1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00" b="1">
                <a:solidFill>
                  <a:schemeClr val="tx1"/>
                </a:solidFill>
                <a:latin typeface="+mn-lt"/>
              </a:defRPr>
            </a:lvl2pPr>
            <a:lvl3pPr marL="0" indent="0">
              <a:buFont typeface="Arial" panose="020B0604020202020204" pitchFamily="34" charset="0"/>
              <a:buChar char="​"/>
              <a:defRPr sz="1300"/>
            </a:lvl3pPr>
            <a:lvl4pPr marL="0" indent="0">
              <a:lnSpc>
                <a:spcPct val="90000"/>
              </a:lnSpc>
              <a:spcAft>
                <a:spcPts val="1400"/>
              </a:spcAft>
              <a:buFont typeface="Arial" panose="020B0604020202020204" pitchFamily="34" charset="0"/>
              <a:buChar char="​"/>
              <a:defRPr sz="2600"/>
            </a:lvl4pPr>
            <a:lvl5pPr marL="0" indent="0">
              <a:buFont typeface="Arial" panose="020B0604020202020204" pitchFamily="34" charset="0"/>
              <a:buChar char="​"/>
              <a:defRPr sz="1300" b="1"/>
            </a:lvl5pPr>
            <a:lvl6pPr marL="0" indent="0">
              <a:buFont typeface="Arial" panose="020B0604020202020204" pitchFamily="34" charset="0"/>
              <a:buChar char="​"/>
              <a:defRPr/>
            </a:lvl6pPr>
            <a:lvl7pPr marL="0" indent="0">
              <a:lnSpc>
                <a:spcPct val="90000"/>
              </a:lnSpc>
              <a:spcAft>
                <a:spcPts val="1400"/>
              </a:spcAft>
              <a:buFont typeface="Arial" panose="020B0604020202020204" pitchFamily="34" charset="0"/>
              <a:buChar char="​"/>
              <a:defRPr sz="2600"/>
            </a:lvl7pPr>
            <a:lvl8pPr marL="0" indent="0">
              <a:buFont typeface="Arial" panose="020B0604020202020204" pitchFamily="34" charset="0"/>
              <a:buChar char="​"/>
              <a:defRPr b="1"/>
            </a:lvl8pPr>
            <a:lvl9pPr marL="0" indent="0">
              <a:buFont typeface="Arial" panose="020B0604020202020204" pitchFamily="34" charset="0"/>
              <a:buChar char="​"/>
              <a:defRPr sz="1300"/>
            </a:lvl9pPr>
          </a:lstStyle>
          <a:p>
            <a:pPr lvl="0"/>
            <a:r>
              <a:rPr lang="en-US"/>
              <a:t>Quote text here then indent to toggle to next text style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23BFE85-C68D-F07E-D425-2C1301EF29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8DDE8B8-5E17-FC6A-5B5B-9D97F8E349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7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141E8473-E467-51F8-0F65-9AD6BCFC787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82230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mall Title +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5B67D6BA-0D97-2FB2-2A3C-DBD02F81E3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122" y="-1"/>
            <a:ext cx="12137601" cy="2691380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165CFE7F-8E28-2E7F-7A62-BBBDB1A72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138" y="4249200"/>
            <a:ext cx="3629661" cy="923330"/>
          </a:xfrm>
        </p:spPr>
        <p:txBody>
          <a:bodyPr anchor="b" anchorCtr="0">
            <a:spAutoFit/>
          </a:bodyPr>
          <a:lstStyle>
            <a:lvl1pPr>
              <a:lnSpc>
                <a:spcPct val="100000"/>
              </a:lnSpc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>
                <a:effectLst/>
                <a:latin typeface="Hitachi Sans" pitchFamily="2" charset="77"/>
              </a:rPr>
              <a:t>Presentation headline title placeholder should be two to </a:t>
            </a:r>
            <a:br>
              <a:rPr lang="en-GB">
                <a:effectLst/>
                <a:latin typeface="Hitachi Sans" pitchFamily="2" charset="77"/>
              </a:rPr>
            </a:br>
            <a:r>
              <a:rPr lang="en-GB">
                <a:effectLst/>
                <a:latin typeface="Hitachi Sans" pitchFamily="2" charset="77"/>
              </a:rPr>
              <a:t>three lines where possib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E5A20B84-3C34-81DE-75BF-14FB3568E1E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138" y="4032928"/>
            <a:ext cx="3629660" cy="184666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Subtitle here if needed</a:t>
            </a: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31211BB7-13D3-EE39-F260-1C1AC122E1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902" y="5530876"/>
            <a:ext cx="3644898" cy="691856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7FFE9DDB-A0DC-8070-86DC-657ABD61DC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73551" y="5529600"/>
            <a:ext cx="3644898" cy="691856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36092E35-E4D4-313D-E833-436D8F350C6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trictly" hidden="1">
            <a:extLst>
              <a:ext uri="{FF2B5EF4-FFF2-40B4-BE49-F238E27FC236}">
                <a16:creationId xmlns:a16="http://schemas.microsoft.com/office/drawing/2014/main" id="{E7574B01-63B5-161F-1222-587E17BE56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Internal" hidden="1">
            <a:extLst>
              <a:ext uri="{FF2B5EF4-FFF2-40B4-BE49-F238E27FC236}">
                <a16:creationId xmlns:a16="http://schemas.microsoft.com/office/drawing/2014/main" id="{4C16E119-BB10-2D51-6B2A-0AF6B99FB00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Public">
            <a:extLst>
              <a:ext uri="{FF2B5EF4-FFF2-40B4-BE49-F238E27FC236}">
                <a16:creationId xmlns:a16="http://schemas.microsoft.com/office/drawing/2014/main" id="{E2D310CB-2F80-4696-608D-6FE4311B351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4" name="Confidential" hidden="1">
            <a:extLst>
              <a:ext uri="{FF2B5EF4-FFF2-40B4-BE49-F238E27FC236}">
                <a16:creationId xmlns:a16="http://schemas.microsoft.com/office/drawing/2014/main" id="{944A2781-06CE-66E6-4C5F-A901BB69956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77332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1F6C11-9B28-C994-BD65-00518D702D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698500"/>
            <a:ext cx="9499600" cy="491966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400"/>
              </a:spcAft>
              <a:buNone/>
              <a:defRPr sz="7200" i="1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1800">
                <a:latin typeface="+mn-lt"/>
              </a:defRPr>
            </a:lvl2pPr>
          </a:lstStyle>
          <a:p>
            <a:pPr lvl="0"/>
            <a:r>
              <a:rPr lang="en-GB"/>
              <a:t>Quote text here then indent to toggle to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0A2B5B4-E505-DF80-A7DA-418035F79C6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F569507-5740-B8DD-FDDE-7F3379A341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9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5CA013D9-38B1-A978-F381-D55E48BEBB6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4BB4B4DF-5D14-C727-902D-004141B8740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Internal" hidden="1">
            <a:extLst>
              <a:ext uri="{FF2B5EF4-FFF2-40B4-BE49-F238E27FC236}">
                <a16:creationId xmlns:a16="http://schemas.microsoft.com/office/drawing/2014/main" id="{7CC5180E-3070-EEE1-3F38-AF05231EAA6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Public">
            <a:extLst>
              <a:ext uri="{FF2B5EF4-FFF2-40B4-BE49-F238E27FC236}">
                <a16:creationId xmlns:a16="http://schemas.microsoft.com/office/drawing/2014/main" id="{015736AF-BBDA-7735-F4F7-E7EFF0DB59E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4" name="Confidential" hidden="1">
            <a:extLst>
              <a:ext uri="{FF2B5EF4-FFF2-40B4-BE49-F238E27FC236}">
                <a16:creationId xmlns:a16="http://schemas.microsoft.com/office/drawing/2014/main" id="{A3E86119-2277-0311-7B4A-D86B0F38C33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289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Statemen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3074" y="698500"/>
            <a:ext cx="11239501" cy="5461000"/>
          </a:xfrm>
        </p:spPr>
        <p:txBody>
          <a:bodyPr anchor="ctr">
            <a:noAutofit/>
          </a:bodyPr>
          <a:lstStyle>
            <a:lvl1pPr algn="ctr">
              <a:lnSpc>
                <a:spcPct val="95000"/>
              </a:lnSpc>
              <a:defRPr sz="4800">
                <a:latin typeface="+mn-lt"/>
              </a:defRPr>
            </a:lvl1pPr>
          </a:lstStyle>
          <a:p>
            <a:r>
              <a:rPr lang="en-GB"/>
              <a:t>Long statement or quote text her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0CEF0D5-8344-84F5-C65E-236785A3AF7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44BBB96-8E47-7742-A9FB-BD7EB02F0D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3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59E079C5-F2BD-B306-597B-10FB5E181E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Strictly" hidden="1">
            <a:extLst>
              <a:ext uri="{FF2B5EF4-FFF2-40B4-BE49-F238E27FC236}">
                <a16:creationId xmlns:a16="http://schemas.microsoft.com/office/drawing/2014/main" id="{1ED7000D-6B30-F63C-05A0-8695F6C8771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Internal" hidden="1">
            <a:extLst>
              <a:ext uri="{FF2B5EF4-FFF2-40B4-BE49-F238E27FC236}">
                <a16:creationId xmlns:a16="http://schemas.microsoft.com/office/drawing/2014/main" id="{5CB80A59-9393-D6E6-4E64-1C46F600EA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Public">
            <a:extLst>
              <a:ext uri="{FF2B5EF4-FFF2-40B4-BE49-F238E27FC236}">
                <a16:creationId xmlns:a16="http://schemas.microsoft.com/office/drawing/2014/main" id="{6410AE7D-B920-96CC-25A6-F9A1A214908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4" name="Confidential" hidden="1">
            <a:extLst>
              <a:ext uri="{FF2B5EF4-FFF2-40B4-BE49-F238E27FC236}">
                <a16:creationId xmlns:a16="http://schemas.microsoft.com/office/drawing/2014/main" id="{9FB17589-05F1-82E2-7469-73B0F016C29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1950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3B37EA97-C44B-705D-AC93-A5812420624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9027655-3A07-CFA2-21CD-6AEB3A2BDED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24225" y="698501"/>
            <a:ext cx="8394700" cy="5461000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Click icon to add image or other content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E55866B3-91AA-6790-6A87-68E1AF653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6250" y="2060575"/>
            <a:ext cx="2689225" cy="40989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C624B94-0C42-71AF-2010-2F1985232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698500"/>
            <a:ext cx="2695576" cy="609398"/>
          </a:xfrm>
        </p:spPr>
        <p:txBody>
          <a:bodyPr>
            <a:sp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0664DCE-B10E-F208-50EC-0CE402E9DD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11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DB178BDF-2CFE-A8FA-2A41-430DDFD331C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trictly" hidden="1">
            <a:extLst>
              <a:ext uri="{FF2B5EF4-FFF2-40B4-BE49-F238E27FC236}">
                <a16:creationId xmlns:a16="http://schemas.microsoft.com/office/drawing/2014/main" id="{28A8041F-50E9-5CF0-CD06-9D5725FE69A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Internal" hidden="1">
            <a:extLst>
              <a:ext uri="{FF2B5EF4-FFF2-40B4-BE49-F238E27FC236}">
                <a16:creationId xmlns:a16="http://schemas.microsoft.com/office/drawing/2014/main" id="{57B90FD5-D77C-DF84-EDD5-672324F3E1B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Public">
            <a:extLst>
              <a:ext uri="{FF2B5EF4-FFF2-40B4-BE49-F238E27FC236}">
                <a16:creationId xmlns:a16="http://schemas.microsoft.com/office/drawing/2014/main" id="{999ABA49-C9CA-5954-F570-8E453DC9E0E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6" name="Confidential" hidden="1">
            <a:extLst>
              <a:ext uri="{FF2B5EF4-FFF2-40B4-BE49-F238E27FC236}">
                <a16:creationId xmlns:a16="http://schemas.microsoft.com/office/drawing/2014/main" id="{414B1F28-6674-6413-995B-657550DA7E0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4016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ntent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2000" y="6336000"/>
            <a:ext cx="6943275" cy="143999"/>
          </a:xfrm>
        </p:spPr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698499"/>
            <a:ext cx="5543550" cy="30469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D0DCCF-DAB2-EDDB-077B-D313F908D8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3075" y="1606549"/>
            <a:ext cx="4591050" cy="4552952"/>
          </a:xfrm>
        </p:spPr>
        <p:txBody>
          <a:bodyPr/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3B37EA97-C44B-705D-AC93-A5812420624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9027655-3A07-CFA2-21CD-6AEB3A2BDED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75375" y="698501"/>
            <a:ext cx="5543550" cy="5461000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Click icon to add image or other content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DBDA39A-440D-0DAA-BFB4-FB05F9EE4F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92F59D06-B1EF-FD34-68F8-EB11921852A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trictly" hidden="1">
            <a:extLst>
              <a:ext uri="{FF2B5EF4-FFF2-40B4-BE49-F238E27FC236}">
                <a16:creationId xmlns:a16="http://schemas.microsoft.com/office/drawing/2014/main" id="{59BB2D85-8FBC-6820-7F75-6A6FA5FF2D0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Internal" hidden="1">
            <a:extLst>
              <a:ext uri="{FF2B5EF4-FFF2-40B4-BE49-F238E27FC236}">
                <a16:creationId xmlns:a16="http://schemas.microsoft.com/office/drawing/2014/main" id="{FE029685-8547-C6E8-4257-4FB2767AB38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Public">
            <a:extLst>
              <a:ext uri="{FF2B5EF4-FFF2-40B4-BE49-F238E27FC236}">
                <a16:creationId xmlns:a16="http://schemas.microsoft.com/office/drawing/2014/main" id="{79F1D54F-26EA-026F-99F5-D6896CDBE69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6" name="Confidential" hidden="1">
            <a:extLst>
              <a:ext uri="{FF2B5EF4-FFF2-40B4-BE49-F238E27FC236}">
                <a16:creationId xmlns:a16="http://schemas.microsoft.com/office/drawing/2014/main" id="{315CA59A-95D5-22F3-7AF1-0DA8053A720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6431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ontent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4700" y="712544"/>
            <a:ext cx="4587875" cy="30469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FCE40D5-CB80-BEC5-180D-23C09E34FF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24700" y="2060575"/>
            <a:ext cx="4587875" cy="409892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DFEC8196-5F29-14D1-29B0-C0063F22232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Running header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D06CCBF6-975C-08EF-FC7E-ECB5601C755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9865" y="697118"/>
            <a:ext cx="5543550" cy="5462382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/>
              <a:t>Click icon to add image or other content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8840369-2931-04E3-7903-9F7015DE3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10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64707ED2-9169-89A8-396B-E60CDCB3A2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trictly" hidden="1">
            <a:extLst>
              <a:ext uri="{FF2B5EF4-FFF2-40B4-BE49-F238E27FC236}">
                <a16:creationId xmlns:a16="http://schemas.microsoft.com/office/drawing/2014/main" id="{D0797FBB-17CC-DD97-7DA6-CFC5EB9A2D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Internal" hidden="1">
            <a:extLst>
              <a:ext uri="{FF2B5EF4-FFF2-40B4-BE49-F238E27FC236}">
                <a16:creationId xmlns:a16="http://schemas.microsoft.com/office/drawing/2014/main" id="{84BFB134-EB8D-F619-0124-912EE69D54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Public">
            <a:extLst>
              <a:ext uri="{FF2B5EF4-FFF2-40B4-BE49-F238E27FC236}">
                <a16:creationId xmlns:a16="http://schemas.microsoft.com/office/drawing/2014/main" id="{13ECA667-89C4-C9CD-42EF-2187101102B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6" name="Confidential" hidden="1">
            <a:extLst>
              <a:ext uri="{FF2B5EF4-FFF2-40B4-BE49-F238E27FC236}">
                <a16:creationId xmlns:a16="http://schemas.microsoft.com/office/drawing/2014/main" id="{3ADBCB66-997F-9D8D-7385-C4864D794BE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1666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+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906DDFF-EAE0-875C-3C80-82C126BBF9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1396901"/>
            <a:ext cx="3646506" cy="855369"/>
          </a:xfrm>
          <a:prstGeom prst="rect">
            <a:avLst/>
          </a:prstGeom>
          <a:solidFill>
            <a:schemeClr val="accent6"/>
          </a:solidFill>
        </p:spPr>
        <p:txBody>
          <a:bodyPr lIns="72000" tIns="36000" rIns="72000" bIns="72000"/>
          <a:lstStyle>
            <a:lvl1pPr marL="0" indent="0">
              <a:lnSpc>
                <a:spcPct val="100000"/>
              </a:lnSpc>
              <a:buNone/>
              <a:defRPr sz="3000"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 sz="1200">
                <a:latin typeface="+mn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Large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F023594D-C9B5-AB8F-3E0B-7D0A80E652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9900" y="2333526"/>
            <a:ext cx="1787283" cy="1210258"/>
          </a:xfrm>
          <a:prstGeom prst="rect">
            <a:avLst/>
          </a:prstGeom>
          <a:solidFill>
            <a:schemeClr val="accent1"/>
          </a:solidFill>
        </p:spPr>
        <p:txBody>
          <a:bodyPr lIns="90000" tIns="36000" rIns="90000" bIns="72000"/>
          <a:lstStyle>
            <a:lvl1pPr marL="0" indent="0">
              <a:lnSpc>
                <a:spcPct val="100000"/>
              </a:lnSpc>
              <a:buNone/>
              <a:defRPr sz="30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Large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5CC31C4-71AD-E559-DFE1-53BD15C65C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6534" y="2333526"/>
            <a:ext cx="1787283" cy="1210258"/>
          </a:xfrm>
          <a:prstGeom prst="rect">
            <a:avLst/>
          </a:prstGeom>
          <a:solidFill>
            <a:schemeClr val="accent2"/>
          </a:solidFill>
        </p:spPr>
        <p:txBody>
          <a:bodyPr lIns="90000" tIns="36000" rIns="90000" bIns="72000"/>
          <a:lstStyle>
            <a:lvl1pPr marL="0" indent="0">
              <a:lnSpc>
                <a:spcPct val="100000"/>
              </a:lnSpc>
              <a:buNone/>
              <a:defRPr sz="30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+mn-lt"/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Large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57499A2-FF0D-3604-0ACC-8E625B9F404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3341696-8590-894C-D76E-851C7852B8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996E41EE-21DD-28D4-F344-6A091DC2CA0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Strictly" hidden="1">
            <a:extLst>
              <a:ext uri="{FF2B5EF4-FFF2-40B4-BE49-F238E27FC236}">
                <a16:creationId xmlns:a16="http://schemas.microsoft.com/office/drawing/2014/main" id="{11EE9649-BC7E-DA44-3EAD-548A01D21F1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Internal" hidden="1">
            <a:extLst>
              <a:ext uri="{FF2B5EF4-FFF2-40B4-BE49-F238E27FC236}">
                <a16:creationId xmlns:a16="http://schemas.microsoft.com/office/drawing/2014/main" id="{BF7310FA-023D-5F2F-681D-FE3606AB9D0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Public">
            <a:extLst>
              <a:ext uri="{FF2B5EF4-FFF2-40B4-BE49-F238E27FC236}">
                <a16:creationId xmlns:a16="http://schemas.microsoft.com/office/drawing/2014/main" id="{3122367F-B8FA-5ABF-B892-FA8457CDBC7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4" name="Confidential" hidden="1">
            <a:extLst>
              <a:ext uri="{FF2B5EF4-FFF2-40B4-BE49-F238E27FC236}">
                <a16:creationId xmlns:a16="http://schemas.microsoft.com/office/drawing/2014/main" id="{B0FAEBB0-C987-CBE2-FC06-0A8107D2F28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1579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87" userDrawn="1">
          <p15:clr>
            <a:srgbClr val="FBAE40"/>
          </p15:clr>
        </p15:guide>
        <p15:guide id="3" pos="5087" userDrawn="1">
          <p15:clr>
            <a:srgbClr val="FBAE40"/>
          </p15:clr>
        </p15:guide>
        <p15:guide id="6" pos="2592" userDrawn="1">
          <p15:clr>
            <a:srgbClr val="FBAE40"/>
          </p15:clr>
        </p15:guide>
        <p15:guide id="7" pos="269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5CF385-B9DE-0AFE-8A59-926D9DCB50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899" y="2060574"/>
            <a:ext cx="2746376" cy="4098926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A92CA62-A642-79D2-BA4B-6E0BD5EBA8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24225" y="2060573"/>
            <a:ext cx="1800225" cy="409892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800" b="1">
                <a:latin typeface="+mn-lt"/>
              </a:defRPr>
            </a:lvl1pPr>
            <a:lvl2pPr marL="0" indent="0">
              <a:lnSpc>
                <a:spcPct val="100000"/>
              </a:lnSpc>
              <a:buNone/>
              <a:defRPr sz="2400">
                <a:latin typeface="+mn-lt"/>
              </a:defRPr>
            </a:lvl2pPr>
            <a:lvl3pPr marL="108000" indent="-108000">
              <a:defRPr sz="800">
                <a:latin typeface="+mn-lt"/>
              </a:defRPr>
            </a:lvl3pPr>
            <a:lvl4pPr marL="216000" indent="-108000"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0000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63FAFFFA-1794-07C7-DF40-E5B7896F8D9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6F898B5-3954-4420-F147-E271F50E19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D7445F37-B8F7-BF36-D3D4-2E7F6D0A7AF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trictly" hidden="1">
            <a:extLst>
              <a:ext uri="{FF2B5EF4-FFF2-40B4-BE49-F238E27FC236}">
                <a16:creationId xmlns:a16="http://schemas.microsoft.com/office/drawing/2014/main" id="{90F03E5A-4EEA-6AB3-2FF2-E0AE0A8BCE2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Internal" hidden="1">
            <a:extLst>
              <a:ext uri="{FF2B5EF4-FFF2-40B4-BE49-F238E27FC236}">
                <a16:creationId xmlns:a16="http://schemas.microsoft.com/office/drawing/2014/main" id="{3AD0A24E-1914-6DE9-70AC-218EEA0C322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Public">
            <a:extLst>
              <a:ext uri="{FF2B5EF4-FFF2-40B4-BE49-F238E27FC236}">
                <a16:creationId xmlns:a16="http://schemas.microsoft.com/office/drawing/2014/main" id="{F510FFE9-931F-8DD9-4044-485C4AEF5D2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6" name="Confidential" hidden="1">
            <a:extLst>
              <a:ext uri="{FF2B5EF4-FFF2-40B4-BE49-F238E27FC236}">
                <a16:creationId xmlns:a16="http://schemas.microsoft.com/office/drawing/2014/main" id="{95AE4A4A-1107-7105-6D0D-1C0802F3CF7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2492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Statist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5CF385-B9DE-0AFE-8A59-926D9DCB50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416" y="1463351"/>
            <a:ext cx="3641725" cy="1472487"/>
          </a:xfrm>
          <a:prstGeom prst="rect">
            <a:avLst/>
          </a:prstGeom>
          <a:solidFill>
            <a:schemeClr val="accent6"/>
          </a:solidFill>
        </p:spPr>
        <p:txBody>
          <a:bodyPr lIns="144000" tIns="108000" rIns="144000" bIns="72000"/>
          <a:lstStyle>
            <a:lvl1pPr marL="0" indent="0">
              <a:lnSpc>
                <a:spcPct val="100000"/>
              </a:lnSpc>
              <a:buNone/>
              <a:defRPr sz="3000">
                <a:solidFill>
                  <a:schemeClr val="accent1"/>
                </a:solidFill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FE9E66F-17A3-05BE-9E96-294B2F61E7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6416" y="3079657"/>
            <a:ext cx="3641725" cy="1472487"/>
          </a:xfrm>
          <a:prstGeom prst="rect">
            <a:avLst/>
          </a:prstGeom>
          <a:solidFill>
            <a:schemeClr val="accent6"/>
          </a:solidFill>
        </p:spPr>
        <p:txBody>
          <a:bodyPr lIns="144000" tIns="108000" rIns="144000" bIns="72000"/>
          <a:lstStyle>
            <a:lvl1pPr marL="0" indent="0">
              <a:lnSpc>
                <a:spcPct val="100000"/>
              </a:lnSpc>
              <a:buNone/>
              <a:defRPr sz="3000">
                <a:solidFill>
                  <a:schemeClr val="accent1"/>
                </a:solidFill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9D1153A-4982-7958-32D6-D13D00F4B0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6416" y="4695963"/>
            <a:ext cx="3641725" cy="1472487"/>
          </a:xfrm>
          <a:prstGeom prst="rect">
            <a:avLst/>
          </a:prstGeom>
          <a:solidFill>
            <a:schemeClr val="accent6"/>
          </a:solidFill>
        </p:spPr>
        <p:txBody>
          <a:bodyPr lIns="144000" tIns="108000" rIns="144000" bIns="72000"/>
          <a:lstStyle>
            <a:lvl1pPr marL="0" indent="0">
              <a:lnSpc>
                <a:spcPct val="100000"/>
              </a:lnSpc>
              <a:buNone/>
              <a:defRPr sz="3000">
                <a:solidFill>
                  <a:schemeClr val="accent1"/>
                </a:solidFill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45F53F5E-8E5C-8B0B-D48F-26D4BBFDEA3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273550" y="1463350"/>
            <a:ext cx="7439026" cy="4705099"/>
          </a:xfrm>
          <a:prstGeom prst="rect">
            <a:avLst/>
          </a:prstGeom>
          <a:solidFill>
            <a:schemeClr val="accent6"/>
          </a:solidFill>
        </p:spPr>
        <p:txBody>
          <a:bodyPr lIns="144000" tIns="108000" rIns="144000" bIns="72000"/>
          <a:lstStyle>
            <a:lvl1pPr marL="0" indent="0">
              <a:buNone/>
              <a:defRPr sz="1200">
                <a:latin typeface="+mn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EBF6789F-DE5B-316B-9FF3-CF2E893EC29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D5F43EB-117A-C02B-EDB4-E81335339A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4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66AF8127-E873-01F7-40AA-D9DF608D32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36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ox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698500"/>
            <a:ext cx="5546726" cy="30469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5CF385-B9DE-0AFE-8A59-926D9DCB50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901" y="2060575"/>
            <a:ext cx="3636000" cy="4098925"/>
          </a:xfrm>
          <a:prstGeom prst="rect">
            <a:avLst/>
          </a:prstGeom>
          <a:solidFill>
            <a:schemeClr val="accent6"/>
          </a:solidFill>
        </p:spPr>
        <p:txBody>
          <a:bodyPr lIns="144000" tIns="108000" rIns="144000" bIns="72000"/>
          <a:lstStyle>
            <a:lvl1pPr marL="144000">
              <a:defRPr sz="1200">
                <a:latin typeface="+mn-lt"/>
              </a:defRPr>
            </a:lvl1pPr>
            <a:lvl2pPr marL="144000"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FF1C0FA-E934-F9DA-8F3A-1F13B2E070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78000" y="2060575"/>
            <a:ext cx="3636000" cy="4098925"/>
          </a:xfrm>
          <a:prstGeom prst="rect">
            <a:avLst/>
          </a:prstGeom>
          <a:solidFill>
            <a:schemeClr val="accent6"/>
          </a:solidFill>
        </p:spPr>
        <p:txBody>
          <a:bodyPr lIns="144000" tIns="108000" rIns="144000" bIns="72000"/>
          <a:lstStyle>
            <a:lvl1pPr marL="144000">
              <a:defRPr sz="1200">
                <a:latin typeface="+mn-lt"/>
              </a:defRPr>
            </a:lvl1pPr>
            <a:lvl2pPr marL="144000"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478C0AAC-C84C-26C4-5CE1-65C266242C0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86100" y="2060575"/>
            <a:ext cx="3636000" cy="4098925"/>
          </a:xfrm>
          <a:prstGeom prst="rect">
            <a:avLst/>
          </a:prstGeom>
          <a:solidFill>
            <a:schemeClr val="accent6"/>
          </a:solidFill>
        </p:spPr>
        <p:txBody>
          <a:bodyPr lIns="144000" tIns="108000" rIns="144000" bIns="72000"/>
          <a:lstStyle>
            <a:lvl1pPr marL="144000">
              <a:defRPr sz="1200">
                <a:latin typeface="+mn-lt"/>
              </a:defRPr>
            </a:lvl1pPr>
            <a:lvl2pPr marL="144000"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3A5B0536-E071-73DD-46BA-C33542980709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2954617" y="5329661"/>
            <a:ext cx="1039943" cy="829839"/>
          </a:xfrm>
        </p:spPr>
        <p:txBody>
          <a:bodyPr wrap="square" bIns="36000" anchor="b" anchorCtr="0">
            <a:spAutoFit/>
          </a:bodyPr>
          <a:lstStyle>
            <a:lvl1pPr marL="0" indent="0" algn="r">
              <a:buNone/>
              <a:defRPr sz="50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77BA669-693B-5005-5E03-43C9D7C0E02C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768334" y="5329661"/>
            <a:ext cx="1039943" cy="829839"/>
          </a:xfrm>
        </p:spPr>
        <p:txBody>
          <a:bodyPr wrap="square" bIns="36000" anchor="b" anchorCtr="0">
            <a:spAutoFit/>
          </a:bodyPr>
          <a:lstStyle>
            <a:lvl1pPr marL="0" indent="0" algn="r">
              <a:buNone/>
              <a:defRPr sz="50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0DC6B4C-BFCA-FCC5-D5D8-A0DC7FA67676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10585148" y="5329661"/>
            <a:ext cx="1039943" cy="829839"/>
          </a:xfrm>
        </p:spPr>
        <p:txBody>
          <a:bodyPr wrap="square" bIns="36000" anchor="b" anchorCtr="0">
            <a:spAutoFit/>
          </a:bodyPr>
          <a:lstStyle>
            <a:lvl1pPr marL="0" indent="0" algn="r">
              <a:buNone/>
              <a:defRPr sz="50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E0328EF5-CCB7-EF1F-0D00-7E6FA8FF6DC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153FD80-6D57-B6BC-6B84-14909BF4B1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10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26F8756C-1F82-3A4F-ECA2-56953130E43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Strictly" hidden="1">
            <a:extLst>
              <a:ext uri="{FF2B5EF4-FFF2-40B4-BE49-F238E27FC236}">
                <a16:creationId xmlns:a16="http://schemas.microsoft.com/office/drawing/2014/main" id="{FCCAC090-367A-1181-77BA-6D12231C1E0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Internal" hidden="1">
            <a:extLst>
              <a:ext uri="{FF2B5EF4-FFF2-40B4-BE49-F238E27FC236}">
                <a16:creationId xmlns:a16="http://schemas.microsoft.com/office/drawing/2014/main" id="{A35C0163-A511-4CF5-4934-966585DB8CF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Public">
            <a:extLst>
              <a:ext uri="{FF2B5EF4-FFF2-40B4-BE49-F238E27FC236}">
                <a16:creationId xmlns:a16="http://schemas.microsoft.com/office/drawing/2014/main" id="{BF5818A1-296C-1245-91EC-8053F1F3B44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8" name="Confidential" hidden="1">
            <a:extLst>
              <a:ext uri="{FF2B5EF4-FFF2-40B4-BE49-F238E27FC236}">
                <a16:creationId xmlns:a16="http://schemas.microsoft.com/office/drawing/2014/main" id="{65C42545-C4B7-0FE3-649C-5063A4F9F5E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8596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665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5CF385-B9DE-0AFE-8A59-926D9DCB50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075" y="3410252"/>
            <a:ext cx="2692400" cy="2749248"/>
          </a:xfrm>
          <a:solidFill>
            <a:schemeClr val="accent6"/>
          </a:solidFill>
        </p:spPr>
        <p:txBody>
          <a:bodyPr lIns="144000" tIns="144000" rIns="108000" bIns="72000"/>
          <a:lstStyle>
            <a:lvl1pPr>
              <a:defRPr sz="900">
                <a:latin typeface="+mn-lt"/>
              </a:defRPr>
            </a:lvl1pPr>
            <a:lvl2pPr>
              <a:defRPr sz="900">
                <a:latin typeface="+mn-lt"/>
              </a:defRPr>
            </a:lvl2pPr>
            <a:lvl3pPr>
              <a:defRPr sz="900">
                <a:latin typeface="+mn-lt"/>
              </a:defRPr>
            </a:lvl3pPr>
            <a:lvl4pPr>
              <a:defRPr sz="900">
                <a:latin typeface="+mn-lt"/>
              </a:defRPr>
            </a:lvl4pPr>
            <a:lvl5pPr>
              <a:defRPr sz="9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FF1C0FA-E934-F9DA-8F3A-1F13B2E070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40891" y="3429000"/>
            <a:ext cx="2675734" cy="2730500"/>
          </a:xfrm>
          <a:solidFill>
            <a:schemeClr val="accent6"/>
          </a:solidFill>
        </p:spPr>
        <p:txBody>
          <a:bodyPr lIns="144000" tIns="144000" rIns="144000" bIns="72000"/>
          <a:lstStyle>
            <a:lvl1pPr>
              <a:defRPr sz="900">
                <a:latin typeface="+mn-lt"/>
              </a:defRPr>
            </a:lvl1pPr>
            <a:lvl2pPr>
              <a:defRPr sz="900">
                <a:latin typeface="+mn-lt"/>
              </a:defRPr>
            </a:lvl2pPr>
            <a:lvl3pPr>
              <a:defRPr sz="900">
                <a:latin typeface="+mn-lt"/>
              </a:defRPr>
            </a:lvl3pPr>
            <a:lvl4pPr>
              <a:defRPr sz="900">
                <a:latin typeface="+mn-lt"/>
              </a:defRPr>
            </a:lvl4pPr>
            <a:lvl5pPr>
              <a:defRPr sz="9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478C0AAC-C84C-26C4-5CE1-65C266242C0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75375" y="3404926"/>
            <a:ext cx="2689224" cy="2749248"/>
          </a:xfrm>
          <a:solidFill>
            <a:schemeClr val="accent6"/>
          </a:solidFill>
        </p:spPr>
        <p:txBody>
          <a:bodyPr lIns="144000" tIns="144000" rIns="144000" bIns="72000"/>
          <a:lstStyle>
            <a:lvl1pPr>
              <a:defRPr sz="900">
                <a:latin typeface="+mn-lt"/>
              </a:defRPr>
            </a:lvl1pPr>
            <a:lvl2pPr>
              <a:defRPr sz="900">
                <a:latin typeface="+mn-lt"/>
              </a:defRPr>
            </a:lvl2pPr>
            <a:lvl3pPr>
              <a:defRPr sz="900">
                <a:latin typeface="+mn-lt"/>
              </a:defRPr>
            </a:lvl3pPr>
            <a:lvl4pPr>
              <a:defRPr sz="900">
                <a:latin typeface="+mn-lt"/>
              </a:defRPr>
            </a:lvl4pPr>
            <a:lvl5pPr>
              <a:defRPr sz="9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FBCAB8D-278E-1871-12E1-35A9D33FDDC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23348" y="3425825"/>
            <a:ext cx="2689227" cy="2733675"/>
          </a:xfrm>
          <a:solidFill>
            <a:schemeClr val="accent6"/>
          </a:solidFill>
        </p:spPr>
        <p:txBody>
          <a:bodyPr lIns="144000" tIns="144000" rIns="144000" bIns="72000"/>
          <a:lstStyle>
            <a:lvl1pPr>
              <a:defRPr sz="900">
                <a:latin typeface="+mn-lt"/>
              </a:defRPr>
            </a:lvl1pPr>
            <a:lvl2pPr>
              <a:defRPr sz="900">
                <a:latin typeface="+mn-lt"/>
              </a:defRPr>
            </a:lvl2pPr>
            <a:lvl3pPr>
              <a:defRPr sz="900">
                <a:latin typeface="+mn-lt"/>
              </a:defRPr>
            </a:lvl3pPr>
            <a:lvl4pPr>
              <a:defRPr sz="900">
                <a:latin typeface="+mn-lt"/>
              </a:defRPr>
            </a:lvl4pPr>
            <a:lvl5pPr>
              <a:defRPr sz="9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D16F2DC-E9A9-72BF-77EA-2896633E05D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9900" y="2060575"/>
            <a:ext cx="2695575" cy="14112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72EA05A-DA90-4926-4D1A-341067F6D1B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336125" y="2060574"/>
            <a:ext cx="2680500" cy="14112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5B0BCE17-29DE-3CA4-3F4D-E7D058E1F2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169024" y="2055985"/>
            <a:ext cx="2695575" cy="14112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18" name="Picture Placeholder 13">
            <a:extLst>
              <a:ext uri="{FF2B5EF4-FFF2-40B4-BE49-F238E27FC236}">
                <a16:creationId xmlns:a16="http://schemas.microsoft.com/office/drawing/2014/main" id="{967F87C8-E9DB-1A60-F93A-FB3943F0140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023348" y="2055984"/>
            <a:ext cx="2689227" cy="14112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4612EC15-17FF-3A59-4FE8-87BC9E3408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1EF4102-8AC0-6191-1916-6932490D1C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AEB36756-12B2-4932-7282-6C3946AAC3D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Strictly" hidden="1">
            <a:extLst>
              <a:ext uri="{FF2B5EF4-FFF2-40B4-BE49-F238E27FC236}">
                <a16:creationId xmlns:a16="http://schemas.microsoft.com/office/drawing/2014/main" id="{75459F50-5954-9344-EAA0-29DD3D83F7A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Internal" hidden="1">
            <a:extLst>
              <a:ext uri="{FF2B5EF4-FFF2-40B4-BE49-F238E27FC236}">
                <a16:creationId xmlns:a16="http://schemas.microsoft.com/office/drawing/2014/main" id="{4551CA12-14DC-5BD7-8CEF-FED8375CE8D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Public">
            <a:extLst>
              <a:ext uri="{FF2B5EF4-FFF2-40B4-BE49-F238E27FC236}">
                <a16:creationId xmlns:a16="http://schemas.microsoft.com/office/drawing/2014/main" id="{CD690018-E75E-2465-ADCA-E19BF5B5698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20" name="Confidential" hidden="1">
            <a:extLst>
              <a:ext uri="{FF2B5EF4-FFF2-40B4-BE49-F238E27FC236}">
                <a16:creationId xmlns:a16="http://schemas.microsoft.com/office/drawing/2014/main" id="{BB050505-84F4-45A2-7F60-3577CD6F3F3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5276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rge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F063A1-8C8A-7FBB-CF2B-92F1187A4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9900" y="3252192"/>
            <a:ext cx="7445375" cy="153888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Presentation headline title placeholder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1748F4E-4BDF-C0D4-341C-3978098D480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69901" y="482918"/>
            <a:ext cx="3935412" cy="304699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buNone/>
              <a:defRPr sz="2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Hitachi Group Compan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6B3680C-9243-16E9-159B-3DE694CAFE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902" y="5530876"/>
            <a:ext cx="3644898" cy="691856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4E4E2242-DEFD-DF22-D2A6-669DC12B71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73551" y="5529600"/>
            <a:ext cx="3644898" cy="691856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6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42A7A397-542F-0E44-25AD-CB6B64DF050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EC111BAD-3704-6FE0-BD66-1E93EE2FBDF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Internal" hidden="1">
            <a:extLst>
              <a:ext uri="{FF2B5EF4-FFF2-40B4-BE49-F238E27FC236}">
                <a16:creationId xmlns:a16="http://schemas.microsoft.com/office/drawing/2014/main" id="{D2D16E53-CE32-3219-7B3C-75AB70C5351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Public">
            <a:extLst>
              <a:ext uri="{FF2B5EF4-FFF2-40B4-BE49-F238E27FC236}">
                <a16:creationId xmlns:a16="http://schemas.microsoft.com/office/drawing/2014/main" id="{CC9988A0-70F4-D7E5-7310-17D35260551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1" name="Confidential" hidden="1">
            <a:extLst>
              <a:ext uri="{FF2B5EF4-FFF2-40B4-BE49-F238E27FC236}">
                <a16:creationId xmlns:a16="http://schemas.microsoft.com/office/drawing/2014/main" id="{D6C179D1-F5C7-57B6-5E37-498C54F32E1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7286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5CF385-B9DE-0AFE-8A59-926D9DCB50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075" y="2060574"/>
            <a:ext cx="2692400" cy="4098925"/>
          </a:xfrm>
        </p:spPr>
        <p:txBody>
          <a:bodyPr/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FF1C0FA-E934-F9DA-8F3A-1F13B2E070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30801" y="2060574"/>
            <a:ext cx="2685823" cy="4098925"/>
          </a:xfrm>
        </p:spPr>
        <p:txBody>
          <a:bodyPr/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478C0AAC-C84C-26C4-5CE1-65C266242C0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81950" y="2060575"/>
            <a:ext cx="2685823" cy="4098924"/>
          </a:xfrm>
        </p:spPr>
        <p:txBody>
          <a:bodyPr/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8FBCAB8D-278E-1871-12E1-35A9D33FDDC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33100" y="2060574"/>
            <a:ext cx="2679476" cy="4098925"/>
          </a:xfrm>
        </p:spPr>
        <p:txBody>
          <a:bodyPr/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4AA54C8-71BF-B23A-9980-8B9F14CFB60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E050EB7-4801-2929-A40C-3057F46EE5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98114797-7C27-FCFF-13F0-25907EB2FF0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Strictly" hidden="1">
            <a:extLst>
              <a:ext uri="{FF2B5EF4-FFF2-40B4-BE49-F238E27FC236}">
                <a16:creationId xmlns:a16="http://schemas.microsoft.com/office/drawing/2014/main" id="{F00338B8-B283-3E14-3188-5410972B344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Internal" hidden="1">
            <a:extLst>
              <a:ext uri="{FF2B5EF4-FFF2-40B4-BE49-F238E27FC236}">
                <a16:creationId xmlns:a16="http://schemas.microsoft.com/office/drawing/2014/main" id="{10F5B09E-5FAC-C5D3-3006-FDA0C1C9DB7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Public">
            <a:extLst>
              <a:ext uri="{FF2B5EF4-FFF2-40B4-BE49-F238E27FC236}">
                <a16:creationId xmlns:a16="http://schemas.microsoft.com/office/drawing/2014/main" id="{FE36E5FE-C9E6-DD6A-A07A-151D0863EC1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5" name="Confidential" hidden="1">
            <a:extLst>
              <a:ext uri="{FF2B5EF4-FFF2-40B4-BE49-F238E27FC236}">
                <a16:creationId xmlns:a16="http://schemas.microsoft.com/office/drawing/2014/main" id="{290F0F4C-2317-0ED6-F9CB-4FE9B80DBC6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9220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2A3E3D5-B7AF-B9BF-1418-806BA6C67D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5CF385-B9DE-0AFE-8A59-926D9DCB50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899" y="3528000"/>
            <a:ext cx="1746251" cy="2631500"/>
          </a:xfr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D33795D8-4B1F-7EA2-8E45-F761494CC14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9900" y="2413000"/>
            <a:ext cx="1746250" cy="9794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25" name="Picture Placeholder 17">
            <a:extLst>
              <a:ext uri="{FF2B5EF4-FFF2-40B4-BE49-F238E27FC236}">
                <a16:creationId xmlns:a16="http://schemas.microsoft.com/office/drawing/2014/main" id="{899308FD-AA72-345D-E238-18ACB38C711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374900" y="2413000"/>
            <a:ext cx="1746250" cy="9794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26" name="Picture Placeholder 17">
            <a:extLst>
              <a:ext uri="{FF2B5EF4-FFF2-40B4-BE49-F238E27FC236}">
                <a16:creationId xmlns:a16="http://schemas.microsoft.com/office/drawing/2014/main" id="{DFA843B2-9663-384F-743B-03AD0127E3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77130" y="2413000"/>
            <a:ext cx="1746250" cy="9794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27" name="Picture Placeholder 17">
            <a:extLst>
              <a:ext uri="{FF2B5EF4-FFF2-40B4-BE49-F238E27FC236}">
                <a16:creationId xmlns:a16="http://schemas.microsoft.com/office/drawing/2014/main" id="{ED1D135B-192F-2F24-B1E3-5CFB850E81A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78038" y="2413000"/>
            <a:ext cx="1746250" cy="9794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28" name="Picture Placeholder 17">
            <a:extLst>
              <a:ext uri="{FF2B5EF4-FFF2-40B4-BE49-F238E27FC236}">
                <a16:creationId xmlns:a16="http://schemas.microsoft.com/office/drawing/2014/main" id="{1E09EA46-8135-A973-058C-39E22EF95E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74025" y="2413000"/>
            <a:ext cx="1746250" cy="9794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29" name="Picture Placeholder 17">
            <a:extLst>
              <a:ext uri="{FF2B5EF4-FFF2-40B4-BE49-F238E27FC236}">
                <a16:creationId xmlns:a16="http://schemas.microsoft.com/office/drawing/2014/main" id="{0977E418-5AE0-96CA-43D0-C098BED4D95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975850" y="2413000"/>
            <a:ext cx="1746250" cy="979488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7CD3836-97B3-14CA-150F-2DE31BA3934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74900" y="3528000"/>
            <a:ext cx="1746250" cy="2631500"/>
          </a:xfr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FF1C0FA-E934-F9DA-8F3A-1F13B2E070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90765" y="3528000"/>
            <a:ext cx="1729035" cy="2631500"/>
          </a:xfr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AF56FC15-A3AA-B884-F7A8-606892D42BC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82130" y="3528000"/>
            <a:ext cx="1742158" cy="2631500"/>
          </a:xfr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478C0AAC-C84C-26C4-5CE1-65C266242C0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84892" y="3528000"/>
            <a:ext cx="1729034" cy="2631500"/>
          </a:xfr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DF0BDA79-A3BA-32A7-CAEA-453F7ACAC5A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983541" y="3528000"/>
            <a:ext cx="1729034" cy="2631500"/>
          </a:xfr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37FBE21-CF60-77F6-F445-5A155AC8DDAE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469901" y="2029118"/>
            <a:ext cx="1746249" cy="190437"/>
          </a:xfrm>
        </p:spPr>
        <p:txBody>
          <a:bodyPr wrap="square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Subtitle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0759115-57DE-1E0D-4F07-873EF8C1ADF6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2378480" y="2029118"/>
            <a:ext cx="1736320" cy="190437"/>
          </a:xfrm>
        </p:spPr>
        <p:txBody>
          <a:bodyPr wrap="square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Subtitle her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6CB15619-37C2-ED12-A579-6D5C07A3BA5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DB0CB6-CE81-ED7A-124A-C105A657CD21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4279389" y="2029118"/>
            <a:ext cx="1746249" cy="190437"/>
          </a:xfrm>
        </p:spPr>
        <p:txBody>
          <a:bodyPr wrap="square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Subtitle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1100209-F090-067B-7EB8-B9117260212D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6187968" y="2029118"/>
            <a:ext cx="1736320" cy="190437"/>
          </a:xfrm>
        </p:spPr>
        <p:txBody>
          <a:bodyPr wrap="square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Subtitl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53D78EE-2D38-E389-4837-8B13E52C178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8074962" y="2029118"/>
            <a:ext cx="1746249" cy="190437"/>
          </a:xfrm>
        </p:spPr>
        <p:txBody>
          <a:bodyPr wrap="square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Subtitle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62EA960-AF99-F592-E217-6916DE09CB69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9983541" y="2029118"/>
            <a:ext cx="1736320" cy="190437"/>
          </a:xfrm>
        </p:spPr>
        <p:txBody>
          <a:bodyPr wrap="square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Subtitle her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C96B5CC-236A-3506-CFF5-9C12EED1CD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14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D80C215D-0065-8D39-31A4-C08C40754F9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Strictly" hidden="1">
            <a:extLst>
              <a:ext uri="{FF2B5EF4-FFF2-40B4-BE49-F238E27FC236}">
                <a16:creationId xmlns:a16="http://schemas.microsoft.com/office/drawing/2014/main" id="{0B00322A-9834-36FA-5258-A27D5A7615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Internal" hidden="1">
            <a:extLst>
              <a:ext uri="{FF2B5EF4-FFF2-40B4-BE49-F238E27FC236}">
                <a16:creationId xmlns:a16="http://schemas.microsoft.com/office/drawing/2014/main" id="{CB688A1C-C4AC-54C3-4354-05DADBF3DBC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Public">
            <a:extLst>
              <a:ext uri="{FF2B5EF4-FFF2-40B4-BE49-F238E27FC236}">
                <a16:creationId xmlns:a16="http://schemas.microsoft.com/office/drawing/2014/main" id="{1FB95B79-E80D-7CA2-79C7-D6040C469A6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9" name="Confidential" hidden="1">
            <a:extLst>
              <a:ext uri="{FF2B5EF4-FFF2-40B4-BE49-F238E27FC236}">
                <a16:creationId xmlns:a16="http://schemas.microsoft.com/office/drawing/2014/main" id="{9069D7F4-0DD9-F9DC-DA45-1FACB17BD51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02586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9DE064D3-2423-52FC-7D3C-3B36D944DB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3073" y="632438"/>
            <a:ext cx="7442201" cy="1315745"/>
          </a:xfrm>
        </p:spPr>
        <p:txBody>
          <a:bodyPr lIns="0" tIns="0"/>
          <a:lstStyle>
            <a:lvl1pPr>
              <a:defRPr sz="95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Thank you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41FBDBC7-2705-22FC-8CD1-A8AE0D09BC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71590" y="4959408"/>
            <a:ext cx="198000" cy="1980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6DAAD5CF-958B-76BC-EA44-5BAE195A27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39605" y="4959408"/>
            <a:ext cx="198000" cy="1980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F7C11BCC-DC96-4E6B-C42A-BFFB971D81C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13765" y="4959408"/>
            <a:ext cx="198000" cy="1980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F4C96194-B57B-224C-2D23-58E5B6FF67B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01860" y="4959408"/>
            <a:ext cx="198000" cy="198000"/>
          </a:xfrm>
          <a:prstGeom prst="rect">
            <a:avLst/>
          </a:prstGeom>
        </p:spPr>
      </p:pic>
      <p:pic>
        <p:nvPicPr>
          <p:cNvPr id="30" name="object 18">
            <a:extLst>
              <a:ext uri="{FF2B5EF4-FFF2-40B4-BE49-F238E27FC236}">
                <a16:creationId xmlns:a16="http://schemas.microsoft.com/office/drawing/2014/main" id="{A49DFA00-F4D3-1ED4-1F76-C6319B6D4215}"/>
              </a:ext>
            </a:extLst>
          </p:cNvPr>
          <p:cNvPicPr/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6456434" y="4959408"/>
            <a:ext cx="198000" cy="1980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6CC49DB1-EFE4-3BAD-DC6D-DF1D979530EE}"/>
              </a:ext>
            </a:extLst>
          </p:cNvPr>
          <p:cNvSpPr txBox="1"/>
          <p:nvPr userDrawn="1"/>
        </p:nvSpPr>
        <p:spPr>
          <a:xfrm>
            <a:off x="6201006" y="4530563"/>
            <a:ext cx="1548000" cy="36397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>
              <a:lnSpc>
                <a:spcPct val="110000"/>
              </a:lnSpc>
              <a:spcBef>
                <a:spcPts val="0"/>
              </a:spcBef>
            </a:pPr>
            <a:r>
              <a:rPr lang="it-IT" sz="1200" b="1" spc="-6">
                <a:solidFill>
                  <a:srgbClr val="FFFFFF"/>
                </a:solidFill>
                <a:latin typeface="+mn-lt"/>
              </a:rPr>
              <a:t>Follow us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46879F8-9C42-BF25-6A3B-0722A1C143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3072" y="3883025"/>
            <a:ext cx="1743077" cy="1820141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Office Name</a:t>
            </a:r>
            <a:br>
              <a:rPr lang="en-GB"/>
            </a:br>
            <a:r>
              <a:rPr lang="en-GB"/>
              <a:t>1st line address</a:t>
            </a:r>
            <a:br>
              <a:rPr lang="en-GB"/>
            </a:br>
            <a:r>
              <a:rPr lang="en-GB"/>
              <a:t>2nd line address</a:t>
            </a:r>
            <a:br>
              <a:rPr lang="en-GB"/>
            </a:br>
            <a:r>
              <a:rPr lang="en-GB"/>
              <a:t>3rd line address</a:t>
            </a:r>
            <a:br>
              <a:rPr lang="en-GB"/>
            </a:br>
            <a:r>
              <a:rPr lang="en-GB"/>
              <a:t>+81 01 2345 6789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69ABC235-BAF6-52C4-DB25-35FC888B1E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01937" y="3883891"/>
            <a:ext cx="1743076" cy="1820141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Office Name</a:t>
            </a:r>
            <a:br>
              <a:rPr lang="en-GB"/>
            </a:br>
            <a:r>
              <a:rPr lang="en-GB"/>
              <a:t>1st line address</a:t>
            </a:r>
            <a:br>
              <a:rPr lang="en-GB"/>
            </a:br>
            <a:r>
              <a:rPr lang="en-GB"/>
              <a:t>2nd line address</a:t>
            </a:r>
            <a:br>
              <a:rPr lang="en-GB"/>
            </a:br>
            <a:r>
              <a:rPr lang="en-GB"/>
              <a:t>3rd line address</a:t>
            </a:r>
            <a:br>
              <a:rPr lang="en-GB"/>
            </a:br>
            <a:r>
              <a:rPr lang="en-GB"/>
              <a:t>+81 01 2345 6789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0EDDCB9D-7148-31C4-36C1-993E562F30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0587" y="3882159"/>
            <a:ext cx="1716038" cy="1820141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Office Name</a:t>
            </a:r>
            <a:br>
              <a:rPr lang="en-GB"/>
            </a:br>
            <a:r>
              <a:rPr lang="en-GB"/>
              <a:t>1st line address</a:t>
            </a:r>
            <a:br>
              <a:rPr lang="en-GB"/>
            </a:br>
            <a:r>
              <a:rPr lang="en-GB"/>
              <a:t>2nd line address</a:t>
            </a:r>
            <a:br>
              <a:rPr lang="en-GB"/>
            </a:br>
            <a:r>
              <a:rPr lang="en-GB"/>
              <a:t>3rd line address</a:t>
            </a:r>
            <a:br>
              <a:rPr lang="en-GB"/>
            </a:br>
            <a:r>
              <a:rPr lang="en-GB"/>
              <a:t>+81 01 2345 6789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1B1C2872-6E61-A525-6412-44E12AA982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2411" y="3882160"/>
            <a:ext cx="1712863" cy="182014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err="1"/>
              <a:t>www.hitachi.com</a:t>
            </a:r>
            <a:endParaRPr lang="en-GB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639A484-6139-585D-4592-4F33ABAF33AA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4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E3E47C92-A0F7-5AFE-13B3-70386B4CB93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39C52A26-2DCC-0159-A176-2CC3B04B7B4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Internal" hidden="1">
            <a:extLst>
              <a:ext uri="{FF2B5EF4-FFF2-40B4-BE49-F238E27FC236}">
                <a16:creationId xmlns:a16="http://schemas.microsoft.com/office/drawing/2014/main" id="{E5B01154-5C45-2B14-A17B-5E92F78D99D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Public">
            <a:extLst>
              <a:ext uri="{FF2B5EF4-FFF2-40B4-BE49-F238E27FC236}">
                <a16:creationId xmlns:a16="http://schemas.microsoft.com/office/drawing/2014/main" id="{68D6E6C5-B231-2934-F715-00C52AC26D5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3" name="Confidential" hidden="1">
            <a:extLst>
              <a:ext uri="{FF2B5EF4-FFF2-40B4-BE49-F238E27FC236}">
                <a16:creationId xmlns:a16="http://schemas.microsoft.com/office/drawing/2014/main" id="{A7338B9D-366D-ECA4-E500-B6A1B8DF36D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292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CD0824B8-F215-3BBB-F5DF-EEB537B35757}"/>
              </a:ext>
            </a:extLst>
          </p:cNvPr>
          <p:cNvSpPr>
            <a:spLocks/>
          </p:cNvSpPr>
          <p:nvPr userDrawn="1"/>
        </p:nvSpPr>
        <p:spPr>
          <a:xfrm>
            <a:off x="473072" y="698499"/>
            <a:ext cx="8391527" cy="4092575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9DE064D3-2423-52FC-7D3C-3B36D944DB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3073" y="698500"/>
            <a:ext cx="7442201" cy="837904"/>
          </a:xfrm>
        </p:spPr>
        <p:txBody>
          <a:bodyPr lIns="180000" tIns="144000"/>
          <a:lstStyle>
            <a:lvl1pPr>
              <a:defRPr sz="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Thank you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41FBDBC7-2705-22FC-8CD1-A8AE0D09BC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84046" y="3848608"/>
            <a:ext cx="198000" cy="1980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6DAAD5CF-958B-76BC-EA44-5BAE195A27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52061" y="3848608"/>
            <a:ext cx="198000" cy="19800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F7C11BCC-DC96-4E6B-C42A-BFFB971D81C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26221" y="3848608"/>
            <a:ext cx="198000" cy="1980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F4C96194-B57B-224C-2D23-58E5B6FF67B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14316" y="3848608"/>
            <a:ext cx="198000" cy="198000"/>
          </a:xfrm>
          <a:prstGeom prst="rect">
            <a:avLst/>
          </a:prstGeom>
        </p:spPr>
      </p:pic>
      <p:pic>
        <p:nvPicPr>
          <p:cNvPr id="30" name="object 18">
            <a:extLst>
              <a:ext uri="{FF2B5EF4-FFF2-40B4-BE49-F238E27FC236}">
                <a16:creationId xmlns:a16="http://schemas.microsoft.com/office/drawing/2014/main" id="{A49DFA00-F4D3-1ED4-1F76-C6319B6D4215}"/>
              </a:ext>
            </a:extLst>
          </p:cNvPr>
          <p:cNvPicPr/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6668890" y="3848608"/>
            <a:ext cx="198000" cy="1980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6CC49DB1-EFE4-3BAD-DC6D-DF1D979530EE}"/>
              </a:ext>
            </a:extLst>
          </p:cNvPr>
          <p:cNvSpPr txBox="1"/>
          <p:nvPr userDrawn="1"/>
        </p:nvSpPr>
        <p:spPr>
          <a:xfrm>
            <a:off x="6413462" y="3419763"/>
            <a:ext cx="1548000" cy="36397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>
              <a:lnSpc>
                <a:spcPct val="110000"/>
              </a:lnSpc>
              <a:spcBef>
                <a:spcPts val="0"/>
              </a:spcBef>
            </a:pPr>
            <a:r>
              <a:rPr lang="it-IT" sz="1200" b="1" spc="-6">
                <a:solidFill>
                  <a:srgbClr val="FFFFFF"/>
                </a:solidFill>
                <a:latin typeface="+mn-lt"/>
              </a:rPr>
              <a:t>Follow us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46879F8-9C42-BF25-6A3B-0722A1C143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9074" y="2962563"/>
            <a:ext cx="1685825" cy="1628937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Office Name</a:t>
            </a:r>
            <a:br>
              <a:rPr lang="en-GB"/>
            </a:br>
            <a:r>
              <a:rPr lang="en-GB"/>
              <a:t>1st line address</a:t>
            </a:r>
            <a:br>
              <a:rPr lang="en-GB"/>
            </a:br>
            <a:r>
              <a:rPr lang="en-GB"/>
              <a:t>2nd line address</a:t>
            </a:r>
            <a:br>
              <a:rPr lang="en-GB"/>
            </a:br>
            <a:r>
              <a:rPr lang="en-GB"/>
              <a:t>3rd line address</a:t>
            </a:r>
            <a:br>
              <a:rPr lang="en-GB"/>
            </a:br>
            <a:r>
              <a:rPr lang="en-GB"/>
              <a:t>+81 01 2345 6789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69ABC235-BAF6-52C4-DB25-35FC888B1E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87723" y="2962563"/>
            <a:ext cx="1685825" cy="1628937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Office Name</a:t>
            </a:r>
            <a:br>
              <a:rPr lang="en-GB"/>
            </a:br>
            <a:r>
              <a:rPr lang="en-GB"/>
              <a:t>1st line address</a:t>
            </a:r>
            <a:br>
              <a:rPr lang="en-GB"/>
            </a:br>
            <a:r>
              <a:rPr lang="en-GB"/>
              <a:t>2nd line address</a:t>
            </a:r>
            <a:br>
              <a:rPr lang="en-GB"/>
            </a:br>
            <a:r>
              <a:rPr lang="en-GB"/>
              <a:t>3rd line address</a:t>
            </a:r>
            <a:br>
              <a:rPr lang="en-GB"/>
            </a:br>
            <a:r>
              <a:rPr lang="en-GB"/>
              <a:t>+81 01 2345 6789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0EDDCB9D-7148-31C4-36C1-993E562F30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1295" y="2962563"/>
            <a:ext cx="1685825" cy="1628937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Office Name</a:t>
            </a:r>
            <a:br>
              <a:rPr lang="en-GB"/>
            </a:br>
            <a:r>
              <a:rPr lang="en-GB"/>
              <a:t>1st line address</a:t>
            </a:r>
            <a:br>
              <a:rPr lang="en-GB"/>
            </a:br>
            <a:r>
              <a:rPr lang="en-GB"/>
              <a:t>2nd line address</a:t>
            </a:r>
            <a:br>
              <a:rPr lang="en-GB"/>
            </a:br>
            <a:r>
              <a:rPr lang="en-GB"/>
              <a:t>3rd line address</a:t>
            </a:r>
            <a:br>
              <a:rPr lang="en-GB"/>
            </a:br>
            <a:r>
              <a:rPr lang="en-GB"/>
              <a:t>+81 01 2345 6789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1B1C2872-6E61-A525-6412-44E12AA982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4867" y="2962564"/>
            <a:ext cx="1685825" cy="162893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err="1"/>
              <a:t>www.hitachi.com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A4ED6AB-10B3-5E90-5812-30D7D3BB2F6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31B24D53-9C7B-32DB-DF3B-10F06A9DBA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94AB4C34-33B4-55B2-4AFE-87E92B75D37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Internal" hidden="1">
            <a:extLst>
              <a:ext uri="{FF2B5EF4-FFF2-40B4-BE49-F238E27FC236}">
                <a16:creationId xmlns:a16="http://schemas.microsoft.com/office/drawing/2014/main" id="{EB1B9A42-C23F-03AA-CC6D-676390B840B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Public">
            <a:extLst>
              <a:ext uri="{FF2B5EF4-FFF2-40B4-BE49-F238E27FC236}">
                <a16:creationId xmlns:a16="http://schemas.microsoft.com/office/drawing/2014/main" id="{33C6E2BA-1F5E-AD04-5F3C-B4761E1B95E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3" name="Confidential" hidden="1">
            <a:extLst>
              <a:ext uri="{FF2B5EF4-FFF2-40B4-BE49-F238E27FC236}">
                <a16:creationId xmlns:a16="http://schemas.microsoft.com/office/drawing/2014/main" id="{BC77D19D-3701-51D7-FCA5-4D5F6DF8A5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37720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mall Titl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F063A1-8C8A-7FBB-CF2B-92F1187A4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138" y="5299402"/>
            <a:ext cx="3629661" cy="923330"/>
          </a:xfrm>
        </p:spPr>
        <p:txBody>
          <a:bodyPr anchor="b" anchorCtr="0">
            <a:spAutoFit/>
          </a:bodyPr>
          <a:lstStyle>
            <a:lvl1pPr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>
                <a:effectLst/>
                <a:latin typeface="Hitachi Sans" pitchFamily="2" charset="77"/>
              </a:rPr>
              <a:t>Presentation headline title placeholder should be two to </a:t>
            </a:r>
            <a:br>
              <a:rPr lang="en-GB">
                <a:effectLst/>
                <a:latin typeface="Hitachi Sans" pitchFamily="2" charset="77"/>
              </a:rPr>
            </a:br>
            <a:r>
              <a:rPr lang="en-GB">
                <a:effectLst/>
                <a:latin typeface="Hitachi Sans" pitchFamily="2" charset="77"/>
              </a:rPr>
              <a:t>three lines where possib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B67D6BA-0D97-2FB2-2A3C-DBD02F81E3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122" y="-1"/>
            <a:ext cx="12137601" cy="2691380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1748F4E-4BDF-C0D4-341C-3978098D480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138" y="5083130"/>
            <a:ext cx="3629660" cy="19043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Subtitle here if needed</a:t>
            </a:r>
          </a:p>
        </p:txBody>
      </p:sp>
      <p:sp>
        <p:nvSpPr>
          <p:cNvPr id="9" name="Text Placeholder 18">
            <a:extLst>
              <a:ext uri="{FF2B5EF4-FFF2-40B4-BE49-F238E27FC236}">
                <a16:creationId xmlns:a16="http://schemas.microsoft.com/office/drawing/2014/main" id="{34FD5E04-723F-6DA5-005D-B07544BFE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73550" y="5530876"/>
            <a:ext cx="3646450" cy="691856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342FA203-7751-2E97-F6D8-B3B01873A30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FC81A3D3-DF32-791F-C787-EDFD26AFD29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Internal" hidden="1">
            <a:extLst>
              <a:ext uri="{FF2B5EF4-FFF2-40B4-BE49-F238E27FC236}">
                <a16:creationId xmlns:a16="http://schemas.microsoft.com/office/drawing/2014/main" id="{E5F36E59-9A00-DC6C-E949-A604E74B3B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Public">
            <a:extLst>
              <a:ext uri="{FF2B5EF4-FFF2-40B4-BE49-F238E27FC236}">
                <a16:creationId xmlns:a16="http://schemas.microsoft.com/office/drawing/2014/main" id="{B068F6D5-2618-6575-D495-9EBF8E8E9F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1" name="Confidential" hidden="1">
            <a:extLst>
              <a:ext uri="{FF2B5EF4-FFF2-40B4-BE49-F238E27FC236}">
                <a16:creationId xmlns:a16="http://schemas.microsoft.com/office/drawing/2014/main" id="{5AC3DE18-1723-C9A4-A992-EE60C9FDB7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90188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rge Titl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5B67D6BA-0D97-2FB2-2A3C-DBD02F81E3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87499" y="366838"/>
            <a:ext cx="3033011" cy="672537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6B3680C-9243-16E9-159B-3DE694CAFE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902" y="5530876"/>
            <a:ext cx="3644898" cy="691856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613A8015-272B-9270-E912-E9896152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3075" y="2476859"/>
            <a:ext cx="6913146" cy="1384995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50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Presentation headline title placeholder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72F6C27-4608-AEAC-6BAD-F686CC5B321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4662" y="469068"/>
            <a:ext cx="3800475" cy="304699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buNone/>
              <a:defRPr sz="22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Hitachi Group Company</a:t>
            </a: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6258F993-4441-777D-E1BB-5F4B7D2294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73551" y="5529600"/>
            <a:ext cx="3644898" cy="691856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2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53A890DC-E2D9-97FA-3578-2FE571F6301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trictly" hidden="1">
            <a:extLst>
              <a:ext uri="{FF2B5EF4-FFF2-40B4-BE49-F238E27FC236}">
                <a16:creationId xmlns:a16="http://schemas.microsoft.com/office/drawing/2014/main" id="{1996E9AC-777A-E90F-386E-33627E90AE0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Internal" hidden="1">
            <a:extLst>
              <a:ext uri="{FF2B5EF4-FFF2-40B4-BE49-F238E27FC236}">
                <a16:creationId xmlns:a16="http://schemas.microsoft.com/office/drawing/2014/main" id="{43093EBA-219C-5593-D464-83068CFE7D9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Public">
            <a:extLst>
              <a:ext uri="{FF2B5EF4-FFF2-40B4-BE49-F238E27FC236}">
                <a16:creationId xmlns:a16="http://schemas.microsoft.com/office/drawing/2014/main" id="{90D3A597-5717-6E81-97A9-B81C205593D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8" name="Confidential" hidden="1">
            <a:extLst>
              <a:ext uri="{FF2B5EF4-FFF2-40B4-BE49-F238E27FC236}">
                <a16:creationId xmlns:a16="http://schemas.microsoft.com/office/drawing/2014/main" id="{A31A0559-7F34-C96A-667F-05DE2DB36B7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2917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Co Brand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F063A1-8C8A-7FBB-CF2B-92F1187A4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3075" y="2476859"/>
            <a:ext cx="7028556" cy="1384995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50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Presentation headline title placeholder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B67D6BA-0D97-2FB2-2A3C-DBD02F81E3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723" y="366838"/>
            <a:ext cx="3033011" cy="672537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1748F4E-4BDF-C0D4-341C-3978098D480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1996989"/>
            <a:ext cx="3800475" cy="332399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buNone/>
              <a:defRPr sz="24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Hitachi Group Compan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6B3680C-9243-16E9-159B-3DE694CAFE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5327743"/>
            <a:ext cx="2692400" cy="894989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297F8AEA-5901-7D8C-CA22-D31A4B65C2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4750" y="5327743"/>
            <a:ext cx="2692400" cy="894989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D3CBF09-0A90-2A4D-DEEE-D819D513DD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6425" y="5327743"/>
            <a:ext cx="2692400" cy="894989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7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6737ACC3-60F8-987F-3232-4B5582B451D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trictly" hidden="1">
            <a:extLst>
              <a:ext uri="{FF2B5EF4-FFF2-40B4-BE49-F238E27FC236}">
                <a16:creationId xmlns:a16="http://schemas.microsoft.com/office/drawing/2014/main" id="{31EAF71E-F533-F328-5004-F334ADEDE38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Internal" hidden="1">
            <a:extLst>
              <a:ext uri="{FF2B5EF4-FFF2-40B4-BE49-F238E27FC236}">
                <a16:creationId xmlns:a16="http://schemas.microsoft.com/office/drawing/2014/main" id="{C7818599-5177-50D7-4FA1-210D781EC1D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Public">
            <a:extLst>
              <a:ext uri="{FF2B5EF4-FFF2-40B4-BE49-F238E27FC236}">
                <a16:creationId xmlns:a16="http://schemas.microsoft.com/office/drawing/2014/main" id="{3608DF62-B149-1863-8851-4027B603C2D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2" name="Confidential" hidden="1">
            <a:extLst>
              <a:ext uri="{FF2B5EF4-FFF2-40B4-BE49-F238E27FC236}">
                <a16:creationId xmlns:a16="http://schemas.microsoft.com/office/drawing/2014/main" id="{21D3EA5A-9ED9-8BA7-BFD5-45586F1859D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7253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9DE064D3-2423-52FC-7D3C-3B36D944DB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3073" y="632438"/>
            <a:ext cx="7442201" cy="1315745"/>
          </a:xfrm>
        </p:spPr>
        <p:txBody>
          <a:bodyPr lIns="0" tIns="0"/>
          <a:lstStyle>
            <a:lvl1pPr>
              <a:defRPr sz="95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46879F8-9C42-BF25-6A3B-0722A1C143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3072" y="3883025"/>
            <a:ext cx="1743077" cy="1820141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Office Name</a:t>
            </a:r>
            <a:br>
              <a:rPr lang="en-GB"/>
            </a:br>
            <a:r>
              <a:rPr lang="en-GB"/>
              <a:t>1st line address</a:t>
            </a:r>
            <a:br>
              <a:rPr lang="en-GB"/>
            </a:br>
            <a:r>
              <a:rPr lang="en-GB"/>
              <a:t>2nd line address</a:t>
            </a:r>
            <a:br>
              <a:rPr lang="en-GB"/>
            </a:br>
            <a:r>
              <a:rPr lang="en-GB"/>
              <a:t>3rd line address</a:t>
            </a:r>
            <a:br>
              <a:rPr lang="en-GB"/>
            </a:br>
            <a:r>
              <a:rPr lang="en-GB"/>
              <a:t>+81 01 2345 6789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69ABC235-BAF6-52C4-DB25-35FC888B1E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01937" y="3883891"/>
            <a:ext cx="1743076" cy="1820141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Office Name</a:t>
            </a:r>
            <a:br>
              <a:rPr lang="en-GB"/>
            </a:br>
            <a:r>
              <a:rPr lang="en-GB"/>
              <a:t>1st line address</a:t>
            </a:r>
            <a:br>
              <a:rPr lang="en-GB"/>
            </a:br>
            <a:r>
              <a:rPr lang="en-GB"/>
              <a:t>2nd line address</a:t>
            </a:r>
            <a:br>
              <a:rPr lang="en-GB"/>
            </a:br>
            <a:r>
              <a:rPr lang="en-GB"/>
              <a:t>3rd line address</a:t>
            </a:r>
            <a:br>
              <a:rPr lang="en-GB"/>
            </a:br>
            <a:r>
              <a:rPr lang="en-GB"/>
              <a:t>+81 01 2345 6789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0EDDCB9D-7148-31C4-36C1-993E562F30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0587" y="3882159"/>
            <a:ext cx="1716038" cy="1820141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Office Name</a:t>
            </a:r>
            <a:br>
              <a:rPr lang="en-GB"/>
            </a:br>
            <a:r>
              <a:rPr lang="en-GB"/>
              <a:t>1st line address</a:t>
            </a:r>
            <a:br>
              <a:rPr lang="en-GB"/>
            </a:br>
            <a:r>
              <a:rPr lang="en-GB"/>
              <a:t>2nd line address</a:t>
            </a:r>
            <a:br>
              <a:rPr lang="en-GB"/>
            </a:br>
            <a:r>
              <a:rPr lang="en-GB"/>
              <a:t>3rd line address</a:t>
            </a:r>
            <a:br>
              <a:rPr lang="en-GB"/>
            </a:br>
            <a:r>
              <a:rPr lang="en-GB"/>
              <a:t>+81 01 2345 6789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1B1C2872-6E61-A525-6412-44E12AA982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2411" y="3882160"/>
            <a:ext cx="1712863" cy="182014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err="1"/>
              <a:t>www.hitachi.com</a:t>
            </a:r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A4DF36B-C797-A766-8003-1583435CE6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EBDE4F53-2D01-2BFF-77F6-2C9465C130E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1466939F-20F0-F829-2FDE-10360604741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Internal" hidden="1">
            <a:extLst>
              <a:ext uri="{FF2B5EF4-FFF2-40B4-BE49-F238E27FC236}">
                <a16:creationId xmlns:a16="http://schemas.microsoft.com/office/drawing/2014/main" id="{EE07FF2C-8999-02B5-0C1C-AE2B70B4145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Public">
            <a:extLst>
              <a:ext uri="{FF2B5EF4-FFF2-40B4-BE49-F238E27FC236}">
                <a16:creationId xmlns:a16="http://schemas.microsoft.com/office/drawing/2014/main" id="{0A3BCA3C-5707-B276-03BA-A4935C76540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3" name="Confidential" hidden="1">
            <a:extLst>
              <a:ext uri="{FF2B5EF4-FFF2-40B4-BE49-F238E27FC236}">
                <a16:creationId xmlns:a16="http://schemas.microsoft.com/office/drawing/2014/main" id="{158AC174-BAB3-7486-3C6C-4C8A32B8267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9934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5B67D6BA-0D97-2FB2-2A3C-DBD02F81E3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6572" y="2711508"/>
            <a:ext cx="6586999" cy="146059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D6CC10-A952-60F4-7812-A967F1C92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983C4E-858D-BC45-9F64-7D225EEFE9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80C0342E-3C1E-65F7-A379-F3E4723908E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30FAE914-0863-B407-6610-DD885156E13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Internal" hidden="1">
            <a:extLst>
              <a:ext uri="{FF2B5EF4-FFF2-40B4-BE49-F238E27FC236}">
                <a16:creationId xmlns:a16="http://schemas.microsoft.com/office/drawing/2014/main" id="{4641EEB0-9B10-AE9D-EF76-CCF9AFBC082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Public">
            <a:extLst>
              <a:ext uri="{FF2B5EF4-FFF2-40B4-BE49-F238E27FC236}">
                <a16:creationId xmlns:a16="http://schemas.microsoft.com/office/drawing/2014/main" id="{ED032143-5A76-C003-25C8-AE35040F846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1" name="Confidential" hidden="1">
            <a:extLst>
              <a:ext uri="{FF2B5EF4-FFF2-40B4-BE49-F238E27FC236}">
                <a16:creationId xmlns:a16="http://schemas.microsoft.com/office/drawing/2014/main" id="{87266405-F211-A58B-2E79-FDF2F951EDF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7671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306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arge Title +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5B67D6BA-0D97-2FB2-2A3C-DBD02F81E3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87499" y="366838"/>
            <a:ext cx="3033011" cy="672537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6B3680C-9243-16E9-159B-3DE694CAFE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902" y="5530876"/>
            <a:ext cx="3644898" cy="691856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 small title and use indent button to toggle to the next text style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613A8015-272B-9270-E912-E9896152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3075" y="2412000"/>
            <a:ext cx="6913146" cy="153888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5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Presentation headline title placeholder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72F6C27-4608-AEAC-6BAD-F686CC5B321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1996989"/>
            <a:ext cx="3800475" cy="332399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buNone/>
              <a:defRPr sz="24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Hitachi Group Company</a:t>
            </a:r>
          </a:p>
        </p:txBody>
      </p:sp>
      <p:sp>
        <p:nvSpPr>
          <p:cNvPr id="10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51878EFC-235A-518B-E5F4-940CA67996D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trictly" hidden="1">
            <a:extLst>
              <a:ext uri="{FF2B5EF4-FFF2-40B4-BE49-F238E27FC236}">
                <a16:creationId xmlns:a16="http://schemas.microsoft.com/office/drawing/2014/main" id="{FFC4052D-65AB-82C6-4143-BB4B4F03E37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Internal" hidden="1">
            <a:extLst>
              <a:ext uri="{FF2B5EF4-FFF2-40B4-BE49-F238E27FC236}">
                <a16:creationId xmlns:a16="http://schemas.microsoft.com/office/drawing/2014/main" id="{E50EC1EC-DB1A-C965-90B3-71CB6876B97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Public">
            <a:extLst>
              <a:ext uri="{FF2B5EF4-FFF2-40B4-BE49-F238E27FC236}">
                <a16:creationId xmlns:a16="http://schemas.microsoft.com/office/drawing/2014/main" id="{8194351E-129F-7B5A-A6A2-9F711A7B272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7" name="Confidential" hidden="1">
            <a:extLst>
              <a:ext uri="{FF2B5EF4-FFF2-40B4-BE49-F238E27FC236}">
                <a16:creationId xmlns:a16="http://schemas.microsoft.com/office/drawing/2014/main" id="{6E7B0D74-19E0-EABD-99BF-A97ECAC2F3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9399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&gt;Do not use layouts after this &gt;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B5DC6AD-EE67-DF6A-A939-1ACEC6D8902E}"/>
              </a:ext>
            </a:extLst>
          </p:cNvPr>
          <p:cNvSpPr/>
          <p:nvPr userDrawn="1"/>
        </p:nvSpPr>
        <p:spPr bwMode="white">
          <a:xfrm>
            <a:off x="179400" y="180000"/>
            <a:ext cx="11833200" cy="6498000"/>
          </a:xfrm>
          <a:prstGeom prst="rect">
            <a:avLst/>
          </a:pr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3B8730-9D2B-3782-3FB9-587D5A1874F1}"/>
              </a:ext>
            </a:extLst>
          </p:cNvPr>
          <p:cNvSpPr txBox="1"/>
          <p:nvPr userDrawn="1"/>
        </p:nvSpPr>
        <p:spPr>
          <a:xfrm>
            <a:off x="424567" y="4072881"/>
            <a:ext cx="5239712" cy="2542665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>
            <a:noAutofit/>
          </a:bodyPr>
          <a:lstStyle/>
          <a:p>
            <a:pPr rtl="0">
              <a:spcBef>
                <a:spcPts val="0"/>
              </a:spcBef>
            </a:pPr>
            <a:r>
              <a:rPr lang="it-IT" sz="18000" kern="1400" spc="-273">
                <a:solidFill>
                  <a:schemeClr val="bg1"/>
                </a:solidFill>
                <a:latin typeface="+mn-lt"/>
              </a:rPr>
              <a:t>u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A84B7C-99B7-DD33-CB4D-656015E92295}"/>
              </a:ext>
            </a:extLst>
          </p:cNvPr>
          <p:cNvSpPr txBox="1"/>
          <p:nvPr userDrawn="1"/>
        </p:nvSpPr>
        <p:spPr>
          <a:xfrm>
            <a:off x="422642" y="2046654"/>
            <a:ext cx="5239712" cy="2750482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>
            <a:noAutofit/>
          </a:bodyPr>
          <a:lstStyle/>
          <a:p>
            <a:pPr rtl="0">
              <a:spcBef>
                <a:spcPts val="0"/>
              </a:spcBef>
            </a:pPr>
            <a:r>
              <a:rPr lang="it-IT" sz="18000" kern="1400" spc="-273">
                <a:solidFill>
                  <a:schemeClr val="bg1"/>
                </a:solidFill>
                <a:latin typeface="+mn-lt"/>
              </a:rPr>
              <a:t>no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AAD249-FAAA-BDCD-2A99-1788F8238BA2}"/>
              </a:ext>
            </a:extLst>
          </p:cNvPr>
          <p:cNvSpPr txBox="1"/>
          <p:nvPr userDrawn="1"/>
        </p:nvSpPr>
        <p:spPr>
          <a:xfrm>
            <a:off x="422643" y="-25978"/>
            <a:ext cx="11143288" cy="2537115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>
            <a:noAutofit/>
          </a:bodyPr>
          <a:lstStyle/>
          <a:p>
            <a:pPr rtl="0">
              <a:spcBef>
                <a:spcPts val="0"/>
              </a:spcBef>
            </a:pPr>
            <a:r>
              <a:rPr lang="it-IT" sz="18000" kern="1400" spc="-273">
                <a:solidFill>
                  <a:schemeClr val="bg1"/>
                </a:solidFill>
                <a:latin typeface="+mn-lt"/>
              </a:rPr>
              <a:t>D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6D7DC1-0155-592A-2F3C-8553950B1F6F}"/>
              </a:ext>
            </a:extLst>
          </p:cNvPr>
          <p:cNvSpPr txBox="1"/>
          <p:nvPr userDrawn="1"/>
        </p:nvSpPr>
        <p:spPr>
          <a:xfrm>
            <a:off x="5837289" y="3429000"/>
            <a:ext cx="5875286" cy="24396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rtl="0"/>
            <a:r>
              <a:rPr lang="it-IT" sz="1600">
                <a:solidFill>
                  <a:schemeClr val="bg1"/>
                </a:solidFill>
                <a:latin typeface="+mn-lt"/>
              </a:rPr>
              <a:t>If you see any layouts after this one, please do not use them. These are not part of our new corporate templates.</a:t>
            </a:r>
          </a:p>
          <a:p>
            <a:pPr rtl="0"/>
            <a:r>
              <a:rPr lang="it-IT" sz="1600">
                <a:solidFill>
                  <a:schemeClr val="bg1"/>
                </a:solidFill>
                <a:latin typeface="+mn-lt"/>
              </a:rPr>
              <a:t>Due to PowerPoint standard copy/paste and our Brand Converter functionality, layouts from old template can appear. </a:t>
            </a:r>
            <a:br>
              <a:rPr lang="en-GB" sz="1600" dirty="0">
                <a:solidFill>
                  <a:schemeClr val="bg1"/>
                </a:solidFill>
              </a:rPr>
            </a:br>
            <a:br>
              <a:rPr lang="en-GB" sz="1600" dirty="0">
                <a:solidFill>
                  <a:schemeClr val="bg1"/>
                </a:solidFill>
              </a:rPr>
            </a:br>
            <a:r>
              <a:rPr lang="it-IT" sz="1600">
                <a:solidFill>
                  <a:schemeClr val="bg1"/>
                </a:solidFill>
                <a:latin typeface="+mn-lt"/>
              </a:rPr>
              <a:t>Also notice: </a:t>
            </a:r>
            <a:br>
              <a:rPr lang="en-GB" sz="1600" dirty="0">
                <a:solidFill>
                  <a:schemeClr val="bg1"/>
                </a:solidFill>
              </a:rPr>
            </a:br>
            <a:r>
              <a:rPr lang="it-IT" sz="1600">
                <a:solidFill>
                  <a:schemeClr val="bg1"/>
                </a:solidFill>
                <a:latin typeface="+mn-lt"/>
              </a:rPr>
              <a:t>If you used Brand converter to update your old presentation, these layouts will be updated in accordance to new Brand requirements. </a:t>
            </a:r>
            <a:r>
              <a:rPr lang="it-IT" sz="1600" b="1">
                <a:solidFill>
                  <a:schemeClr val="bg1"/>
                </a:solidFill>
                <a:latin typeface="+mn-lt"/>
              </a:rPr>
              <a:t>However, they are not to be used for further presentation creation! </a:t>
            </a:r>
          </a:p>
        </p:txBody>
      </p:sp>
    </p:spTree>
    <p:extLst>
      <p:ext uri="{BB962C8B-B14F-4D97-AF65-F5344CB8AC3E}">
        <p14:creationId xmlns:p14="http://schemas.microsoft.com/office/powerpoint/2010/main" val="14557838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166274" y="1325563"/>
            <a:ext cx="3133262" cy="4970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Noto Sans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Noto Sans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Noto Sans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Noto Sans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Noto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to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to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to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to Sans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600">
                <a:latin typeface="+mn-lt"/>
                <a:cs typeface="Noto Sans" panose="020B0502040504020204" pitchFamily="34" charset="0"/>
              </a:rPr>
              <a:t>PICTURES</a:t>
            </a:r>
            <a:br>
              <a:rPr lang="en-US" sz="900" dirty="0">
                <a:latin typeface="+mn-lt"/>
                <a:cs typeface="Noto Sans" panose="020B0502040504020204" pitchFamily="34" charset="0"/>
              </a:rPr>
            </a:b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nsert corporate picture from Templaf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1.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 Click the blue </a:t>
            </a:r>
            <a:r>
              <a:rPr lang="it-IT" sz="900" b="1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Templafy </a:t>
            </a:r>
            <a:r>
              <a:rPr lang="it-IT" sz="900" b="0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900" b="1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2. C</a:t>
            </a:r>
            <a:r>
              <a:rPr lang="it-IT" sz="900" b="0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lick the </a:t>
            </a:r>
            <a:r>
              <a:rPr lang="it-IT" sz="900" b="1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mages </a:t>
            </a:r>
            <a:r>
              <a:rPr lang="it-IT" sz="900" b="0" i="0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button</a:t>
            </a:r>
            <a:r>
              <a:rPr lang="it-IT" sz="900" b="0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 in the Templafy pane on the right side of the scre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da-DK" sz="900" b="0" baseline="0" noProof="1">
              <a:solidFill>
                <a:schemeClr val="tx1"/>
              </a:solidFill>
              <a:latin typeface="+mn-lt"/>
              <a:cs typeface="Noto Sans" panose="020B050204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900" b="1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nsert pictur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On slides with pictureplaceholder, click on the icon and choose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nsert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Crop pictur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1. 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Click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Crop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focus of the pictur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2. 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hold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SHIFT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dragging the corners of the picture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endParaRPr lang="en-US" altLang="da-DK" sz="900" b="0" noProof="1">
              <a:solidFill>
                <a:schemeClr val="tx1"/>
              </a:solidFill>
              <a:latin typeface="+mn-lt"/>
              <a:cs typeface="Noto Sans" panose="020B0502040504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HINT: 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right-click and choose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Noto Sans" panose="020B050204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600">
                <a:latin typeface="+mn-lt"/>
                <a:cs typeface="Noto Sans" panose="020B0502040504020204" pitchFamily="34" charset="0"/>
              </a:rPr>
              <a:t>GRIDLIN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900">
                <a:latin typeface="+mn-lt"/>
                <a:cs typeface="Noto Sans" panose="020B0502040504020204" pitchFamily="34" charset="0"/>
              </a:rPr>
              <a:t>Click the View tab and set tick mark next to Guid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900">
                <a:latin typeface="+mn-lt"/>
                <a:cs typeface="Noto Sans" panose="020B0502040504020204" pitchFamily="34" charset="0"/>
              </a:rPr>
              <a:t>HINT: Alt + F9 for quick view of guides</a:t>
            </a:r>
          </a:p>
        </p:txBody>
      </p: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39752" y="1331193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Noto Sans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Noto Sans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Noto Sans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Noto Sans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Noto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to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to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to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to Sans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600">
                <a:latin typeface="+mn-lt"/>
                <a:cs typeface="Noto Sans" panose="020B0502040504020204" pitchFamily="34" charset="0"/>
              </a:rPr>
              <a:t>TEXT STYLES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Use the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TAB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-key</a:t>
            </a:r>
            <a:r>
              <a:rPr lang="it-IT" sz="900" b="0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 to jump through levels. Click </a:t>
            </a:r>
            <a:r>
              <a:rPr lang="it-IT" sz="900" b="1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ENTER</a:t>
            </a:r>
            <a:r>
              <a:rPr lang="it-IT" sz="900" b="0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, then </a:t>
            </a:r>
            <a:r>
              <a:rPr lang="it-IT" sz="900" b="1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TAB</a:t>
            </a:r>
            <a:r>
              <a:rPr lang="it-IT" sz="900" b="0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 to switch from one level to the next level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it-IT" sz="900" b="0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To go back in levels use </a:t>
            </a:r>
            <a:r>
              <a:rPr lang="it-IT" sz="900" b="1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SHIFT-TAB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it-IT" sz="90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Alternatively,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ncrease</a:t>
            </a:r>
            <a:r>
              <a:rPr lang="it-IT" sz="900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 and </a:t>
            </a:r>
            <a:r>
              <a:rPr lang="it-IT" sz="900" b="1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Decrease</a:t>
            </a:r>
            <a:br>
              <a:rPr lang="en-US" sz="900" b="1" baseline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+mn-lt"/>
              <a:cs typeface="Noto Sans" panose="020B0502040504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HINT: 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1600">
                <a:latin typeface="+mn-lt"/>
                <a:cs typeface="Noto Sans" panose="020B0502040504020204" pitchFamily="34" charset="0"/>
              </a:rPr>
              <a:t>SLIDES &amp; LAYOUTS</a:t>
            </a:r>
            <a:br>
              <a:rPr lang="en-US" altLang="da-DK" sz="900" b="1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br>
              <a:rPr lang="en-US" altLang="da-DK" sz="900" b="1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Click on the menu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New Slide 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n the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Home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 tab to insert a new slide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900">
                <a:solidFill>
                  <a:srgbClr val="000000"/>
                </a:solidFill>
                <a:latin typeface="+mn-lt"/>
                <a:ea typeface="Noto Sans" panose="020B0502040504020204" pitchFamily="34" charset="0"/>
                <a:cs typeface="Noto Sans" panose="020B0502040504020204" pitchFamily="34" charset="0"/>
              </a:rPr>
              <a:t>Click on the arrow next to </a:t>
            </a:r>
            <a:r>
              <a:rPr lang="it-IT" sz="900" b="1">
                <a:solidFill>
                  <a:srgbClr val="000000"/>
                </a:solidFill>
                <a:latin typeface="+mn-lt"/>
                <a:ea typeface="Noto Sans" panose="020B0502040504020204" pitchFamily="34" charset="0"/>
                <a:cs typeface="Noto Sans" panose="020B0502040504020204" pitchFamily="34" charset="0"/>
              </a:rPr>
              <a:t>Layout</a:t>
            </a:r>
            <a:br>
              <a:rPr lang="en-US" sz="900" b="1" dirty="0">
                <a:solidFill>
                  <a:srgbClr val="000000"/>
                </a:solidFill>
                <a:latin typeface="+mn-lt"/>
                <a:ea typeface="Noto Sans" panose="020B0502040504020204" pitchFamily="34" charset="0"/>
                <a:cs typeface="Noto Sans" panose="020B0502040504020204" pitchFamily="34" charset="0"/>
              </a:rPr>
            </a:br>
            <a:r>
              <a:rPr lang="it-IT" sz="900">
                <a:solidFill>
                  <a:srgbClr val="000000"/>
                </a:solidFill>
                <a:latin typeface="+mn-lt"/>
                <a:ea typeface="Noto Sans" panose="020B0502040504020204" pitchFamily="34" charset="0"/>
                <a:cs typeface="Noto Sans" panose="020B0502040504020204" pitchFamily="34" charset="0"/>
              </a:rPr>
              <a:t>to view a dropdown menu of possible slide layouts</a:t>
            </a: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br>
              <a:rPr lang="en-US" altLang="da-DK" sz="900" b="0" baseline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it-IT" sz="90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Click the </a:t>
            </a:r>
            <a:r>
              <a:rPr lang="it-IT" sz="900" b="1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Reset </a:t>
            </a:r>
            <a:r>
              <a:rPr lang="it-IT" sz="90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menu to reset position, size</a:t>
            </a:r>
            <a:r>
              <a:rPr lang="it-IT" sz="900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r>
              <a:rPr lang="it-IT" sz="900" baseline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slide placeholders to their default setting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chemeClr val="tx1"/>
              </a:solidFill>
              <a:latin typeface="+mn-lt"/>
              <a:cs typeface="Noto Sans" panose="020B0502040504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59631" y="3040397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60172" y="2317214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901" t="45142" r="62601" b="9046"/>
          <a:stretch/>
        </p:blipFill>
        <p:spPr>
          <a:xfrm>
            <a:off x="7419018" y="2574357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866053" y="4030949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866053" y="5359102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499672" y="36292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645698" y="1325563"/>
            <a:ext cx="2787648" cy="424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Noto Sans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Noto Sans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Noto Sans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Noto Sans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Noto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to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to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to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Noto Sans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600">
                <a:latin typeface="+mn-lt"/>
                <a:cs typeface="Noto Sans" panose="020B0502040504020204" pitchFamily="34" charset="0"/>
              </a:rPr>
              <a:t>COVER SLID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900" b="0" kern="1200">
                <a:solidFill>
                  <a:schemeClr val="tx1"/>
                </a:solidFill>
                <a:latin typeface="+mn-lt"/>
                <a:ea typeface="+mn-ea"/>
                <a:cs typeface="Noto Sans" panose="020B0502040504020204" pitchFamily="34" charset="0"/>
              </a:rPr>
              <a:t>Once you have created a presentation in Templafy, it is possible to choose which type of </a:t>
            </a:r>
            <a:r>
              <a:rPr lang="it-IT" sz="900" b="1" kern="1200">
                <a:solidFill>
                  <a:schemeClr val="tx1"/>
                </a:solidFill>
                <a:latin typeface="+mn-lt"/>
                <a:ea typeface="+mn-ea"/>
                <a:cs typeface="Noto Sans" panose="020B0502040504020204" pitchFamily="34" charset="0"/>
              </a:rPr>
              <a:t>Cover Slide </a:t>
            </a:r>
            <a:r>
              <a:rPr lang="it-IT" sz="900" b="0" kern="1200">
                <a:solidFill>
                  <a:schemeClr val="tx1"/>
                </a:solidFill>
                <a:latin typeface="+mn-lt"/>
                <a:ea typeface="+mn-ea"/>
                <a:cs typeface="Noto Sans" panose="020B0502040504020204" pitchFamily="34" charset="0"/>
              </a:rPr>
              <a:t>you want to use in your presen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pl-PL" sz="900" b="0" kern="1200" dirty="0">
              <a:solidFill>
                <a:schemeClr val="tx1"/>
              </a:solidFill>
              <a:latin typeface="+mn-lt"/>
              <a:ea typeface="+mn-ea"/>
              <a:cs typeface="Noto Sans" panose="020B050204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600">
                <a:latin typeface="+mn-lt"/>
                <a:cs typeface="Noto Sans" panose="020B0502040504020204" pitchFamily="34" charset="0"/>
              </a:rPr>
              <a:t>HEADER &amp; FOOTER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Do this at the very end to apply the changes on all slides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Click on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Header and Footer 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n the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nsert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 tab (write the desired text)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Click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Apply to All 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or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Apply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chemeClr val="tx1"/>
              </a:solidFill>
              <a:latin typeface="+mn-lt"/>
              <a:cs typeface="Noto Sans" panose="020B050204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600">
                <a:latin typeface="+mn-lt"/>
                <a:cs typeface="Noto Sans" panose="020B0502040504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Insert predefined slides and elements from the Templafy button. Choose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Slides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 and </a:t>
            </a:r>
            <a:r>
              <a:rPr lang="it-IT" sz="900" b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Slide elements </a:t>
            </a:r>
            <a:r>
              <a:rPr lang="it-IT" sz="900" b="0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  <a:t>from the buttons in the Templafy pane on the right side of the screen</a:t>
            </a:r>
            <a:br>
              <a:rPr lang="en-US" altLang="da-DK" sz="900" b="0" noProof="1">
                <a:solidFill>
                  <a:schemeClr val="tx1"/>
                </a:solidFill>
                <a:latin typeface="+mn-lt"/>
                <a:cs typeface="Noto Sans" panose="020B0502040504020204" pitchFamily="34" charset="0"/>
              </a:rPr>
            </a:br>
            <a:endParaRPr lang="en-US" altLang="da-DK" sz="900" b="0" noProof="1">
              <a:solidFill>
                <a:schemeClr val="tx1"/>
              </a:solidFill>
              <a:latin typeface="+mn-lt"/>
              <a:cs typeface="Noto Sans" panose="020B050204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da-DK" sz="900" b="1" noProof="1">
              <a:solidFill>
                <a:schemeClr val="tx1"/>
              </a:solidFill>
              <a:latin typeface="+mn-lt"/>
              <a:cs typeface="Noto Sans" panose="020B0502040504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>
            <a:spLocks/>
          </p:cNvSpPr>
          <p:nvPr userDrawn="1"/>
        </p:nvSpPr>
        <p:spPr>
          <a:xfrm>
            <a:off x="469899" y="698500"/>
            <a:ext cx="7445375" cy="304699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spAutoFit/>
          </a:bodyPr>
          <a:lstStyle/>
          <a:p>
            <a:pPr algn="l" rtl="0">
              <a:lnSpc>
                <a:spcPct val="90000"/>
              </a:lnSpc>
            </a:pPr>
            <a:r>
              <a:rPr lang="it-IT" sz="2200" b="0" i="0" u="none" strike="noStrike">
                <a:solidFill>
                  <a:schemeClr val="tx1">
                    <a:lumMod val="100000"/>
                  </a:schemeClr>
                </a:solidFill>
                <a:latin typeface="+mn-lt"/>
                <a:cs typeface="Noto Sans" panose="020B0502040504020204" pitchFamily="34" charset="0"/>
              </a:rPr>
              <a:t>TIPS &amp; TRICKS - YOUR USER GUID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66052" y="4794561"/>
            <a:ext cx="475428" cy="176762"/>
          </a:xfrm>
          <a:prstGeom prst="rect">
            <a:avLst/>
          </a:prstGeom>
        </p:spPr>
      </p:pic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334282" y="2246092"/>
            <a:ext cx="378293" cy="54336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5475283-224A-4A5E-837B-37AEBD3B3B2F}"/>
              </a:ext>
            </a:extLst>
          </p:cNvPr>
          <p:cNvSpPr txBox="1"/>
          <p:nvPr userDrawn="1"/>
        </p:nvSpPr>
        <p:spPr>
          <a:xfrm>
            <a:off x="7915275" y="6400677"/>
            <a:ext cx="3837188" cy="2620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rtl="0"/>
            <a:r>
              <a:rPr lang="it-IT" sz="900" cap="all" baseline="0">
                <a:solidFill>
                  <a:srgbClr val="FF0000"/>
                </a:solidFill>
                <a:latin typeface="+mn-lt"/>
              </a:rPr>
              <a:t>This slide is to be deleted from the final present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58ACB1-7BF7-5681-4345-5D6342824C3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63740" y="1441920"/>
            <a:ext cx="384188" cy="627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1358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Co Bra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F063A1-8C8A-7FBB-CF2B-92F1187A4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3075" y="2412000"/>
            <a:ext cx="7028556" cy="153888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Presentation headline title placeholder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B67D6BA-0D97-2FB2-2A3C-DBD02F81E3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723" y="366838"/>
            <a:ext cx="3033011" cy="672537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1748F4E-4BDF-C0D4-341C-3978098D480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1996989"/>
            <a:ext cx="3800475" cy="332399"/>
          </a:xfr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buNone/>
              <a:defRPr sz="24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Hitachi Group Compan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6B3680C-9243-16E9-159B-3DE694CAFE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5327743"/>
            <a:ext cx="2692400" cy="894989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297F8AEA-5901-7D8C-CA22-D31A4B65C2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4750" y="5327743"/>
            <a:ext cx="2692400" cy="894989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D3CBF09-0A90-2A4D-DEEE-D819D513DD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6425" y="5327743"/>
            <a:ext cx="2692400" cy="894989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10000"/>
              </a:lnSpc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600"/>
              </a:spcAft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108000">
              <a:defRPr sz="1200">
                <a:solidFill>
                  <a:schemeClr val="bg1"/>
                </a:solidFill>
              </a:defRPr>
            </a:lvl3pPr>
            <a:lvl4pPr marL="216000"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small title and use indent button to toggle to the next text style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9C50D13-DA21-0EFC-6D9C-29D0FC2DF0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7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56EC8D89-49E3-F6E2-EF85-2863D58620A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trictly" hidden="1">
            <a:extLst>
              <a:ext uri="{FF2B5EF4-FFF2-40B4-BE49-F238E27FC236}">
                <a16:creationId xmlns:a16="http://schemas.microsoft.com/office/drawing/2014/main" id="{475D07D5-F167-092F-1589-70490935F6B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Internal" hidden="1">
            <a:extLst>
              <a:ext uri="{FF2B5EF4-FFF2-40B4-BE49-F238E27FC236}">
                <a16:creationId xmlns:a16="http://schemas.microsoft.com/office/drawing/2014/main" id="{6707E6D2-1953-DF67-AC3B-45EE2DFE63B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Public">
            <a:extLst>
              <a:ext uri="{FF2B5EF4-FFF2-40B4-BE49-F238E27FC236}">
                <a16:creationId xmlns:a16="http://schemas.microsoft.com/office/drawing/2014/main" id="{23495CC6-F356-2526-936C-1D986378C58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4" name="Confidential" hidden="1">
            <a:extLst>
              <a:ext uri="{FF2B5EF4-FFF2-40B4-BE49-F238E27FC236}">
                <a16:creationId xmlns:a16="http://schemas.microsoft.com/office/drawing/2014/main" id="{EABDCEB9-5468-0959-63A8-15AF206E37A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3749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come Lar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F063A1-8C8A-7FBB-CF2B-92F1187A4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3075" y="730032"/>
            <a:ext cx="7815518" cy="1585375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3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Welco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C81E30-A585-D569-64FB-64E3E8A9E8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9900" y="2517775"/>
            <a:ext cx="3644900" cy="32972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FF4D0DFA-8BFB-5A03-0F75-49137D828FD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7B2A9FF-F28A-4E9A-E122-18038B302D8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BB952730-4D99-4FA3-5196-7E35582C7F3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893A795-58FD-B9F5-9720-3946ADDDF63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7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851FA15A-1298-BDC0-545B-F0B7F0E8999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Strictly" hidden="1">
            <a:extLst>
              <a:ext uri="{FF2B5EF4-FFF2-40B4-BE49-F238E27FC236}">
                <a16:creationId xmlns:a16="http://schemas.microsoft.com/office/drawing/2014/main" id="{EE28F91C-D667-A767-C45D-4318C9BDDA7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Internal" hidden="1">
            <a:extLst>
              <a:ext uri="{FF2B5EF4-FFF2-40B4-BE49-F238E27FC236}">
                <a16:creationId xmlns:a16="http://schemas.microsoft.com/office/drawing/2014/main" id="{C8E362A8-44BB-775C-28EA-00E8CDE1D87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Public">
            <a:extLst>
              <a:ext uri="{FF2B5EF4-FFF2-40B4-BE49-F238E27FC236}">
                <a16:creationId xmlns:a16="http://schemas.microsoft.com/office/drawing/2014/main" id="{48C18BC2-15B5-D527-030B-E9F8FA57493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9" name="Confidential" hidden="1">
            <a:extLst>
              <a:ext uri="{FF2B5EF4-FFF2-40B4-BE49-F238E27FC236}">
                <a16:creationId xmlns:a16="http://schemas.microsoft.com/office/drawing/2014/main" id="{FA647F6C-8B25-50B0-4C35-5FEFC0951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61338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F063A1-8C8A-7FBB-CF2B-92F1187A4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9901" y="738043"/>
            <a:ext cx="4591050" cy="868507"/>
          </a:xfrm>
        </p:spPr>
        <p:txBody>
          <a:bodyPr anchor="t" anchorCtr="0">
            <a:spAutoFit/>
          </a:bodyPr>
          <a:lstStyle>
            <a:lvl1pPr>
              <a:lnSpc>
                <a:spcPct val="80000"/>
              </a:lnSpc>
              <a:defRPr sz="70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Welcom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FF93321-FBDB-0E4E-988D-A3190F1B249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73075" y="403200"/>
            <a:ext cx="4591050" cy="206339"/>
          </a:xfrm>
        </p:spPr>
        <p:txBody>
          <a:bodyPr wrap="square">
            <a:sp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Running Header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1EABCD1-A051-8271-D0B9-5943651E38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9900" y="2060575"/>
            <a:ext cx="4591050" cy="136525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indent="-216000">
              <a:defRPr sz="1800">
                <a:solidFill>
                  <a:schemeClr val="tx1"/>
                </a:solidFill>
              </a:defRPr>
            </a:lvl2pPr>
            <a:lvl3pPr indent="-216000">
              <a:defRPr sz="1800">
                <a:solidFill>
                  <a:schemeClr val="tx1"/>
                </a:solidFill>
              </a:defRPr>
            </a:lvl3pPr>
            <a:lvl4pPr indent="-216000"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A7EEA692-4F4A-ACB2-6DBC-A66FF0260BC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2781FEE2-C283-AD06-CEAC-AB041C6429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57935C2-4323-A900-CF78-4166B38F4A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3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7723CF05-31CB-1B05-B335-7D646E7DE20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Strictly" hidden="1">
            <a:extLst>
              <a:ext uri="{FF2B5EF4-FFF2-40B4-BE49-F238E27FC236}">
                <a16:creationId xmlns:a16="http://schemas.microsoft.com/office/drawing/2014/main" id="{5448FBCB-109F-65AA-4B60-3FB4C219715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Internal" hidden="1">
            <a:extLst>
              <a:ext uri="{FF2B5EF4-FFF2-40B4-BE49-F238E27FC236}">
                <a16:creationId xmlns:a16="http://schemas.microsoft.com/office/drawing/2014/main" id="{D6EFDE23-618A-5E10-1B5B-2317126DC7B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Public">
            <a:extLst>
              <a:ext uri="{FF2B5EF4-FFF2-40B4-BE49-F238E27FC236}">
                <a16:creationId xmlns:a16="http://schemas.microsoft.com/office/drawing/2014/main" id="{E7BD77D2-2D6D-D1E6-7CB7-FB82831E8D8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9" name="Confidential" hidden="1">
            <a:extLst>
              <a:ext uri="{FF2B5EF4-FFF2-40B4-BE49-F238E27FC236}">
                <a16:creationId xmlns:a16="http://schemas.microsoft.com/office/drawing/2014/main" id="{EA8B44E0-0F62-7C3E-4BEC-1BD3ED80D6F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2821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/Agenda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C9A49A1C-5717-E1EF-8FE4-CAC1D563F2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9263" y="1606550"/>
            <a:ext cx="3636500" cy="464230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0"/>
              </a:spcAft>
              <a:buNone/>
              <a:tabLst>
                <a:tab pos="349250" algn="l"/>
              </a:tabLst>
              <a:defRPr sz="1645">
                <a:solidFill>
                  <a:schemeClr val="bg1"/>
                </a:solidFill>
                <a:latin typeface="+mn-lt"/>
              </a:defRPr>
            </a:lvl2pPr>
            <a:lvl3pPr marL="108000">
              <a:defRPr sz="800">
                <a:solidFill>
                  <a:schemeClr val="bg1"/>
                </a:solidFill>
              </a:defRPr>
            </a:lvl3pPr>
            <a:lvl4pPr marL="216000"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 here</a:t>
            </a:r>
          </a:p>
          <a:p>
            <a:pPr lvl="1"/>
            <a:r>
              <a:rPr lang="en-GB"/>
              <a:t>0000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BBC678B-7561-911A-B801-DAEC180FB3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75612" y="1606550"/>
            <a:ext cx="3646487" cy="464230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0"/>
              </a:spcAft>
              <a:buNone/>
              <a:tabLst>
                <a:tab pos="349250" algn="l"/>
              </a:tabLst>
              <a:defRPr sz="1645">
                <a:solidFill>
                  <a:schemeClr val="bg1"/>
                </a:solidFill>
                <a:latin typeface="+mn-lt"/>
              </a:defRPr>
            </a:lvl2pPr>
            <a:lvl3pPr marL="108000">
              <a:defRPr sz="800">
                <a:solidFill>
                  <a:schemeClr val="bg1"/>
                </a:solidFill>
              </a:defRPr>
            </a:lvl3pPr>
            <a:lvl4pPr marL="216000"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 here</a:t>
            </a:r>
          </a:p>
          <a:p>
            <a:pPr lvl="1"/>
            <a:r>
              <a:rPr lang="en-GB"/>
              <a:t>0000</a:t>
            </a:r>
          </a:p>
        </p:txBody>
      </p:sp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B226625D-6089-E949-7BE0-DB202D19AD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00" y="1606550"/>
            <a:ext cx="3636500" cy="464230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0"/>
              </a:spcAft>
              <a:buNone/>
              <a:tabLst>
                <a:tab pos="349250" algn="l"/>
              </a:tabLst>
              <a:defRPr sz="1645">
                <a:solidFill>
                  <a:schemeClr val="bg1"/>
                </a:solidFill>
                <a:latin typeface="+mn-lt"/>
              </a:defRPr>
            </a:lvl2pPr>
            <a:lvl3pPr marL="108000">
              <a:defRPr sz="800">
                <a:solidFill>
                  <a:schemeClr val="bg1"/>
                </a:solidFill>
              </a:defRPr>
            </a:lvl3pPr>
            <a:lvl4pPr marL="216000"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 here</a:t>
            </a:r>
          </a:p>
          <a:p>
            <a:pPr lvl="1"/>
            <a:r>
              <a:rPr lang="en-GB"/>
              <a:t>0000</a:t>
            </a:r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ACAF108F-0AF5-8848-D347-7B54473AEE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3075" y="695477"/>
            <a:ext cx="2692400" cy="457048"/>
          </a:xfrm>
        </p:spPr>
        <p:txBody>
          <a:bodyPr/>
          <a:lstStyle>
            <a:lvl1pPr>
              <a:defRPr sz="33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ontent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E6BB74A-E9BC-FC78-66BF-E0EB36268A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09407FB2-FCD2-122D-0711-B2C77B3F78A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9B5BC903-2C08-3B26-A5C7-3328B242049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Internal" hidden="1">
            <a:extLst>
              <a:ext uri="{FF2B5EF4-FFF2-40B4-BE49-F238E27FC236}">
                <a16:creationId xmlns:a16="http://schemas.microsoft.com/office/drawing/2014/main" id="{BF6AABE6-D534-3B52-3FFE-F78BCBAC098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Public">
            <a:extLst>
              <a:ext uri="{FF2B5EF4-FFF2-40B4-BE49-F238E27FC236}">
                <a16:creationId xmlns:a16="http://schemas.microsoft.com/office/drawing/2014/main" id="{2CD7A9EB-6593-B92D-EB45-AD03562C296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5" name="Confidential" hidden="1">
            <a:extLst>
              <a:ext uri="{FF2B5EF4-FFF2-40B4-BE49-F238E27FC236}">
                <a16:creationId xmlns:a16="http://schemas.microsoft.com/office/drawing/2014/main" id="{896DB139-139D-3000-18B9-E631B24E9EB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5724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/Agenda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AC5D1-F941-4BC0-9D59-22212601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0B1F6-F5F9-C1D4-48E6-D01CBFAA2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BBC678B-7561-911A-B801-DAEC180FB3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5376" y="711641"/>
            <a:ext cx="5546724" cy="464230"/>
          </a:xfr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spcBef>
                <a:spcPts val="1200"/>
              </a:spcBef>
              <a:buNone/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spcAft>
                <a:spcPts val="0"/>
              </a:spcAft>
              <a:buNone/>
              <a:tabLst>
                <a:tab pos="349250" algn="l"/>
              </a:tabLst>
              <a:defRPr sz="1645">
                <a:solidFill>
                  <a:schemeClr val="tx1"/>
                </a:solidFill>
                <a:latin typeface="+mn-lt"/>
              </a:defRPr>
            </a:lvl2pPr>
            <a:lvl3pPr marL="108000">
              <a:defRPr sz="800">
                <a:solidFill>
                  <a:schemeClr val="bg1"/>
                </a:solidFill>
              </a:defRPr>
            </a:lvl3pPr>
            <a:lvl4pPr marL="216000"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 here</a:t>
            </a:r>
          </a:p>
          <a:p>
            <a:pPr lvl="1"/>
            <a:r>
              <a:rPr lang="en-GB"/>
              <a:t>0000</a:t>
            </a:r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AD3B7543-DF1F-F195-D162-8D6D4BD9C9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3075" y="695477"/>
            <a:ext cx="2692400" cy="457048"/>
          </a:xfrm>
        </p:spPr>
        <p:txBody>
          <a:bodyPr/>
          <a:lstStyle>
            <a:lvl1pPr>
              <a:defRPr sz="33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/>
              <a:t>Content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913B382-8170-44D7-67DE-41AB57145E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8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E62615E7-C10E-93C2-AA47-493B736859B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864600" y="6336000"/>
            <a:ext cx="285432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Hitachi Energy Ltd 2025. All rights reserved</a:t>
            </a:r>
            <a:endParaRPr kumimoji="0" lang="it-IT" sz="800" b="1" i="0" u="none" strike="noStrike" kern="1200" cap="none" spc="-1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Strictly" hidden="1">
            <a:extLst>
              <a:ext uri="{FF2B5EF4-FFF2-40B4-BE49-F238E27FC236}">
                <a16:creationId xmlns:a16="http://schemas.microsoft.com/office/drawing/2014/main" id="{130512FA-D5AE-1879-349F-B047C4871AE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Internal" hidden="1">
            <a:extLst>
              <a:ext uri="{FF2B5EF4-FFF2-40B4-BE49-F238E27FC236}">
                <a16:creationId xmlns:a16="http://schemas.microsoft.com/office/drawing/2014/main" id="{E5A109E9-8DCC-58FA-072C-98971A172BF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Public">
            <a:extLst>
              <a:ext uri="{FF2B5EF4-FFF2-40B4-BE49-F238E27FC236}">
                <a16:creationId xmlns:a16="http://schemas.microsoft.com/office/drawing/2014/main" id="{61B91051-B6DB-3A0D-41FC-EE1BAD36D1A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800" b="1" i="0" u="none" strike="noStrike" kern="1200" cap="none" spc="-1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blic</a:t>
            </a:r>
          </a:p>
        </p:txBody>
      </p:sp>
      <p:sp>
        <p:nvSpPr>
          <p:cNvPr id="10" name="Confidential" hidden="1">
            <a:extLst>
              <a:ext uri="{FF2B5EF4-FFF2-40B4-BE49-F238E27FC236}">
                <a16:creationId xmlns:a16="http://schemas.microsoft.com/office/drawing/2014/main" id="{526E60A4-A662-5646-482D-E08C9FFAC5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63887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3A2859-6C9C-E5B0-A3D4-701F3F2900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899" y="698500"/>
            <a:ext cx="7445375" cy="3046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36F459-A3F6-C3D9-5334-6DC2CAF0A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075" y="1520825"/>
            <a:ext cx="11249025" cy="4638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3E64D-C0FA-D86C-8A69-4BC530F559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50425" y="6336000"/>
            <a:ext cx="1971675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3D94A7-1278-5685-B031-C22FE5792A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2000" y="6336000"/>
            <a:ext cx="6943275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itachi Group Company   |   Presentation headlin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C548AB-2006-AC9E-3250-04C844CB0D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3075" y="6336000"/>
            <a:ext cx="4320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29F4BC05-462B-4F19-BE6B-A1043C81A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Workspace [Presentation]" hidden="1">
            <a:extLst>
              <a:ext uri="{FF2B5EF4-FFF2-40B4-BE49-F238E27FC236}">
                <a16:creationId xmlns:a16="http://schemas.microsoft.com/office/drawing/2014/main" id="{11E81485-2C2B-7DF5-4CEE-BF97FB646E2C}"/>
              </a:ext>
            </a:extLst>
          </p:cNvPr>
          <p:cNvSpPr>
            <a:spLocks/>
          </p:cNvSpPr>
          <p:nvPr userDrawn="1"/>
        </p:nvSpPr>
        <p:spPr>
          <a:xfrm>
            <a:off x="471600" y="698399"/>
            <a:ext cx="11248800" cy="5461200"/>
          </a:xfrm>
          <a:prstGeom prst="rect">
            <a:avLst/>
          </a:prstGeom>
          <a:noFill/>
          <a:ln w="12700" cap="flat" cmpd="sng" algn="ctr">
            <a:solidFill>
              <a:srgbClr val="D24726"/>
            </a:solidFill>
            <a:prstDash val="lg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8" name="Workspace [Presentation]" hidden="1">
            <a:extLst>
              <a:ext uri="{FF2B5EF4-FFF2-40B4-BE49-F238E27FC236}">
                <a16:creationId xmlns:a16="http://schemas.microsoft.com/office/drawing/2014/main" id="{418B3092-5C00-A348-AA7D-211146488CC6}"/>
              </a:ext>
            </a:extLst>
          </p:cNvPr>
          <p:cNvSpPr>
            <a:spLocks/>
          </p:cNvSpPr>
          <p:nvPr userDrawn="1"/>
        </p:nvSpPr>
        <p:spPr>
          <a:xfrm>
            <a:off x="471600" y="698399"/>
            <a:ext cx="11248800" cy="5461200"/>
          </a:xfrm>
          <a:prstGeom prst="rect">
            <a:avLst/>
          </a:prstGeom>
          <a:noFill/>
          <a:ln w="12700" cap="flat" cmpd="sng" algn="ctr">
            <a:solidFill>
              <a:srgbClr val="D24726"/>
            </a:solidFill>
            <a:prstDash val="lg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85166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49" r:id="rId3"/>
    <p:sldLayoutId id="2147483715" r:id="rId4"/>
    <p:sldLayoutId id="2147483714" r:id="rId5"/>
    <p:sldLayoutId id="2147483679" r:id="rId6"/>
    <p:sldLayoutId id="2147483716" r:id="rId7"/>
    <p:sldLayoutId id="2147483706" r:id="rId8"/>
    <p:sldLayoutId id="2147483717" r:id="rId9"/>
    <p:sldLayoutId id="2147483718" r:id="rId10"/>
    <p:sldLayoutId id="2147483680" r:id="rId11"/>
    <p:sldLayoutId id="2147483719" r:id="rId12"/>
    <p:sldLayoutId id="2147483822" r:id="rId13"/>
    <p:sldLayoutId id="2147483720" r:id="rId14"/>
    <p:sldLayoutId id="2147483722" r:id="rId15"/>
    <p:sldLayoutId id="2147483820" r:id="rId16"/>
    <p:sldLayoutId id="2147483721" r:id="rId17"/>
    <p:sldLayoutId id="2147483708" r:id="rId18"/>
    <p:sldLayoutId id="2147483821" r:id="rId19"/>
    <p:sldLayoutId id="2147483696" r:id="rId20"/>
    <p:sldLayoutId id="2147483691" r:id="rId21"/>
    <p:sldLayoutId id="2147483723" r:id="rId22"/>
    <p:sldLayoutId id="2147483694" r:id="rId23"/>
    <p:sldLayoutId id="2147483695" r:id="rId24"/>
    <p:sldLayoutId id="2147483705" r:id="rId25"/>
    <p:sldLayoutId id="2147483681" r:id="rId26"/>
    <p:sldLayoutId id="2147483688" r:id="rId27"/>
    <p:sldLayoutId id="2147483685" r:id="rId28"/>
    <p:sldLayoutId id="2147483704" r:id="rId29"/>
    <p:sldLayoutId id="2147483686" r:id="rId30"/>
    <p:sldLayoutId id="2147483683" r:id="rId31"/>
    <p:sldLayoutId id="2147483707" r:id="rId32"/>
    <p:sldLayoutId id="2147483724" r:id="rId33"/>
    <p:sldLayoutId id="2147483725" r:id="rId34"/>
    <p:sldLayoutId id="2147483726" r:id="rId35"/>
    <p:sldLayoutId id="2147483727" r:id="rId36"/>
    <p:sldLayoutId id="2147483728" r:id="rId37"/>
    <p:sldLayoutId id="2147483729" r:id="rId38"/>
    <p:sldLayoutId id="2147483730" r:id="rId39"/>
    <p:sldLayoutId id="2147483816" r:id="rId40"/>
    <p:sldLayoutId id="2147483823" r:id="rId4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10000"/>
        </a:lnSpc>
        <a:spcBef>
          <a:spcPts val="600"/>
        </a:spcBef>
        <a:buClrTx/>
        <a:buFont typeface="Hitachi Sans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10000"/>
        </a:lnSpc>
        <a:spcBef>
          <a:spcPts val="0"/>
        </a:spcBef>
        <a:buClrTx/>
        <a:buFont typeface="Hitachi Sans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10000"/>
        </a:lnSpc>
        <a:spcBef>
          <a:spcPts val="0"/>
        </a:spcBef>
        <a:buClrTx/>
        <a:buFont typeface="Hitachi Sans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10000"/>
        </a:lnSpc>
        <a:spcBef>
          <a:spcPts val="0"/>
        </a:spcBef>
        <a:buClrTx/>
        <a:buFont typeface="Hitachi Sans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Hitachi Sans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12" userDrawn="1">
          <p15:clr>
            <a:srgbClr val="F26B43"/>
          </p15:clr>
        </p15:guide>
        <p15:guide id="2" pos="296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1298" userDrawn="1">
          <p15:clr>
            <a:srgbClr val="F26B43"/>
          </p15:clr>
        </p15:guide>
        <p15:guide id="5" orient="horz" pos="726" userDrawn="1">
          <p15:clr>
            <a:srgbClr val="F26B43"/>
          </p15:clr>
        </p15:guide>
        <p15:guide id="6" pos="796" userDrawn="1">
          <p15:clr>
            <a:srgbClr val="F26B43"/>
          </p15:clr>
        </p15:guide>
        <p15:guide id="7" pos="896" userDrawn="1">
          <p15:clr>
            <a:srgbClr val="F26B43"/>
          </p15:clr>
        </p15:guide>
        <p15:guide id="8" pos="1396" userDrawn="1">
          <p15:clr>
            <a:srgbClr val="F26B43"/>
          </p15:clr>
        </p15:guide>
        <p15:guide id="9" pos="1496" userDrawn="1">
          <p15:clr>
            <a:srgbClr val="F26B43"/>
          </p15:clr>
        </p15:guide>
        <p15:guide id="10" pos="1994" userDrawn="1">
          <p15:clr>
            <a:srgbClr val="F26B43"/>
          </p15:clr>
        </p15:guide>
        <p15:guide id="11" pos="2094" userDrawn="1">
          <p15:clr>
            <a:srgbClr val="F26B43"/>
          </p15:clr>
        </p15:guide>
        <p15:guide id="12" pos="2592" userDrawn="1">
          <p15:clr>
            <a:srgbClr val="F26B43"/>
          </p15:clr>
        </p15:guide>
        <p15:guide id="13" pos="2692" userDrawn="1">
          <p15:clr>
            <a:srgbClr val="F26B43"/>
          </p15:clr>
        </p15:guide>
        <p15:guide id="14" pos="3190" userDrawn="1">
          <p15:clr>
            <a:srgbClr val="F26B43"/>
          </p15:clr>
        </p15:guide>
        <p15:guide id="15" pos="3290" userDrawn="1">
          <p15:clr>
            <a:srgbClr val="F26B43"/>
          </p15:clr>
        </p15:guide>
        <p15:guide id="16" pos="3790" userDrawn="1">
          <p15:clr>
            <a:srgbClr val="F26B43"/>
          </p15:clr>
        </p15:guide>
        <p15:guide id="17" pos="3890" userDrawn="1">
          <p15:clr>
            <a:srgbClr val="F26B43"/>
          </p15:clr>
        </p15:guide>
        <p15:guide id="18" pos="4388" userDrawn="1">
          <p15:clr>
            <a:srgbClr val="F26B43"/>
          </p15:clr>
        </p15:guide>
        <p15:guide id="19" pos="4488" userDrawn="1">
          <p15:clr>
            <a:srgbClr val="F26B43"/>
          </p15:clr>
        </p15:guide>
        <p15:guide id="20" pos="4986" userDrawn="1">
          <p15:clr>
            <a:srgbClr val="F26B43"/>
          </p15:clr>
        </p15:guide>
        <p15:guide id="21" pos="5086" userDrawn="1">
          <p15:clr>
            <a:srgbClr val="F26B43"/>
          </p15:clr>
        </p15:guide>
        <p15:guide id="22" pos="5584" userDrawn="1">
          <p15:clr>
            <a:srgbClr val="F26B43"/>
          </p15:clr>
        </p15:guide>
        <p15:guide id="23" pos="5684" userDrawn="1">
          <p15:clr>
            <a:srgbClr val="F26B43"/>
          </p15:clr>
        </p15:guide>
        <p15:guide id="24" pos="6182" userDrawn="1">
          <p15:clr>
            <a:srgbClr val="F26B43"/>
          </p15:clr>
        </p15:guide>
        <p15:guide id="25" pos="6282" userDrawn="1">
          <p15:clr>
            <a:srgbClr val="F26B43"/>
          </p15:clr>
        </p15:guide>
        <p15:guide id="26" pos="6780" userDrawn="1">
          <p15:clr>
            <a:srgbClr val="F26B43"/>
          </p15:clr>
        </p15:guide>
        <p15:guide id="27" pos="6880" userDrawn="1">
          <p15:clr>
            <a:srgbClr val="F26B43"/>
          </p15:clr>
        </p15:guide>
        <p15:guide id="28" orient="horz" pos="1586" userDrawn="1">
          <p15:clr>
            <a:srgbClr val="F26B43"/>
          </p15:clr>
        </p15:guide>
        <p15:guide id="29" orient="horz" pos="1872" userDrawn="1">
          <p15:clr>
            <a:srgbClr val="F26B43"/>
          </p15:clr>
        </p15:guide>
        <p15:guide id="30" orient="horz" pos="2158" userDrawn="1">
          <p15:clr>
            <a:srgbClr val="F26B43"/>
          </p15:clr>
        </p15:guide>
        <p15:guide id="31" orient="horz" pos="2446" userDrawn="1">
          <p15:clr>
            <a:srgbClr val="F26B43"/>
          </p15:clr>
        </p15:guide>
        <p15:guide id="32" orient="horz" pos="2732" userDrawn="1">
          <p15:clr>
            <a:srgbClr val="F26B43"/>
          </p15:clr>
        </p15:guide>
        <p15:guide id="33" orient="horz" pos="3018" userDrawn="1">
          <p15:clr>
            <a:srgbClr val="F26B43"/>
          </p15:clr>
        </p15:guide>
        <p15:guide id="34" orient="horz" pos="3306" userDrawn="1">
          <p15:clr>
            <a:srgbClr val="F26B43"/>
          </p15:clr>
        </p15:guide>
        <p15:guide id="35" orient="horz" pos="3592" userDrawn="1">
          <p15:clr>
            <a:srgbClr val="F26B43"/>
          </p15:clr>
        </p15:guide>
        <p15:guide id="36" orient="horz" pos="3880" userDrawn="1">
          <p15:clr>
            <a:srgbClr val="F26B43"/>
          </p15:clr>
        </p15:guide>
        <p15:guide id="37" orient="horz" pos="4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20.xml"/><Relationship Id="rId6" Type="http://schemas.openxmlformats.org/officeDocument/2006/relationships/image" Target="../media/image46.svg"/><Relationship Id="rId5" Type="http://schemas.openxmlformats.org/officeDocument/2006/relationships/image" Target="../media/image7.png"/><Relationship Id="rId4" Type="http://schemas.openxmlformats.org/officeDocument/2006/relationships/image" Target="../media/image45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hyperlink" Target="https://www.utilitydive.com/news/electric-transformer-shortage-nrel-niac/738947/" TargetMode="External"/><Relationship Id="rId7" Type="http://schemas.openxmlformats.org/officeDocument/2006/relationships/image" Target="../media/image91.png"/><Relationship Id="rId12" Type="http://schemas.openxmlformats.org/officeDocument/2006/relationships/image" Target="../media/image9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s://www.forbes.com/sites/johnwerner/2024/11/05/are-we-short-on-transformers-what-does-that-mean/" TargetMode="External"/><Relationship Id="rId11" Type="http://schemas.openxmlformats.org/officeDocument/2006/relationships/image" Target="../media/image94.png"/><Relationship Id="rId5" Type="http://schemas.openxmlformats.org/officeDocument/2006/relationships/image" Target="../media/image90.png"/><Relationship Id="rId10" Type="http://schemas.openxmlformats.org/officeDocument/2006/relationships/image" Target="../media/image93.png"/><Relationship Id="rId4" Type="http://schemas.openxmlformats.org/officeDocument/2006/relationships/image" Target="../media/image89.png"/><Relationship Id="rId9" Type="http://schemas.openxmlformats.org/officeDocument/2006/relationships/hyperlink" Target="https://www.bloomberg.com/features/2025-bottlenecks-transformers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13" Type="http://schemas.openxmlformats.org/officeDocument/2006/relationships/hyperlink" Target="https://www.hitachienergy.com/news-and-events/features/2024/11/hitachi-energy-inaugurates-expanded-service-center-in-norway-to-strengthen-transformers-sustainability" TargetMode="External"/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12" Type="http://schemas.openxmlformats.org/officeDocument/2006/relationships/hyperlink" Target="https://www.hitachienergy.com/news-and-events/press-releases/2025/01/hitachi-energy-invests-30-million-euros-to-expand-its-dry-type-transformer-factory-in-zaragoza-spain" TargetMode="External"/><Relationship Id="rId17" Type="http://schemas.openxmlformats.org/officeDocument/2006/relationships/hyperlink" Target="https://www.hitachienergy.com/news-and-events/press-releases/2024/06/hitachi-energy-to-invest-330-million-3-7-billion-sek-in-sweden-and-hire-additional-2-000-employees-by-2027-to-accelerate-the-clean-energy-transition" TargetMode="External"/><Relationship Id="rId2" Type="http://schemas.openxmlformats.org/officeDocument/2006/relationships/image" Target="../media/image99.png"/><Relationship Id="rId16" Type="http://schemas.openxmlformats.org/officeDocument/2006/relationships/hyperlink" Target="https://www.hitachienergy.com/news-and-events/features/2023/04/hitachi-energys-new-transformer-insulation-fluid-treatment-equipment-improves-quality-reliability-and-energy-efficiency" TargetMode="Externa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03.png"/><Relationship Id="rId11" Type="http://schemas.openxmlformats.org/officeDocument/2006/relationships/hyperlink" Target="https://www.hitachienergy.com/news-and-events/features/2024/07/hitachi-energy-invests-over-80-million-euros-to-expand-transformer-capacity-and-operations-in-spain" TargetMode="External"/><Relationship Id="rId5" Type="http://schemas.openxmlformats.org/officeDocument/2006/relationships/image" Target="../media/image102.png"/><Relationship Id="rId15" Type="http://schemas.openxmlformats.org/officeDocument/2006/relationships/hyperlink" Target="https://www.hitachienergy.com/news-and-events/features/2025/01/hitachi-energy-expands-and-increases-workforce-in-composite-component-factory-in-pite-sweden" TargetMode="External"/><Relationship Id="rId10" Type="http://schemas.openxmlformats.org/officeDocument/2006/relationships/hyperlink" Target="https://www.hitachienergy.com/news-and-events/press-releases/2024/02/hitachi-energy-invests-over-30-million-euros-to-expand-transformer-operations-in-germany" TargetMode="External"/><Relationship Id="rId4" Type="http://schemas.openxmlformats.org/officeDocument/2006/relationships/image" Target="../media/image101.png"/><Relationship Id="rId9" Type="http://schemas.openxmlformats.org/officeDocument/2006/relationships/image" Target="../media/image106.png"/><Relationship Id="rId14" Type="http://schemas.openxmlformats.org/officeDocument/2006/relationships/hyperlink" Target="https://www.hitachienergy.com/news-and-events/press-releases/2024/12/hitachi-energy-advances-toward-carbon-neutrality-in-its-transformer-operations-in-figeholm-sweden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18.xml"/><Relationship Id="rId5" Type="http://schemas.openxmlformats.org/officeDocument/2006/relationships/hyperlink" Target="https://www.linkedin.com/newsletters/7102214102038495232/" TargetMode="External"/><Relationship Id="rId4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customXml" Target="../../customXml/item19.xml"/><Relationship Id="rId1" Type="http://schemas.openxmlformats.org/officeDocument/2006/relationships/customXml" Target="../../customXml/item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13" Type="http://schemas.openxmlformats.org/officeDocument/2006/relationships/image" Target="../media/image55.jpeg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9.jpeg"/><Relationship Id="rId12" Type="http://schemas.openxmlformats.org/officeDocument/2006/relationships/image" Target="../media/image54.jpeg"/><Relationship Id="rId17" Type="http://schemas.openxmlformats.org/officeDocument/2006/relationships/image" Target="../media/image59.jpeg"/><Relationship Id="rId2" Type="http://schemas.openxmlformats.org/officeDocument/2006/relationships/customXml" Target="../../customXml/item14.xml"/><Relationship Id="rId16" Type="http://schemas.openxmlformats.org/officeDocument/2006/relationships/image" Target="../media/image58.jpeg"/><Relationship Id="rId20" Type="http://schemas.openxmlformats.org/officeDocument/2006/relationships/image" Target="../media/image61.png"/><Relationship Id="rId1" Type="http://schemas.openxmlformats.org/officeDocument/2006/relationships/customXml" Target="../../customXml/item24.xml"/><Relationship Id="rId6" Type="http://schemas.openxmlformats.org/officeDocument/2006/relationships/image" Target="../media/image48.jpeg"/><Relationship Id="rId11" Type="http://schemas.openxmlformats.org/officeDocument/2006/relationships/image" Target="../media/image53.jpeg"/><Relationship Id="rId5" Type="http://schemas.openxmlformats.org/officeDocument/2006/relationships/image" Target="../media/image47.jpeg"/><Relationship Id="rId15" Type="http://schemas.openxmlformats.org/officeDocument/2006/relationships/image" Target="../media/image57.jpeg"/><Relationship Id="rId10" Type="http://schemas.openxmlformats.org/officeDocument/2006/relationships/image" Target="../media/image52.jpeg"/><Relationship Id="rId19" Type="http://schemas.openxmlformats.org/officeDocument/2006/relationships/image" Target="../media/image60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1.jpeg"/><Relationship Id="rId14" Type="http://schemas.openxmlformats.org/officeDocument/2006/relationships/image" Target="../media/image5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image" Target="../media/image67.png"/><Relationship Id="rId18" Type="http://schemas.openxmlformats.org/officeDocument/2006/relationships/chart" Target="../charts/chart1.xml"/><Relationship Id="rId3" Type="http://schemas.openxmlformats.org/officeDocument/2006/relationships/tags" Target="../tags/tag1.xml"/><Relationship Id="rId21" Type="http://schemas.openxmlformats.org/officeDocument/2006/relationships/chart" Target="../charts/chart4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66.svg"/><Relationship Id="rId17" Type="http://schemas.openxmlformats.org/officeDocument/2006/relationships/image" Target="../media/image71.png"/><Relationship Id="rId2" Type="http://schemas.openxmlformats.org/officeDocument/2006/relationships/customXml" Target="../../customXml/item15.xml"/><Relationship Id="rId16" Type="http://schemas.openxmlformats.org/officeDocument/2006/relationships/image" Target="../media/image70.png"/><Relationship Id="rId20" Type="http://schemas.openxmlformats.org/officeDocument/2006/relationships/chart" Target="../charts/chart3.xml"/><Relationship Id="rId1" Type="http://schemas.openxmlformats.org/officeDocument/2006/relationships/customXml" Target="../../customXml/item23.xml"/><Relationship Id="rId6" Type="http://schemas.openxmlformats.org/officeDocument/2006/relationships/tags" Target="../tags/tag4.xml"/><Relationship Id="rId11" Type="http://schemas.openxmlformats.org/officeDocument/2006/relationships/image" Target="../media/image65.png"/><Relationship Id="rId5" Type="http://schemas.openxmlformats.org/officeDocument/2006/relationships/tags" Target="../tags/tag3.xml"/><Relationship Id="rId15" Type="http://schemas.openxmlformats.org/officeDocument/2006/relationships/image" Target="../media/image69.png"/><Relationship Id="rId10" Type="http://schemas.openxmlformats.org/officeDocument/2006/relationships/image" Target="../media/image64.svg"/><Relationship Id="rId19" Type="http://schemas.openxmlformats.org/officeDocument/2006/relationships/chart" Target="../charts/chart2.xml"/><Relationship Id="rId4" Type="http://schemas.openxmlformats.org/officeDocument/2006/relationships/tags" Target="../tags/tag2.xml"/><Relationship Id="rId9" Type="http://schemas.openxmlformats.org/officeDocument/2006/relationships/image" Target="../media/image63.png"/><Relationship Id="rId14" Type="http://schemas.openxmlformats.org/officeDocument/2006/relationships/image" Target="../media/image68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chart" Target="../charts/chart8.xml"/><Relationship Id="rId18" Type="http://schemas.openxmlformats.org/officeDocument/2006/relationships/image" Target="../media/image74.jpeg"/><Relationship Id="rId3" Type="http://schemas.openxmlformats.org/officeDocument/2006/relationships/tags" Target="../tags/tag5.xml"/><Relationship Id="rId21" Type="http://schemas.openxmlformats.org/officeDocument/2006/relationships/image" Target="../media/image75.png"/><Relationship Id="rId7" Type="http://schemas.openxmlformats.org/officeDocument/2006/relationships/tags" Target="../tags/tag9.xml"/><Relationship Id="rId12" Type="http://schemas.openxmlformats.org/officeDocument/2006/relationships/chart" Target="../charts/chart7.xml"/><Relationship Id="rId17" Type="http://schemas.openxmlformats.org/officeDocument/2006/relationships/image" Target="../media/image73.jpeg"/><Relationship Id="rId2" Type="http://schemas.openxmlformats.org/officeDocument/2006/relationships/customXml" Target="../../customXml/item16.xml"/><Relationship Id="rId16" Type="http://schemas.openxmlformats.org/officeDocument/2006/relationships/image" Target="../media/image72.jpeg"/><Relationship Id="rId20" Type="http://schemas.openxmlformats.org/officeDocument/2006/relationships/chart" Target="../charts/chart12.xml"/><Relationship Id="rId1" Type="http://schemas.openxmlformats.org/officeDocument/2006/relationships/customXml" Target="../../customXml/item3.xml"/><Relationship Id="rId6" Type="http://schemas.openxmlformats.org/officeDocument/2006/relationships/tags" Target="../tags/tag8.xml"/><Relationship Id="rId11" Type="http://schemas.openxmlformats.org/officeDocument/2006/relationships/chart" Target="../charts/chart6.xml"/><Relationship Id="rId5" Type="http://schemas.openxmlformats.org/officeDocument/2006/relationships/tags" Target="../tags/tag7.xml"/><Relationship Id="rId15" Type="http://schemas.openxmlformats.org/officeDocument/2006/relationships/chart" Target="../charts/chart10.xml"/><Relationship Id="rId23" Type="http://schemas.openxmlformats.org/officeDocument/2006/relationships/chart" Target="../charts/chart13.xml"/><Relationship Id="rId10" Type="http://schemas.openxmlformats.org/officeDocument/2006/relationships/chart" Target="../charts/chart5.xml"/><Relationship Id="rId19" Type="http://schemas.openxmlformats.org/officeDocument/2006/relationships/chart" Target="../charts/chart11.xml"/><Relationship Id="rId4" Type="http://schemas.openxmlformats.org/officeDocument/2006/relationships/tags" Target="../tags/tag6.xml"/><Relationship Id="rId9" Type="http://schemas.openxmlformats.org/officeDocument/2006/relationships/notesSlide" Target="../notesSlides/notesSlide4.xml"/><Relationship Id="rId14" Type="http://schemas.openxmlformats.org/officeDocument/2006/relationships/chart" Target="../charts/chart9.xml"/><Relationship Id="rId22" Type="http://schemas.openxmlformats.org/officeDocument/2006/relationships/image" Target="../media/image7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hyperlink" Target="https://en.wikipedia.org/wiki/File:Italia_per_regioni.jpg" TargetMode="Externa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77.jpeg"/><Relationship Id="rId17" Type="http://schemas.openxmlformats.org/officeDocument/2006/relationships/image" Target="../media/image79.svg"/><Relationship Id="rId2" Type="http://schemas.openxmlformats.org/officeDocument/2006/relationships/customXml" Target="../../customXml/item5.xml"/><Relationship Id="rId16" Type="http://schemas.openxmlformats.org/officeDocument/2006/relationships/image" Target="../media/image78.png"/><Relationship Id="rId1" Type="http://schemas.openxmlformats.org/officeDocument/2006/relationships/customXml" Target="../../customXml/item8.xml"/><Relationship Id="rId6" Type="http://schemas.openxmlformats.org/officeDocument/2006/relationships/tags" Target="../tags/tag13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12.xml"/><Relationship Id="rId15" Type="http://schemas.openxmlformats.org/officeDocument/2006/relationships/image" Target="../media/image66.svg"/><Relationship Id="rId10" Type="http://schemas.openxmlformats.org/officeDocument/2006/relationships/slideLayout" Target="../slideLayouts/slideLayout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6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83.png"/><Relationship Id="rId2" Type="http://schemas.openxmlformats.org/officeDocument/2006/relationships/customXml" Target="../../customXml/item10.xml"/><Relationship Id="rId1" Type="http://schemas.openxmlformats.org/officeDocument/2006/relationships/customXml" Target="../../customXml/item4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10" Type="http://schemas.openxmlformats.org/officeDocument/2006/relationships/image" Target="../media/image86.png"/><Relationship Id="rId4" Type="http://schemas.openxmlformats.org/officeDocument/2006/relationships/image" Target="../media/image80.jpeg"/><Relationship Id="rId9" Type="http://schemas.openxmlformats.org/officeDocument/2006/relationships/image" Target="../media/image8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87.jp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46.svg"/><Relationship Id="rId2" Type="http://schemas.openxmlformats.org/officeDocument/2006/relationships/customXml" Target="../../customXml/item22.xml"/><Relationship Id="rId1" Type="http://schemas.openxmlformats.org/officeDocument/2006/relationships/customXml" Target="../../customXml/item21.xml"/><Relationship Id="rId6" Type="http://schemas.openxmlformats.org/officeDocument/2006/relationships/image" Target="../media/image7.png"/><Relationship Id="rId5" Type="http://schemas.openxmlformats.org/officeDocument/2006/relationships/image" Target="../media/image88.jpeg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A7CE84C-F26C-400F-9824-4B390BBB5F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016783A-94C5-213B-5CD2-817601922936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6000">
                <a:schemeClr val="tx1">
                  <a:alpha val="75000"/>
                </a:schemeClr>
              </a:gs>
              <a:gs pos="45000">
                <a:schemeClr val="tx1">
                  <a:alpha val="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itachi Sans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E1D9DAD-F167-569D-0416-A4B93AB255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075" y="5796810"/>
            <a:ext cx="8002710" cy="470513"/>
          </a:xfrm>
        </p:spPr>
        <p:txBody>
          <a:bodyPr/>
          <a:lstStyle/>
          <a:p>
            <a:pPr rtl="0"/>
            <a:r>
              <a:rPr lang="it-IT" dirty="0"/>
              <a:t>Matteo Scattolin</a:t>
            </a:r>
          </a:p>
          <a:p>
            <a:pPr rtl="0"/>
            <a:r>
              <a:rPr lang="it-IT" dirty="0"/>
              <a:t>Responsabile della fabbrica di trasformatori di Monselice (Pd), Hitachi Energy Italy SpA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F0DC93F-1249-0B0B-D9E4-374B9691260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87499" y="366838"/>
            <a:ext cx="3033011" cy="672537"/>
          </a:xfrm>
          <a:prstGeom prst="rect">
            <a:avLst/>
          </a:prstGeom>
        </p:spPr>
      </p:pic>
      <p:sp>
        <p:nvSpPr>
          <p:cNvPr id="16" name="Title 35">
            <a:extLst>
              <a:ext uri="{FF2B5EF4-FFF2-40B4-BE49-F238E27FC236}">
                <a16:creationId xmlns:a16="http://schemas.microsoft.com/office/drawing/2014/main" id="{AC5CBBA0-24B2-5D20-7787-2D8909885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4319482"/>
            <a:ext cx="7000746" cy="1477328"/>
          </a:xfrm>
        </p:spPr>
        <p:txBody>
          <a:bodyPr/>
          <a:lstStyle/>
          <a:p>
            <a:pPr rtl="0"/>
            <a:r>
              <a:rPr lang="it-IT" sz="4800" dirty="0"/>
              <a:t>Transizione energetica e investimenti</a:t>
            </a:r>
          </a:p>
        </p:txBody>
      </p:sp>
      <p:sp>
        <p:nvSpPr>
          <p:cNvPr id="17" name="Text Placeholder 28">
            <a:extLst>
              <a:ext uri="{FF2B5EF4-FFF2-40B4-BE49-F238E27FC236}">
                <a16:creationId xmlns:a16="http://schemas.microsoft.com/office/drawing/2014/main" id="{28EB7ED1-74B1-78E0-61DB-400CF23E11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3075" y="4025774"/>
            <a:ext cx="3800475" cy="332399"/>
          </a:xfrm>
        </p:spPr>
        <p:txBody>
          <a:bodyPr/>
          <a:lstStyle/>
          <a:p>
            <a:pPr rtl="0"/>
            <a:r>
              <a:rPr lang="it-IT"/>
              <a:t>Energia Hitachi</a:t>
            </a:r>
          </a:p>
        </p:txBody>
      </p:sp>
      <p:sp>
        <p:nvSpPr>
          <p:cNvPr id="3" name="Strictly" hidden="1">
            <a:extLst>
              <a:ext uri="{FF2B5EF4-FFF2-40B4-BE49-F238E27FC236}">
                <a16:creationId xmlns:a16="http://schemas.microsoft.com/office/drawing/2014/main" id="{A5FA7267-76CF-92FE-B554-D977BED8C377}"/>
              </a:ext>
            </a:extLst>
          </p:cNvPr>
          <p:cNvSpPr txBox="1">
            <a:spLocks/>
          </p:cNvSpPr>
          <p:nvPr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ICTLY 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Internal" hidden="1">
            <a:extLst>
              <a:ext uri="{FF2B5EF4-FFF2-40B4-BE49-F238E27FC236}">
                <a16:creationId xmlns:a16="http://schemas.microsoft.com/office/drawing/2014/main" id="{DFD97B4B-BD2A-D947-7733-0A8DD4E161B9}"/>
              </a:ext>
            </a:extLst>
          </p:cNvPr>
          <p:cNvSpPr txBox="1">
            <a:spLocks/>
          </p:cNvSpPr>
          <p:nvPr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rn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fidential" hidden="1">
            <a:extLst>
              <a:ext uri="{FF2B5EF4-FFF2-40B4-BE49-F238E27FC236}">
                <a16:creationId xmlns:a16="http://schemas.microsoft.com/office/drawing/2014/main" id="{243040EF-F79B-37F9-8C99-2785121FDC38}"/>
              </a:ext>
            </a:extLst>
          </p:cNvPr>
          <p:cNvSpPr txBox="1">
            <a:spLocks/>
          </p:cNvSpPr>
          <p:nvPr/>
        </p:nvSpPr>
        <p:spPr bwMode="gray">
          <a:xfrm>
            <a:off x="5222874" y="6336000"/>
            <a:ext cx="3635375" cy="14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</a:t>
            </a:r>
            <a:endParaRPr kumimoji="0" lang="en-GB" sz="800" b="1" i="0" u="none" strike="noStrike" kern="1200" cap="none" spc="-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01418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0873B11-CF3D-B095-4E79-7B3B9EE7E7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it-IT"/>
              <a:t>Hitachi Group Company | Titolo del titolo della presentazio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C51157-3BCE-12D4-9A5C-F6754842F6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29F4BC05-462B-4F19-BE6B-A1043C81AA78}" type="slidenum">
              <a:rPr/>
              <a:pPr rtl="0"/>
              <a:t>10</a:t>
            </a:fld>
            <a:endParaRPr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F7BE66-F743-D188-6559-7E52708F7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559068"/>
            <a:ext cx="7445375" cy="304699"/>
          </a:xfrm>
        </p:spPr>
        <p:txBody>
          <a:bodyPr/>
          <a:lstStyle/>
          <a:p>
            <a:pPr rtl="0"/>
            <a:r>
              <a:rPr lang="it-IT" dirty="0"/>
              <a:t>Cosa troviamo sui media internazionali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B8A7C14-B8CB-1E58-295A-61E0208947C6}"/>
              </a:ext>
            </a:extLst>
          </p:cNvPr>
          <p:cNvGrpSpPr/>
          <p:nvPr/>
        </p:nvGrpSpPr>
        <p:grpSpPr>
          <a:xfrm>
            <a:off x="463811" y="796574"/>
            <a:ext cx="5788209" cy="2455447"/>
            <a:chOff x="463811" y="796574"/>
            <a:chExt cx="5788209" cy="2455447"/>
          </a:xfrm>
        </p:grpSpPr>
        <p:pic>
          <p:nvPicPr>
            <p:cNvPr id="10" name="Picture 9">
              <a:hlinkClick r:id="rId3"/>
              <a:extLst>
                <a:ext uri="{FF2B5EF4-FFF2-40B4-BE49-F238E27FC236}">
                  <a16:creationId xmlns:a16="http://schemas.microsoft.com/office/drawing/2014/main" id="{65115960-D686-2047-9F33-DA86F36667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3811" y="1143938"/>
              <a:ext cx="5788209" cy="210808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7F32B141-0EEF-F870-5A6E-33BAA9335FC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495718" y="796574"/>
              <a:ext cx="1600282" cy="444523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B993AF1-C1A2-D5A0-1CF8-CF486AB1A668}"/>
              </a:ext>
            </a:extLst>
          </p:cNvPr>
          <p:cNvGrpSpPr/>
          <p:nvPr/>
        </p:nvGrpSpPr>
        <p:grpSpPr>
          <a:xfrm>
            <a:off x="1924083" y="2667920"/>
            <a:ext cx="9960126" cy="1904621"/>
            <a:chOff x="1924083" y="2667920"/>
            <a:chExt cx="9960126" cy="1904621"/>
          </a:xfrm>
        </p:grpSpPr>
        <p:pic>
          <p:nvPicPr>
            <p:cNvPr id="27" name="Picture 26">
              <a:hlinkClick r:id="rId6"/>
              <a:extLst>
                <a:ext uri="{FF2B5EF4-FFF2-40B4-BE49-F238E27FC236}">
                  <a16:creationId xmlns:a16="http://schemas.microsoft.com/office/drawing/2014/main" id="{41C9D6AA-B551-1FC3-1163-EFCCD62CE9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924083" y="2667920"/>
              <a:ext cx="9960126" cy="190462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634B0AB-83A9-5228-9A5C-0F776F72C3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643037" y="3353752"/>
              <a:ext cx="1206562" cy="444523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AD3508F-5CC6-9ACE-CB55-A788C5EBEE9B}"/>
              </a:ext>
            </a:extLst>
          </p:cNvPr>
          <p:cNvGrpSpPr/>
          <p:nvPr/>
        </p:nvGrpSpPr>
        <p:grpSpPr>
          <a:xfrm>
            <a:off x="6490919" y="3726929"/>
            <a:ext cx="5478036" cy="1456961"/>
            <a:chOff x="6490919" y="3726929"/>
            <a:chExt cx="5478036" cy="1456961"/>
          </a:xfrm>
        </p:grpSpPr>
        <p:pic>
          <p:nvPicPr>
            <p:cNvPr id="12" name="Picture 11">
              <a:hlinkClick r:id="rId9"/>
              <a:extLst>
                <a:ext uri="{FF2B5EF4-FFF2-40B4-BE49-F238E27FC236}">
                  <a16:creationId xmlns:a16="http://schemas.microsoft.com/office/drawing/2014/main" id="{3CD36F9D-ED5D-8BD9-5C32-58308DF982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490919" y="3752166"/>
              <a:ext cx="5478036" cy="143172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89D94777-62E1-ACF1-D869-681A082062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481136" y="3726929"/>
              <a:ext cx="1357996" cy="360285"/>
            </a:xfrm>
            <a:prstGeom prst="rect">
              <a:avLst/>
            </a:prstGeom>
          </p:spPr>
        </p:pic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E4275F03-41BF-1B2F-DB61-61BA4CD9042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3811" y="4776003"/>
            <a:ext cx="6027108" cy="7998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7133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880468-D8A9-A952-2354-403CC3C3E2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it-IT"/>
              <a:t>Hitachi Group Company | Titolo del titolo della presentazio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C9BE50-F946-A326-A238-A950705E1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29F4BC05-462B-4F19-BE6B-A1043C81AA78}" type="slidenum">
              <a:rPr/>
              <a:pPr rtl="0"/>
              <a:t>11</a:t>
            </a:fld>
            <a:endParaRPr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050F39-C839-EF09-2E83-2ECE6747C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899" y="698500"/>
            <a:ext cx="8933593" cy="304699"/>
          </a:xfrm>
        </p:spPr>
        <p:txBody>
          <a:bodyPr/>
          <a:lstStyle/>
          <a:p>
            <a:pPr rtl="0"/>
            <a:r>
              <a:rPr lang="it-IT" dirty="0"/>
              <a:t>Hitachi Energy investe nella capacità produttiva dei trasformatori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C83627-504A-07FC-1502-36B0662222C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659"/>
          <a:stretch/>
        </p:blipFill>
        <p:spPr>
          <a:xfrm>
            <a:off x="6154189" y="1730610"/>
            <a:ext cx="5876887" cy="38779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256D9C6-5470-B1D3-1FA4-C4FD145B677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641"/>
          <a:stretch/>
        </p:blipFill>
        <p:spPr>
          <a:xfrm>
            <a:off x="123626" y="1730610"/>
            <a:ext cx="5874373" cy="38779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173C100-9B48-B1F6-124F-9167CB3F05D2}"/>
              </a:ext>
            </a:extLst>
          </p:cNvPr>
          <p:cNvSpPr txBox="1"/>
          <p:nvPr/>
        </p:nvSpPr>
        <p:spPr>
          <a:xfrm>
            <a:off x="218589" y="1467699"/>
            <a:ext cx="2298298" cy="2629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rtl="0">
              <a:lnSpc>
                <a:spcPct val="110000"/>
              </a:lnSpc>
            </a:pPr>
            <a:r>
              <a:rPr lang="it-IT" sz="800" b="1">
                <a:effectLst/>
              </a:rPr>
              <a:t>Aprile 2024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29244B-59A4-1E97-8445-40C33BE441AE}"/>
              </a:ext>
            </a:extLst>
          </p:cNvPr>
          <p:cNvSpPr txBox="1"/>
          <p:nvPr/>
        </p:nvSpPr>
        <p:spPr>
          <a:xfrm>
            <a:off x="6154189" y="1467699"/>
            <a:ext cx="2298298" cy="2629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rtl="0">
              <a:lnSpc>
                <a:spcPct val="110000"/>
              </a:lnSpc>
            </a:pPr>
            <a:r>
              <a:rPr lang="it-IT" sz="800" b="1">
                <a:effectLst/>
              </a:rPr>
              <a:t>Marzo 2025 </a:t>
            </a:r>
          </a:p>
        </p:txBody>
      </p:sp>
    </p:spTree>
    <p:extLst>
      <p:ext uri="{BB962C8B-B14F-4D97-AF65-F5344CB8AC3E}">
        <p14:creationId xmlns:p14="http://schemas.microsoft.com/office/powerpoint/2010/main" val="38548535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96076E-51AD-D6AE-9CAE-51BA1FBAD4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it-IT"/>
              <a:t>Hitachi Group Company | Titolo del titolo della presentazio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73BB99-172E-28FC-AB8B-88D733F5B8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29F4BC05-462B-4F19-BE6B-A1043C81AA78}" type="slidenum">
              <a:rPr/>
              <a:pPr rtl="0"/>
              <a:t>12</a:t>
            </a:fld>
            <a:endParaRPr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7DB3A8-9447-B661-94DF-9A0C232CEF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rtl="0"/>
            <a:r>
              <a:rPr lang="it-IT"/>
              <a:t>Investimenti globali di Hitachi Energy Transformers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7BDB59-C705-1D41-4921-9B9003A21931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rtl="0"/>
            <a:r>
              <a:rPr lang="it-IT"/>
              <a:t>Ampliare la capacità e la forza lavoro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121F82B-81E0-2F35-C954-1DF742E3E192}"/>
              </a:ext>
            </a:extLst>
          </p:cNvPr>
          <p:cNvGrpSpPr/>
          <p:nvPr/>
        </p:nvGrpSpPr>
        <p:grpSpPr>
          <a:xfrm>
            <a:off x="469899" y="1077089"/>
            <a:ext cx="10750101" cy="5258911"/>
            <a:chOff x="469899" y="1077089"/>
            <a:chExt cx="10750101" cy="5258911"/>
          </a:xfrm>
        </p:grpSpPr>
        <p:pic>
          <p:nvPicPr>
            <p:cNvPr id="9" name="Picture 8" descr="A map of the world with flags&#10;&#10;AI-generated content may be incorrect.">
              <a:extLst>
                <a:ext uri="{FF2B5EF4-FFF2-40B4-BE49-F238E27FC236}">
                  <a16:creationId xmlns:a16="http://schemas.microsoft.com/office/drawing/2014/main" id="{FAB1909B-951A-015F-5A5F-A10686EA57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200" y="1077089"/>
              <a:ext cx="10718800" cy="5258911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39FEE91-2884-F905-AB68-134B0A82F0E0}"/>
                </a:ext>
              </a:extLst>
            </p:cNvPr>
            <p:cNvSpPr/>
            <p:nvPr/>
          </p:nvSpPr>
          <p:spPr>
            <a:xfrm>
              <a:off x="469899" y="1077089"/>
              <a:ext cx="1536701" cy="7136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F752D6FF-E0B3-6C73-450A-D7EAA9AB78A0}"/>
              </a:ext>
            </a:extLst>
          </p:cNvPr>
          <p:cNvSpPr/>
          <p:nvPr/>
        </p:nvSpPr>
        <p:spPr>
          <a:xfrm>
            <a:off x="501200" y="4086808"/>
            <a:ext cx="1663502" cy="9804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3956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9F34A21-A8EF-D588-0223-85106FC6EA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6157" y="2062581"/>
            <a:ext cx="4259955" cy="4259955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9120ED2-5367-BB13-63C5-0D253418AF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it-IT"/>
              <a:t>Hitachi Group Company | Titolo del titolo della presentazio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844EBC-DC39-B688-DA62-A125CA97EB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29F4BC05-462B-4F19-BE6B-A1043C81AA78}" type="slidenum">
              <a:rPr/>
              <a:pPr rtl="0"/>
              <a:t>13</a:t>
            </a:fld>
            <a:endParaRPr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354DC7-2845-E9A4-43DE-3E2A83D21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899" y="698500"/>
            <a:ext cx="7445375" cy="304699"/>
          </a:xfrm>
        </p:spPr>
        <p:txBody>
          <a:bodyPr/>
          <a:lstStyle/>
          <a:p>
            <a:pPr rtl="0"/>
            <a:r>
              <a:rPr lang="it-IT" dirty="0"/>
              <a:t>Transformers | </a:t>
            </a:r>
            <a:r>
              <a:rPr lang="it-IT" b="1" dirty="0"/>
              <a:t>Investimenti in Europa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78D936-B7E1-0304-0E09-017F6EC006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3075" y="403200"/>
            <a:ext cx="4591050" cy="206339"/>
          </a:xfrm>
        </p:spPr>
        <p:txBody>
          <a:bodyPr/>
          <a:lstStyle/>
          <a:p>
            <a:pPr rtl="0"/>
            <a:r>
              <a:rPr lang="it-IT"/>
              <a:t>Ampliare la capacità e la forza lavoro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D9B0ECC-A837-DF91-5C11-CE888BA32D63}"/>
              </a:ext>
            </a:extLst>
          </p:cNvPr>
          <p:cNvSpPr/>
          <p:nvPr/>
        </p:nvSpPr>
        <p:spPr>
          <a:xfrm>
            <a:off x="263524" y="2811684"/>
            <a:ext cx="7565582" cy="179016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C815354-201C-84B4-359B-CA9B737E240E}"/>
              </a:ext>
            </a:extLst>
          </p:cNvPr>
          <p:cNvSpPr txBox="1"/>
          <p:nvPr/>
        </p:nvSpPr>
        <p:spPr>
          <a:xfrm>
            <a:off x="454481" y="3008454"/>
            <a:ext cx="6135174" cy="14852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AMO CRESCEN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fforzamento della nostra capacità produttiva di trasformatori e componenti con significativi investimenti in conto capitale in Europ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guente significativa aggiunta di persona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8EE6FDB-EC05-D310-C191-233C12D91BE0}"/>
              </a:ext>
            </a:extLst>
          </p:cNvPr>
          <p:cNvSpPr/>
          <p:nvPr/>
        </p:nvSpPr>
        <p:spPr>
          <a:xfrm>
            <a:off x="282923" y="4726688"/>
            <a:ext cx="7546183" cy="16192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81BF8AD8-36E3-18B3-F0F7-8E492D57DD2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6382" b="31484"/>
          <a:stretch/>
        </p:blipFill>
        <p:spPr>
          <a:xfrm>
            <a:off x="2901636" y="5671661"/>
            <a:ext cx="2303737" cy="543356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25917A29-6CEE-161B-0D4B-B9A2D50AA85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896" t="7260" r="33137" b="45445"/>
          <a:stretch/>
        </p:blipFill>
        <p:spPr>
          <a:xfrm>
            <a:off x="385182" y="5374317"/>
            <a:ext cx="2428573" cy="82527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32BBC65E-344A-8B8B-D060-2983ECA7C24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9057"/>
          <a:stretch/>
        </p:blipFill>
        <p:spPr>
          <a:xfrm>
            <a:off x="379974" y="4920337"/>
            <a:ext cx="2428574" cy="494029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FFF18E2C-123F-4992-3AAE-11211A4732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66892" y="5671661"/>
            <a:ext cx="2469801" cy="54335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DBC5163D-FDBD-1F50-9F81-4AE7ED8CC9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04210" y="5491852"/>
            <a:ext cx="1028141" cy="189546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30A02158-4C2F-B9A1-E219-590AD573F4C8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36967" r="6664"/>
          <a:stretch/>
        </p:blipFill>
        <p:spPr>
          <a:xfrm>
            <a:off x="2913329" y="4908665"/>
            <a:ext cx="4252251" cy="530817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44A141D3-202C-ECE4-BA8F-E0CD267DFB5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16014" y="5493883"/>
            <a:ext cx="1031002" cy="211367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80F40F42-5657-0447-DCFC-84EA152E1B0D}"/>
              </a:ext>
            </a:extLst>
          </p:cNvPr>
          <p:cNvSpPr txBox="1"/>
          <p:nvPr/>
        </p:nvSpPr>
        <p:spPr>
          <a:xfrm>
            <a:off x="399212" y="4735672"/>
            <a:ext cx="3802657" cy="289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TOLI DEI MEDIA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9064949-9E92-C4DD-8810-55E0F90E4D0B}"/>
              </a:ext>
            </a:extLst>
          </p:cNvPr>
          <p:cNvCxnSpPr>
            <a:cxnSpLocks/>
          </p:cNvCxnSpPr>
          <p:nvPr/>
        </p:nvCxnSpPr>
        <p:spPr>
          <a:xfrm>
            <a:off x="347538" y="2020179"/>
            <a:ext cx="11571560" cy="0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AF5AC457-DD10-DB56-6219-3F9405D95DCB}"/>
              </a:ext>
            </a:extLst>
          </p:cNvPr>
          <p:cNvSpPr/>
          <p:nvPr/>
        </p:nvSpPr>
        <p:spPr>
          <a:xfrm>
            <a:off x="1743662" y="1969397"/>
            <a:ext cx="140336" cy="12282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5A44AFB-079B-BF42-828B-C666064F91B9}"/>
              </a:ext>
            </a:extLst>
          </p:cNvPr>
          <p:cNvSpPr txBox="1"/>
          <p:nvPr/>
        </p:nvSpPr>
        <p:spPr>
          <a:xfrm>
            <a:off x="1504473" y="2232211"/>
            <a:ext cx="1394460" cy="4355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Bad Honnef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rman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1AA28C6-6AEE-A528-1B9B-FD7AAC824D28}"/>
              </a:ext>
            </a:extLst>
          </p:cNvPr>
          <p:cNvSpPr txBox="1"/>
          <p:nvPr/>
        </p:nvSpPr>
        <p:spPr>
          <a:xfrm>
            <a:off x="4421033" y="1391188"/>
            <a:ext cx="1394460" cy="4355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Cordob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ai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9C5EC93-1873-26D5-2354-E57BFFD48307}"/>
              </a:ext>
            </a:extLst>
          </p:cNvPr>
          <p:cNvSpPr txBox="1"/>
          <p:nvPr/>
        </p:nvSpPr>
        <p:spPr>
          <a:xfrm>
            <a:off x="9017410" y="1384592"/>
            <a:ext cx="1394460" cy="4355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Zaragoza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ain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AAF7519-869F-9AD7-5AEC-B6DAB6CC36EF}"/>
              </a:ext>
            </a:extLst>
          </p:cNvPr>
          <p:cNvSpPr/>
          <p:nvPr/>
        </p:nvSpPr>
        <p:spPr>
          <a:xfrm>
            <a:off x="2702603" y="1974218"/>
            <a:ext cx="140336" cy="12282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E5E2B22-D585-4DFE-8122-C7F21261A575}"/>
              </a:ext>
            </a:extLst>
          </p:cNvPr>
          <p:cNvSpPr txBox="1"/>
          <p:nvPr/>
        </p:nvSpPr>
        <p:spPr>
          <a:xfrm>
            <a:off x="1024560" y="2087406"/>
            <a:ext cx="608895" cy="2456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760E268-8053-C7EA-4ABA-B148EF6657C1}"/>
              </a:ext>
            </a:extLst>
          </p:cNvPr>
          <p:cNvSpPr txBox="1"/>
          <p:nvPr/>
        </p:nvSpPr>
        <p:spPr>
          <a:xfrm>
            <a:off x="7679667" y="2087406"/>
            <a:ext cx="608895" cy="2456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5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72DD656B-A29C-93FE-8C8F-06540569FA23}"/>
              </a:ext>
            </a:extLst>
          </p:cNvPr>
          <p:cNvSpPr/>
          <p:nvPr/>
        </p:nvSpPr>
        <p:spPr>
          <a:xfrm>
            <a:off x="3661544" y="1964542"/>
            <a:ext cx="140336" cy="12282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7961480C-E0AD-9866-CC1B-D3A9522CFB8D}"/>
              </a:ext>
            </a:extLst>
          </p:cNvPr>
          <p:cNvSpPr/>
          <p:nvPr/>
        </p:nvSpPr>
        <p:spPr>
          <a:xfrm>
            <a:off x="4708820" y="1974218"/>
            <a:ext cx="140336" cy="12282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CB364EA-7F94-952A-C53B-27C67FC337EE}"/>
              </a:ext>
            </a:extLst>
          </p:cNvPr>
          <p:cNvSpPr txBox="1"/>
          <p:nvPr/>
        </p:nvSpPr>
        <p:spPr>
          <a:xfrm>
            <a:off x="3384528" y="2235514"/>
            <a:ext cx="1394460" cy="4355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udvik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eden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8260ECBE-AC63-DD22-93A9-019BC6009A0E}"/>
              </a:ext>
            </a:extLst>
          </p:cNvPr>
          <p:cNvSpPr/>
          <p:nvPr/>
        </p:nvSpPr>
        <p:spPr>
          <a:xfrm>
            <a:off x="5780810" y="1974218"/>
            <a:ext cx="140336" cy="12282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FDCE03B-464A-FE09-0149-140728900BD5}"/>
              </a:ext>
            </a:extLst>
          </p:cNvPr>
          <p:cNvSpPr txBox="1"/>
          <p:nvPr/>
        </p:nvSpPr>
        <p:spPr>
          <a:xfrm>
            <a:off x="5481931" y="2215933"/>
            <a:ext cx="1394460" cy="4355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Dramme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way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46D33616-9900-BE1B-BEE7-FAFE2EAA14E1}"/>
              </a:ext>
            </a:extLst>
          </p:cNvPr>
          <p:cNvSpPr/>
          <p:nvPr/>
        </p:nvSpPr>
        <p:spPr>
          <a:xfrm>
            <a:off x="6949057" y="1974218"/>
            <a:ext cx="140336" cy="12282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6CBAE43-DEB8-7A7F-FACB-9CE7E9FB1F22}"/>
              </a:ext>
            </a:extLst>
          </p:cNvPr>
          <p:cNvSpPr txBox="1"/>
          <p:nvPr/>
        </p:nvSpPr>
        <p:spPr>
          <a:xfrm>
            <a:off x="6589654" y="1395960"/>
            <a:ext cx="1394460" cy="4355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Figehol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eden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E2A682B4-2A0F-2854-FDC9-86D5F61FFFD7}"/>
              </a:ext>
            </a:extLst>
          </p:cNvPr>
          <p:cNvSpPr/>
          <p:nvPr/>
        </p:nvSpPr>
        <p:spPr>
          <a:xfrm>
            <a:off x="9343689" y="1964577"/>
            <a:ext cx="140336" cy="1228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A6CAE57-66DE-DF93-5998-56D4E70B1953}"/>
              </a:ext>
            </a:extLst>
          </p:cNvPr>
          <p:cNvSpPr txBox="1"/>
          <p:nvPr/>
        </p:nvSpPr>
        <p:spPr>
          <a:xfrm>
            <a:off x="8115958" y="2230452"/>
            <a:ext cx="1394460" cy="4355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Piteå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eden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D84887C9-DC29-35D1-0377-1A651A0F7A80}"/>
              </a:ext>
            </a:extLst>
          </p:cNvPr>
          <p:cNvSpPr/>
          <p:nvPr/>
        </p:nvSpPr>
        <p:spPr>
          <a:xfrm>
            <a:off x="8209274" y="1978642"/>
            <a:ext cx="140336" cy="12282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54713DD1-C399-C42F-D7CB-5ECC3600713F}"/>
              </a:ext>
            </a:extLst>
          </p:cNvPr>
          <p:cNvSpPr/>
          <p:nvPr/>
        </p:nvSpPr>
        <p:spPr>
          <a:xfrm>
            <a:off x="484301" y="1953909"/>
            <a:ext cx="140336" cy="12282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154A57AA-D90F-AF34-9807-5CED097785C6}"/>
              </a:ext>
            </a:extLst>
          </p:cNvPr>
          <p:cNvSpPr txBox="1"/>
          <p:nvPr/>
        </p:nvSpPr>
        <p:spPr>
          <a:xfrm>
            <a:off x="297121" y="1395960"/>
            <a:ext cx="2003413" cy="4071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Lodz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and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E7CEF197-0874-26A0-637D-6BBBE30A36FC}"/>
              </a:ext>
            </a:extLst>
          </p:cNvPr>
          <p:cNvCxnSpPr>
            <a:cxnSpLocks/>
          </p:cNvCxnSpPr>
          <p:nvPr/>
        </p:nvCxnSpPr>
        <p:spPr>
          <a:xfrm>
            <a:off x="1222744" y="1826624"/>
            <a:ext cx="0" cy="250114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ABB6E0F3-23DD-09C9-3537-944832C69A98}"/>
              </a:ext>
            </a:extLst>
          </p:cNvPr>
          <p:cNvCxnSpPr>
            <a:cxnSpLocks/>
          </p:cNvCxnSpPr>
          <p:nvPr/>
        </p:nvCxnSpPr>
        <p:spPr>
          <a:xfrm>
            <a:off x="7829106" y="1849161"/>
            <a:ext cx="0" cy="250114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288FAA4B-7454-206E-A0B3-D0F2D3ED9C3D}"/>
              </a:ext>
            </a:extLst>
          </p:cNvPr>
          <p:cNvCxnSpPr>
            <a:cxnSpLocks/>
          </p:cNvCxnSpPr>
          <p:nvPr/>
        </p:nvCxnSpPr>
        <p:spPr>
          <a:xfrm>
            <a:off x="558012" y="1820190"/>
            <a:ext cx="0" cy="195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8FE38E27-B7FE-66AF-57EA-D1AF67CA5220}"/>
              </a:ext>
            </a:extLst>
          </p:cNvPr>
          <p:cNvCxnSpPr>
            <a:cxnSpLocks/>
          </p:cNvCxnSpPr>
          <p:nvPr/>
        </p:nvCxnSpPr>
        <p:spPr>
          <a:xfrm>
            <a:off x="1794934" y="2025755"/>
            <a:ext cx="0" cy="195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2D616B1F-025D-24BF-FD1B-1E1EF7B175D0}"/>
              </a:ext>
            </a:extLst>
          </p:cNvPr>
          <p:cNvCxnSpPr>
            <a:cxnSpLocks/>
          </p:cNvCxnSpPr>
          <p:nvPr/>
        </p:nvCxnSpPr>
        <p:spPr>
          <a:xfrm>
            <a:off x="3723096" y="2039926"/>
            <a:ext cx="0" cy="195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3DB21708-10A7-2A6A-2519-9F68637BEDC3}"/>
              </a:ext>
            </a:extLst>
          </p:cNvPr>
          <p:cNvCxnSpPr>
            <a:cxnSpLocks/>
          </p:cNvCxnSpPr>
          <p:nvPr/>
        </p:nvCxnSpPr>
        <p:spPr>
          <a:xfrm>
            <a:off x="4775600" y="1816649"/>
            <a:ext cx="0" cy="19513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744666F1-8E41-FE61-B062-28F8802DE5C8}"/>
              </a:ext>
            </a:extLst>
          </p:cNvPr>
          <p:cNvCxnSpPr>
            <a:cxnSpLocks/>
          </p:cNvCxnSpPr>
          <p:nvPr/>
        </p:nvCxnSpPr>
        <p:spPr>
          <a:xfrm>
            <a:off x="5840588" y="2039926"/>
            <a:ext cx="0" cy="19513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B422B3A-CF61-3347-A286-5960E2091E7E}"/>
              </a:ext>
            </a:extLst>
          </p:cNvPr>
          <p:cNvCxnSpPr>
            <a:cxnSpLocks/>
          </p:cNvCxnSpPr>
          <p:nvPr/>
        </p:nvCxnSpPr>
        <p:spPr>
          <a:xfrm>
            <a:off x="7019079" y="1837907"/>
            <a:ext cx="0" cy="195133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B58B11A8-1C7C-E330-103F-2BF0E42AA4E1}"/>
              </a:ext>
            </a:extLst>
          </p:cNvPr>
          <p:cNvCxnSpPr>
            <a:cxnSpLocks/>
          </p:cNvCxnSpPr>
          <p:nvPr/>
        </p:nvCxnSpPr>
        <p:spPr>
          <a:xfrm>
            <a:off x="8273727" y="2029295"/>
            <a:ext cx="0" cy="195133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96A358F-CAAE-73FB-5A8E-B7AD454D8673}"/>
              </a:ext>
            </a:extLst>
          </p:cNvPr>
          <p:cNvCxnSpPr>
            <a:cxnSpLocks/>
          </p:cNvCxnSpPr>
          <p:nvPr/>
        </p:nvCxnSpPr>
        <p:spPr>
          <a:xfrm>
            <a:off x="9411413" y="1837904"/>
            <a:ext cx="0" cy="195133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7B235646-0B35-C2B8-83E2-CA2B3968BFBF}"/>
              </a:ext>
            </a:extLst>
          </p:cNvPr>
          <p:cNvSpPr txBox="1"/>
          <p:nvPr/>
        </p:nvSpPr>
        <p:spPr>
          <a:xfrm>
            <a:off x="2465743" y="1391188"/>
            <a:ext cx="1394460" cy="4355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as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land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C0085AA-D457-67A6-3FD7-14148CAEF3CF}"/>
              </a:ext>
            </a:extLst>
          </p:cNvPr>
          <p:cNvSpPr txBox="1"/>
          <p:nvPr/>
        </p:nvSpPr>
        <p:spPr>
          <a:xfrm>
            <a:off x="2913329" y="2651390"/>
            <a:ext cx="1973236" cy="2158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Hitachi Energy Sweden 330 MUSD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47701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A7855B9-25B9-AA8F-4D16-4BDB96B722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itachi Group Company   |   Presentation headline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45F936-04AC-1499-6B0C-9CDAEF292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F4BC05-462B-4F19-BE6B-A1043C81AA78}" type="slidenum">
              <a:rPr lang="en-GB" smtClean="0"/>
              <a:pPr/>
              <a:t>14</a:t>
            </a:fld>
            <a:endParaRPr lang="en-GB"/>
          </a:p>
        </p:txBody>
      </p:sp>
      <p:pic>
        <p:nvPicPr>
          <p:cNvPr id="9" name="Picture Placeholder 6" descr="A group of people wearing hard hats&#10;&#10;AI-generated content may be incorrect.">
            <a:extLst>
              <a:ext uri="{FF2B5EF4-FFF2-40B4-BE49-F238E27FC236}">
                <a16:creationId xmlns:a16="http://schemas.microsoft.com/office/drawing/2014/main" id="{17F4CF3F-E924-9B6C-57B5-86189AC341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96" b="16396"/>
          <a:stretch>
            <a:fillRect/>
          </a:stretch>
        </p:blipFill>
        <p:spPr>
          <a:xfrm>
            <a:off x="1" y="697706"/>
            <a:ext cx="12191999" cy="54625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87C93EF-89C5-951F-F572-D98F5F3FC8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96544" y="4698142"/>
            <a:ext cx="1244664" cy="124466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9E519CC-F53E-7CD6-5A66-A80C319602CB}"/>
              </a:ext>
            </a:extLst>
          </p:cNvPr>
          <p:cNvSpPr txBox="1"/>
          <p:nvPr/>
        </p:nvSpPr>
        <p:spPr>
          <a:xfrm>
            <a:off x="873124" y="1229383"/>
            <a:ext cx="4664076" cy="876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5400" b="1">
                <a:solidFill>
                  <a:schemeClr val="bg1"/>
                </a:solidFill>
              </a:rPr>
              <a:t>Let’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FE8B97-0E7E-B7D8-E5A3-C6E7F8758171}"/>
              </a:ext>
            </a:extLst>
          </p:cNvPr>
          <p:cNvSpPr txBox="1"/>
          <p:nvPr/>
        </p:nvSpPr>
        <p:spPr>
          <a:xfrm>
            <a:off x="873124" y="2650060"/>
            <a:ext cx="4664076" cy="876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800" dirty="0">
                <a:solidFill>
                  <a:schemeClr val="bg1"/>
                </a:solidFill>
              </a:rPr>
              <a:t>the energy futu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0237D4-E9DB-43A5-FA11-43664EAA0811}"/>
              </a:ext>
            </a:extLst>
          </p:cNvPr>
          <p:cNvSpPr txBox="1"/>
          <p:nvPr/>
        </p:nvSpPr>
        <p:spPr>
          <a:xfrm>
            <a:off x="873124" y="1793083"/>
            <a:ext cx="4664076" cy="876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5400" b="1" dirty="0">
                <a:solidFill>
                  <a:schemeClr val="bg1"/>
                </a:solidFill>
              </a:rPr>
              <a:t>transform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AE704D-5BCE-4F5B-63C5-1E3AC5C7B930}"/>
              </a:ext>
            </a:extLst>
          </p:cNvPr>
          <p:cNvSpPr txBox="1"/>
          <p:nvPr/>
        </p:nvSpPr>
        <p:spPr>
          <a:xfrm>
            <a:off x="873124" y="3638221"/>
            <a:ext cx="5369056" cy="15298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rtl="0">
              <a:spcBef>
                <a:spcPts val="600"/>
              </a:spcBef>
              <a:spcAft>
                <a:spcPts val="600"/>
              </a:spcAft>
            </a:pPr>
            <a:r>
              <a:rPr lang="it-IT" b="0" i="0" dirty="0">
                <a:solidFill>
                  <a:schemeClr val="bg1"/>
                </a:solidFill>
                <a:effectLst/>
                <a:latin typeface="+mj-lt"/>
              </a:rPr>
              <a:t>Grazie ai nostri team innovativi e diversificati e alla tecnologia pionieristica, trasformiamo l'energia per aggiungere valore sociale, ambientale ed economico, consentendo un futuro energetico sostenibile per le generazioni di oggi e di quelle future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52665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BB6DDC-0CFB-C534-77D3-68D11A7B4D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3E10EF-CC3D-B9F7-2AA9-92C5D29CA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Hitachi Energy | Presentazione azienda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4B108-097A-8AAD-FB96-DA3277BA7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F4BC05-462B-4F19-BE6B-A1043C81AA78}" type="slidenum">
              <a:rPr kumimoji="0" sz="8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sz="8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itachi Sans"/>
              <a:ea typeface="+mn-ea"/>
              <a:cs typeface="+mn-cs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328D14B-7801-BB24-8130-0EFF36A8B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3" y="632438"/>
            <a:ext cx="7442201" cy="1315745"/>
          </a:xfrm>
        </p:spPr>
        <p:txBody>
          <a:bodyPr/>
          <a:lstStyle/>
          <a:p>
            <a:pPr rtl="0"/>
            <a:r>
              <a:rPr lang="it-IT" dirty="0"/>
              <a:t>Grazi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31D040B-E145-3C31-CBDA-1B99D9CB41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072" y="3883025"/>
            <a:ext cx="5379088" cy="1820141"/>
          </a:xfrm>
        </p:spPr>
        <p:txBody>
          <a:bodyPr/>
          <a:lstStyle/>
          <a:p>
            <a:pPr rtl="0"/>
            <a:r>
              <a:rPr lang="it-IT" sz="1800" dirty="0"/>
              <a:t>Iscriviti alla nostra </a:t>
            </a:r>
            <a:r>
              <a:rPr lang="it-IT" sz="1800" b="1" dirty="0">
                <a:hlinkClick r:id="rId5"/>
              </a:rPr>
              <a:t>newsletter mensile </a:t>
            </a:r>
            <a:r>
              <a:rPr lang="it-IT" sz="1800" b="1" dirty="0"/>
              <a:t> </a:t>
            </a:r>
            <a:r>
              <a:rPr lang="it-IT" sz="1800" dirty="0"/>
              <a:t>per le ultime novità su Hitachi Energy e sul settore.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D99088B-3EBF-4353-5AE5-6428AB17F04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02411" y="3882160"/>
            <a:ext cx="1944062" cy="1820140"/>
          </a:xfrm>
        </p:spPr>
        <p:txBody>
          <a:bodyPr/>
          <a:lstStyle/>
          <a:p>
            <a:pPr rtl="0"/>
            <a:r>
              <a:rPr lang="it-IT"/>
              <a:t>www.hitachienergy.com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9838515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BD5A56-5CE1-2E00-24F9-0C6532D366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F63CBC-FA0C-DD83-E7CE-483FE3FBF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Hitachi Energy | Presentazione azienda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2CBD8B-F604-F9BA-3878-D4795C988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F4BC05-462B-4F19-BE6B-A1043C81AA78}" type="slidenum">
              <a:rPr kumimoji="0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sz="800" b="1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/>
              <a:ea typeface="+mn-ea"/>
              <a:cs typeface="+mn-cs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8501300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Placeholder 10">
            <a:extLst>
              <a:ext uri="{FF2B5EF4-FFF2-40B4-BE49-F238E27FC236}">
                <a16:creationId xmlns:a16="http://schemas.microsoft.com/office/drawing/2014/main" id="{04D0E762-EDBC-1812-1395-F2B0574DAB0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2238" cy="68580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E24032F3-C013-CEA7-5756-9F1E34B67E62}"/>
              </a:ext>
            </a:extLst>
          </p:cNvPr>
          <p:cNvSpPr/>
          <p:nvPr/>
        </p:nvSpPr>
        <p:spPr>
          <a:xfrm>
            <a:off x="0" y="0"/>
            <a:ext cx="12182238" cy="6857999"/>
          </a:xfrm>
          <a:prstGeom prst="rect">
            <a:avLst/>
          </a:prstGeom>
          <a:gradFill>
            <a:gsLst>
              <a:gs pos="77000">
                <a:schemeClr val="tx1">
                  <a:lumMod val="33403"/>
                  <a:lumOff val="66597"/>
                  <a:alpha val="0"/>
                </a:schemeClr>
              </a:gs>
              <a:gs pos="41000">
                <a:schemeClr val="bg1">
                  <a:lumMod val="98000"/>
                  <a:alpha val="93000"/>
                </a:schemeClr>
              </a:gs>
            </a:gsLst>
            <a:lin ang="6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2660B63-C2AF-89D7-E047-5091CFD064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Hitachi Energy | Presentazione azienda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99D385-FE02-3734-852A-6A4960B66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F4BC05-462B-4F19-BE6B-A1043C81AA78}" type="slidenum">
              <a:rPr kumimoji="0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sz="800" b="1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/>
              <a:ea typeface="+mn-ea"/>
              <a:cs typeface="+mn-cs"/>
            </a:endParaRPr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733DAC6B-1F57-4435-98DA-867699CE1FCA}"/>
              </a:ext>
            </a:extLst>
          </p:cNvPr>
          <p:cNvSpPr txBox="1">
            <a:spLocks noGrp="1"/>
          </p:cNvSpPr>
          <p:nvPr>
            <p:ph type="body" sz="quarter" idx="14"/>
          </p:nvPr>
        </p:nvSpPr>
        <p:spPr bwMode="gray">
          <a:xfrm>
            <a:off x="473074" y="1306980"/>
            <a:ext cx="5543551" cy="368158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Verdana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19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b="1" dirty="0"/>
              <a:t>Il nostro scopo</a:t>
            </a:r>
          </a:p>
          <a:p>
            <a:pPr rtl="0" fontAlgn="base">
              <a:defRPr/>
            </a:pPr>
            <a:r>
              <a:rPr lang="it-IT" sz="2600" dirty="0">
                <a:solidFill>
                  <a:schemeClr val="accent1"/>
                </a:solidFill>
              </a:rPr>
              <a:t>Hitachi Energy </a:t>
            </a:r>
          </a:p>
          <a:p>
            <a:pPr rtl="0" fontAlgn="base">
              <a:defRPr/>
            </a:pPr>
            <a:r>
              <a:rPr lang="it-IT" sz="2600" dirty="0">
                <a:solidFill>
                  <a:schemeClr val="accent1"/>
                </a:solidFill>
              </a:rPr>
              <a:t>Promuovere un futuro energetico sostenibile per tutti</a:t>
            </a:r>
          </a:p>
          <a:p>
            <a:pPr rtl="0" fontAlgn="base">
              <a:lnSpc>
                <a:spcPct val="110000"/>
              </a:lnSpc>
              <a:spcBef>
                <a:spcPts val="1800"/>
              </a:spcBef>
              <a:defRPr/>
            </a:pPr>
            <a:r>
              <a:rPr lang="it-IT" dirty="0"/>
              <a:t>Stiamo rendendo il sistema energetico mondiale più sostenibile, flessibile e sicuro. In qualità di leader tecnologico all’avanguardia, collaboriamo con clienti e partner per abilitare un futuro energetico sostenibile per le generazioni di oggi e quelle future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83403F-C39C-C147-DCD5-9DC896258620}"/>
              </a:ext>
            </a:extLst>
          </p:cNvPr>
          <p:cNvGrpSpPr/>
          <p:nvPr/>
        </p:nvGrpSpPr>
        <p:grpSpPr>
          <a:xfrm>
            <a:off x="473075" y="4289325"/>
            <a:ext cx="5090443" cy="1509018"/>
            <a:chOff x="262052" y="4084264"/>
            <a:chExt cx="3227827" cy="956861"/>
          </a:xfrm>
        </p:grpSpPr>
        <p:pic>
          <p:nvPicPr>
            <p:cNvPr id="12" name="object 2">
              <a:extLst>
                <a:ext uri="{FF2B5EF4-FFF2-40B4-BE49-F238E27FC236}">
                  <a16:creationId xmlns:a16="http://schemas.microsoft.com/office/drawing/2014/main" id="{6B988356-A607-CE47-1707-AD3BCB0AC89E}"/>
                </a:ext>
              </a:extLst>
            </p:cNvPr>
            <p:cNvPicPr/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38334" y="4084264"/>
              <a:ext cx="451545" cy="439165"/>
            </a:xfrm>
            <a:prstGeom prst="rect">
              <a:avLst/>
            </a:prstGeom>
          </p:spPr>
        </p:pic>
        <p:pic>
          <p:nvPicPr>
            <p:cNvPr id="13" name="object 3">
              <a:extLst>
                <a:ext uri="{FF2B5EF4-FFF2-40B4-BE49-F238E27FC236}">
                  <a16:creationId xmlns:a16="http://schemas.microsoft.com/office/drawing/2014/main" id="{0B96D98C-6C6A-DDC9-DBD9-DE05AAABAA3C}"/>
                </a:ext>
              </a:extLst>
            </p:cNvPr>
            <p:cNvPicPr/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7311" y="4601960"/>
              <a:ext cx="451545" cy="439165"/>
            </a:xfrm>
            <a:prstGeom prst="rect">
              <a:avLst/>
            </a:prstGeom>
          </p:spPr>
        </p:pic>
        <p:pic>
          <p:nvPicPr>
            <p:cNvPr id="14" name="object 4">
              <a:extLst>
                <a:ext uri="{FF2B5EF4-FFF2-40B4-BE49-F238E27FC236}">
                  <a16:creationId xmlns:a16="http://schemas.microsoft.com/office/drawing/2014/main" id="{107F8ECB-AD90-D33D-A866-195FA07EF9CE}"/>
                </a:ext>
              </a:extLst>
            </p:cNvPr>
            <p:cNvPicPr/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2062" y="4084578"/>
              <a:ext cx="451545" cy="439165"/>
            </a:xfrm>
            <a:prstGeom prst="rect">
              <a:avLst/>
            </a:prstGeom>
          </p:spPr>
        </p:pic>
        <p:pic>
          <p:nvPicPr>
            <p:cNvPr id="15" name="object 5">
              <a:extLst>
                <a:ext uri="{FF2B5EF4-FFF2-40B4-BE49-F238E27FC236}">
                  <a16:creationId xmlns:a16="http://schemas.microsoft.com/office/drawing/2014/main" id="{22F8AC37-240E-7892-239B-7976CB3CD5E3}"/>
                </a:ext>
              </a:extLst>
            </p:cNvPr>
            <p:cNvPicPr/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7311" y="4084578"/>
              <a:ext cx="451553" cy="439165"/>
            </a:xfrm>
            <a:prstGeom prst="rect">
              <a:avLst/>
            </a:prstGeom>
          </p:spPr>
        </p:pic>
        <p:pic>
          <p:nvPicPr>
            <p:cNvPr id="16" name="object 6">
              <a:extLst>
                <a:ext uri="{FF2B5EF4-FFF2-40B4-BE49-F238E27FC236}">
                  <a16:creationId xmlns:a16="http://schemas.microsoft.com/office/drawing/2014/main" id="{7DC76EED-420A-7AE5-825E-B322BE065051}"/>
                </a:ext>
              </a:extLst>
            </p:cNvPr>
            <p:cNvPicPr/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72570" y="4084578"/>
              <a:ext cx="451545" cy="439165"/>
            </a:xfrm>
            <a:prstGeom prst="rect">
              <a:avLst/>
            </a:prstGeom>
          </p:spPr>
        </p:pic>
        <p:pic>
          <p:nvPicPr>
            <p:cNvPr id="17" name="object 7">
              <a:extLst>
                <a:ext uri="{FF2B5EF4-FFF2-40B4-BE49-F238E27FC236}">
                  <a16:creationId xmlns:a16="http://schemas.microsoft.com/office/drawing/2014/main" id="{DBD61AEE-2752-F18E-B272-F04FCA9DCC6D}"/>
                </a:ext>
              </a:extLst>
            </p:cNvPr>
            <p:cNvPicPr/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2052" y="4601960"/>
              <a:ext cx="451552" cy="439165"/>
            </a:xfrm>
            <a:prstGeom prst="rect">
              <a:avLst/>
            </a:prstGeom>
          </p:spPr>
        </p:pic>
        <p:pic>
          <p:nvPicPr>
            <p:cNvPr id="18" name="object 8">
              <a:extLst>
                <a:ext uri="{FF2B5EF4-FFF2-40B4-BE49-F238E27FC236}">
                  <a16:creationId xmlns:a16="http://schemas.microsoft.com/office/drawing/2014/main" id="{751017CB-9E83-5B4E-E7BC-4FBAE3B3AA3C}"/>
                </a:ext>
              </a:extLst>
            </p:cNvPr>
            <p:cNvPicPr/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83076" y="4084265"/>
              <a:ext cx="451552" cy="439165"/>
            </a:xfrm>
            <a:prstGeom prst="rect">
              <a:avLst/>
            </a:prstGeom>
          </p:spPr>
        </p:pic>
        <p:pic>
          <p:nvPicPr>
            <p:cNvPr id="19" name="object 9">
              <a:extLst>
                <a:ext uri="{FF2B5EF4-FFF2-40B4-BE49-F238E27FC236}">
                  <a16:creationId xmlns:a16="http://schemas.microsoft.com/office/drawing/2014/main" id="{237BD438-18A1-BCE2-5926-DDFD11A15FBD}"/>
                </a:ext>
              </a:extLst>
            </p:cNvPr>
            <p:cNvPicPr/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75126" y="4595162"/>
              <a:ext cx="451548" cy="439165"/>
            </a:xfrm>
            <a:prstGeom prst="rect">
              <a:avLst/>
            </a:prstGeom>
          </p:spPr>
        </p:pic>
        <p:pic>
          <p:nvPicPr>
            <p:cNvPr id="20" name="object 10">
              <a:extLst>
                <a:ext uri="{FF2B5EF4-FFF2-40B4-BE49-F238E27FC236}">
                  <a16:creationId xmlns:a16="http://schemas.microsoft.com/office/drawing/2014/main" id="{A509C9C8-09A5-E24C-23EB-D76C53DFB67D}"/>
                </a:ext>
              </a:extLst>
            </p:cNvPr>
            <p:cNvPicPr/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43435" y="4597638"/>
              <a:ext cx="446444" cy="434205"/>
            </a:xfrm>
            <a:prstGeom prst="rect">
              <a:avLst/>
            </a:prstGeom>
          </p:spPr>
        </p:pic>
        <p:pic>
          <p:nvPicPr>
            <p:cNvPr id="21" name="object 11">
              <a:extLst>
                <a:ext uri="{FF2B5EF4-FFF2-40B4-BE49-F238E27FC236}">
                  <a16:creationId xmlns:a16="http://schemas.microsoft.com/office/drawing/2014/main" id="{C2609D42-654E-68C1-3B26-EC880DF21DA4}"/>
                </a:ext>
              </a:extLst>
            </p:cNvPr>
            <p:cNvPicPr/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27820" y="4084578"/>
              <a:ext cx="451551" cy="439165"/>
            </a:xfrm>
            <a:prstGeom prst="rect">
              <a:avLst/>
            </a:prstGeom>
          </p:spPr>
        </p:pic>
        <p:pic>
          <p:nvPicPr>
            <p:cNvPr id="22" name="object 12">
              <a:extLst>
                <a:ext uri="{FF2B5EF4-FFF2-40B4-BE49-F238E27FC236}">
                  <a16:creationId xmlns:a16="http://schemas.microsoft.com/office/drawing/2014/main" id="{980C50DB-F38B-03C6-FFB0-525CAADE6940}"/>
                </a:ext>
              </a:extLst>
            </p:cNvPr>
            <p:cNvPicPr/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32528" y="4597250"/>
              <a:ext cx="447246" cy="434985"/>
            </a:xfrm>
            <a:prstGeom prst="rect">
              <a:avLst/>
            </a:prstGeom>
          </p:spPr>
        </p:pic>
        <p:pic>
          <p:nvPicPr>
            <p:cNvPr id="23" name="object 13">
              <a:extLst>
                <a:ext uri="{FF2B5EF4-FFF2-40B4-BE49-F238E27FC236}">
                  <a16:creationId xmlns:a16="http://schemas.microsoft.com/office/drawing/2014/main" id="{D7C6775A-E9A2-0AD2-1054-695C49763D19}"/>
                </a:ext>
              </a:extLst>
            </p:cNvPr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87780" y="4597250"/>
              <a:ext cx="447246" cy="434985"/>
            </a:xfrm>
            <a:prstGeom prst="rect">
              <a:avLst/>
            </a:prstGeom>
          </p:spPr>
        </p:pic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E0B912E6-2A95-C267-C61A-9CE56A4B8D7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BA7A074D-CD8C-BB89-62AC-A02E0985D060}"/>
              </a:ext>
            </a:extLst>
          </p:cNvPr>
          <p:cNvGrpSpPr/>
          <p:nvPr/>
        </p:nvGrpSpPr>
        <p:grpSpPr>
          <a:xfrm>
            <a:off x="6417912" y="983142"/>
            <a:ext cx="5336905" cy="5196278"/>
            <a:chOff x="6175378" y="1651379"/>
            <a:chExt cx="5589160" cy="3720364"/>
          </a:xfrm>
          <a:effectLst>
            <a:outerShdw blurRad="1258634" dist="379392" dir="5400000" algn="t" rotWithShape="0">
              <a:prstClr val="black">
                <a:alpha val="20000"/>
              </a:prstClr>
            </a:outerShdw>
          </a:effectLst>
        </p:grpSpPr>
        <p:sp useBgFill="1">
          <p:nvSpPr>
            <p:cNvPr id="37" name="Rounded Rectangle 36">
              <a:extLst>
                <a:ext uri="{FF2B5EF4-FFF2-40B4-BE49-F238E27FC236}">
                  <a16:creationId xmlns:a16="http://schemas.microsoft.com/office/drawing/2014/main" id="{EF3B130C-2EB1-5A1F-FFFC-C061E3DE373D}"/>
                </a:ext>
              </a:extLst>
            </p:cNvPr>
            <p:cNvSpPr/>
            <p:nvPr/>
          </p:nvSpPr>
          <p:spPr>
            <a:xfrm>
              <a:off x="6175378" y="1651379"/>
              <a:ext cx="5589160" cy="3720364"/>
            </a:xfrm>
            <a:prstGeom prst="roundRect">
              <a:avLst>
                <a:gd name="adj" fmla="val 1218"/>
              </a:avLst>
            </a:prstGeom>
            <a:ln w="12700" cap="flat" cmpd="sng" algn="ctr">
              <a:solidFill>
                <a:schemeClr val="accent5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38" name="Rounded Rectangle 37">
              <a:extLst>
                <a:ext uri="{FF2B5EF4-FFF2-40B4-BE49-F238E27FC236}">
                  <a16:creationId xmlns:a16="http://schemas.microsoft.com/office/drawing/2014/main" id="{320CC4AC-3F46-14CA-2536-8E322A216B28}"/>
                </a:ext>
              </a:extLst>
            </p:cNvPr>
            <p:cNvSpPr/>
            <p:nvPr/>
          </p:nvSpPr>
          <p:spPr>
            <a:xfrm>
              <a:off x="6175378" y="1651379"/>
              <a:ext cx="5589160" cy="3720364"/>
            </a:xfrm>
            <a:prstGeom prst="roundRect">
              <a:avLst>
                <a:gd name="adj" fmla="val 1218"/>
              </a:avLst>
            </a:prstGeom>
            <a:gradFill>
              <a:gsLst>
                <a:gs pos="77000">
                  <a:srgbClr val="FFFFFF">
                    <a:alpha val="65490"/>
                    <a:lumMod val="0"/>
                    <a:lumOff val="100000"/>
                  </a:srgb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7200000" scaled="0"/>
            </a:gradFill>
            <a:ln w="12700" cap="flat" cmpd="sng" algn="ctr">
              <a:solidFill>
                <a:schemeClr val="accent5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</p:grpSp>
      <p:sp>
        <p:nvSpPr>
          <p:cNvPr id="24" name="Content Placeholder 8">
            <a:extLst>
              <a:ext uri="{FF2B5EF4-FFF2-40B4-BE49-F238E27FC236}">
                <a16:creationId xmlns:a16="http://schemas.microsoft.com/office/drawing/2014/main" id="{D95B9010-38D0-96A3-9BA9-137563F95E37}"/>
              </a:ext>
            </a:extLst>
          </p:cNvPr>
          <p:cNvSpPr txBox="1">
            <a:spLocks/>
          </p:cNvSpPr>
          <p:nvPr/>
        </p:nvSpPr>
        <p:spPr bwMode="gray">
          <a:xfrm>
            <a:off x="6686903" y="1311663"/>
            <a:ext cx="4687342" cy="316708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it-IT" sz="1400" b="1" i="1" u="none" strike="noStrike" kern="1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Aptos" panose="020B0004020202020204" pitchFamily="34" charset="0"/>
                <a:cs typeface="Aptos" panose="020B0004020202020204" pitchFamily="34" charset="0"/>
              </a:rPr>
              <a:t>Ci troviamo in un “supercycle energetico” </a:t>
            </a:r>
            <a:r>
              <a:rPr kumimoji="0" lang="it-IT" sz="1400" b="0" i="1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– </a:t>
            </a:r>
            <a:r>
              <a:rPr kumimoji="0" lang="it-IT" sz="1400" b="0" i="1" u="none" strike="noStrike" kern="1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Aptos" panose="020B0004020202020204" pitchFamily="34" charset="0"/>
                <a:cs typeface="Aptos" panose="020B0004020202020204" pitchFamily="34" charset="0"/>
              </a:rPr>
              <a:t>un’era di trasformazione guidata dal passaggio accelerato alle energie rinnovabili e all’elettrificazione. Le sfide che ci attendono sono importanti e più grandi di una singola azienda, di un singolo team e di un singolo individuo.</a:t>
            </a:r>
            <a:r>
              <a:rPr kumimoji="0" lang="it-IT" sz="1400" b="1" i="1" u="none" strike="noStrike" kern="1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Aptos" panose="020B0004020202020204" pitchFamily="34" charset="0"/>
                <a:cs typeface="Aptos" panose="020B00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it-IT" sz="1400" b="0" i="1" u="none" strike="noStrike" kern="1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Aptos" panose="020B0004020202020204" pitchFamily="34" charset="0"/>
                <a:cs typeface="Aptos" panose="020B0004020202020204" pitchFamily="34" charset="0"/>
              </a:rPr>
              <a:t>Far fronte a questo scenario r</a:t>
            </a:r>
            <a:r>
              <a:rPr lang="it-IT" i="1" kern="100" dirty="0">
                <a:solidFill>
                  <a:prstClr val="black"/>
                </a:solidFill>
                <a:latin typeface="Hitachi Sans"/>
                <a:ea typeface="Aptos" panose="020B0004020202020204" pitchFamily="34" charset="0"/>
                <a:cs typeface="Aptos" panose="020B0004020202020204" pitchFamily="34" charset="0"/>
              </a:rPr>
              <a:t>ichiede di </a:t>
            </a:r>
            <a:r>
              <a:rPr kumimoji="0" lang="it-IT" sz="1400" b="0" i="1" u="none" strike="noStrike" kern="1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Aptos" panose="020B0004020202020204" pitchFamily="34" charset="0"/>
                <a:cs typeface="Aptos" panose="020B0004020202020204" pitchFamily="34" charset="0"/>
              </a:rPr>
              <a:t>ripensare le partnership con i nostri clienti in tutti i settori e</a:t>
            </a:r>
            <a:r>
              <a:rPr lang="it-IT" i="1" kern="100" dirty="0">
                <a:solidFill>
                  <a:prstClr val="black"/>
                </a:solidFill>
                <a:latin typeface="Hitachi Sans"/>
                <a:ea typeface="Aptos" panose="020B0004020202020204" pitchFamily="34" charset="0"/>
                <a:cs typeface="Aptos" panose="020B0004020202020204" pitchFamily="34" charset="0"/>
              </a:rPr>
              <a:t> con </a:t>
            </a:r>
            <a:r>
              <a:rPr kumimoji="0" lang="it-IT" sz="1400" b="0" i="1" u="none" strike="noStrike" kern="1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Aptos" panose="020B0004020202020204" pitchFamily="34" charset="0"/>
                <a:cs typeface="Aptos" panose="020B0004020202020204" pitchFamily="34" charset="0"/>
              </a:rPr>
              <a:t>i governi per </a:t>
            </a:r>
            <a:r>
              <a:rPr lang="it-IT" i="1" kern="100" dirty="0">
                <a:solidFill>
                  <a:prstClr val="black"/>
                </a:solidFill>
                <a:latin typeface="Hitachi Sans"/>
                <a:ea typeface="Aptos" panose="020B0004020202020204" pitchFamily="34" charset="0"/>
                <a:cs typeface="Aptos" panose="020B0004020202020204" pitchFamily="34" charset="0"/>
              </a:rPr>
              <a:t>andare oltre i limiti nell</a:t>
            </a:r>
            <a:r>
              <a:rPr kumimoji="0" lang="it-IT" sz="1400" b="0" i="1" u="none" strike="noStrike" kern="1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Aptos" panose="020B0004020202020204" pitchFamily="34" charset="0"/>
                <a:cs typeface="Aptos" panose="020B0004020202020204" pitchFamily="34" charset="0"/>
              </a:rPr>
              <a:t>'innovazione, nei modelli aziendali, negli standard e nella tecnologia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it-IT" sz="1400" b="0" i="1" u="none" strike="noStrike" kern="1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In Hitachi Energy, stiamo guidando questa trasformazione per </a:t>
            </a:r>
            <a:r>
              <a:rPr kumimoji="0" lang="it-IT" sz="1400" b="1" i="1" u="none" strike="noStrike" kern="1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promuovere un futuro energetico sostenibile per tutti.</a:t>
            </a:r>
          </a:p>
        </p:txBody>
      </p:sp>
      <p:sp>
        <p:nvSpPr>
          <p:cNvPr id="26" name="Content Placeholder 8">
            <a:extLst>
              <a:ext uri="{FF2B5EF4-FFF2-40B4-BE49-F238E27FC236}">
                <a16:creationId xmlns:a16="http://schemas.microsoft.com/office/drawing/2014/main" id="{43F5A1C6-B3A0-612D-7E89-5BD6A6E3D7DE}"/>
              </a:ext>
            </a:extLst>
          </p:cNvPr>
          <p:cNvSpPr txBox="1"/>
          <p:nvPr/>
        </p:nvSpPr>
        <p:spPr bwMode="gray">
          <a:xfrm>
            <a:off x="7945124" y="5105758"/>
            <a:ext cx="3161275" cy="4858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Andreas Schierenbeck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</a:br>
            <a:r>
              <a:rPr kumimoji="0" lang="it-IT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Amministratore delegato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it-IT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Hitachi Energy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7BEBDEBC-4436-84BC-4678-64F39C665DE2}"/>
              </a:ext>
            </a:extLst>
          </p:cNvPr>
          <p:cNvPicPr>
            <a:picLocks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6903" y="4763706"/>
            <a:ext cx="1062354" cy="1062354"/>
          </a:xfrm>
          <a:prstGeom prst="ellipse">
            <a:avLst/>
          </a:prstGeom>
          <a:gradFill>
            <a:gsLst>
              <a:gs pos="74000">
                <a:schemeClr val="tx1">
                  <a:lumMod val="0"/>
                  <a:lumOff val="100000"/>
                </a:schemeClr>
              </a:gs>
              <a:gs pos="35000">
                <a:schemeClr val="bg1">
                  <a:lumMod val="98000"/>
                  <a:alpha val="93000"/>
                </a:schemeClr>
              </a:gs>
            </a:gsLst>
            <a:lin ang="0" scaled="0"/>
          </a:gradFill>
          <a:ln>
            <a:noFill/>
          </a:ln>
        </p:spPr>
      </p:pic>
      <p:sp>
        <p:nvSpPr>
          <p:cNvPr id="51" name="Title 3">
            <a:extLst>
              <a:ext uri="{FF2B5EF4-FFF2-40B4-BE49-F238E27FC236}">
                <a16:creationId xmlns:a16="http://schemas.microsoft.com/office/drawing/2014/main" id="{3996E124-D2E8-FD17-3CA8-AD5B0E25686E}"/>
              </a:ext>
            </a:extLst>
          </p:cNvPr>
          <p:cNvSpPr txBox="1">
            <a:spLocks/>
          </p:cNvSpPr>
          <p:nvPr/>
        </p:nvSpPr>
        <p:spPr>
          <a:xfrm>
            <a:off x="469899" y="403200"/>
            <a:ext cx="7445375" cy="3046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j-ea"/>
                <a:cs typeface="+mj-cs"/>
              </a:rPr>
              <a:t>Benvenuti in Hitachi Energy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4C30294-BC85-CC3B-9F04-AE625A096F7A}"/>
              </a:ext>
            </a:extLst>
          </p:cNvPr>
          <p:cNvSpPr txBox="1"/>
          <p:nvPr/>
        </p:nvSpPr>
        <p:spPr>
          <a:xfrm>
            <a:off x="9020176" y="6372001"/>
            <a:ext cx="2699686" cy="826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Italiano: Tutti i diritti riservati 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5314770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D205771-FD94-74C6-B4D2-2346772F19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it-IT" dirty="0"/>
              <a:t>Hitachi Group Company | Titolo del titolo della presentazio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723FD7-154D-ACEA-C430-3FE3D9CBD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29F4BC05-462B-4F19-BE6B-A1043C81AA78}" type="slidenum">
              <a:rPr/>
              <a:pPr rtl="0"/>
              <a:t>3</a:t>
            </a:fld>
            <a:endParaRPr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EF1F0A6-B616-305F-8E15-52B9377A8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706642"/>
            <a:ext cx="6496050" cy="443198"/>
          </a:xfrm>
        </p:spPr>
        <p:txBody>
          <a:bodyPr/>
          <a:lstStyle/>
          <a:p>
            <a:pPr rtl="0"/>
            <a:r>
              <a:rPr lang="it-IT" sz="3200" b="1" dirty="0"/>
              <a:t>Verso un futuro a zero emissioni di carboni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ED0E33-B533-44DA-CF69-59C0EF846DFE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rtl="0"/>
            <a:r>
              <a:rPr lang="it-IT"/>
              <a:t>Guidare la trasformazione energetic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D664FC-16C7-B29C-4E7E-084B878373E3}"/>
              </a:ext>
            </a:extLst>
          </p:cNvPr>
          <p:cNvSpPr/>
          <p:nvPr/>
        </p:nvSpPr>
        <p:spPr>
          <a:xfrm>
            <a:off x="905075" y="2108842"/>
            <a:ext cx="2892973" cy="2388268"/>
          </a:xfrm>
          <a:prstGeom prst="rect">
            <a:avLst/>
          </a:prstGeom>
          <a:solidFill>
            <a:srgbClr val="2D2D2D">
              <a:alpha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C783DB58-C53B-6044-B429-0F7A9D4B3AFE}"/>
              </a:ext>
            </a:extLst>
          </p:cNvPr>
          <p:cNvSpPr txBox="1">
            <a:spLocks/>
          </p:cNvSpPr>
          <p:nvPr/>
        </p:nvSpPr>
        <p:spPr bwMode="gray">
          <a:xfrm>
            <a:off x="1226251" y="2637131"/>
            <a:ext cx="2660985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defRPr/>
            </a:pPr>
            <a:r>
              <a:rPr lang="it-IT" sz="2400" dirty="0">
                <a:solidFill>
                  <a:prstClr val="white"/>
                </a:solidFill>
                <a:latin typeface="+mj-lt"/>
              </a:rPr>
              <a:t>L'elettricità sarà la spina dorsale dell'intero sistema energetico</a:t>
            </a:r>
            <a:br>
              <a:rPr lang="en-US" sz="2400" dirty="0">
                <a:solidFill>
                  <a:prstClr val="white"/>
                </a:solidFill>
                <a:latin typeface="+mj-lt"/>
              </a:rPr>
            </a:br>
            <a:br>
              <a:rPr lang="en-US" sz="2400" dirty="0">
                <a:solidFill>
                  <a:prstClr val="white"/>
                </a:solidFill>
                <a:latin typeface="+mj-lt"/>
              </a:rPr>
            </a:br>
            <a:br>
              <a:rPr lang="en-US" sz="2400" dirty="0">
                <a:solidFill>
                  <a:prstClr val="white"/>
                </a:solidFill>
                <a:latin typeface="+mj-lt"/>
              </a:rPr>
            </a:br>
            <a:endParaRPr lang="en-US" sz="2400" dirty="0">
              <a:solidFill>
                <a:prstClr val="white"/>
              </a:solidFill>
              <a:latin typeface="+mj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88B463C-A51E-0390-B5B5-C914C1E433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870" y="2205638"/>
            <a:ext cx="374259" cy="24950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0A91863-617F-33BD-3B69-48250085D7E0}"/>
              </a:ext>
            </a:extLst>
          </p:cNvPr>
          <p:cNvSpPr/>
          <p:nvPr/>
        </p:nvSpPr>
        <p:spPr>
          <a:xfrm>
            <a:off x="4523183" y="2108842"/>
            <a:ext cx="2892973" cy="2388268"/>
          </a:xfrm>
          <a:prstGeom prst="rect">
            <a:avLst/>
          </a:prstGeom>
          <a:solidFill>
            <a:srgbClr val="FF0026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PｺﾞｼｯｸE" pitchFamily="50" charset="-128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3BEC827A-DFA0-FCFA-A552-E53126F6D3A2}"/>
              </a:ext>
            </a:extLst>
          </p:cNvPr>
          <p:cNvSpPr txBox="1">
            <a:spLocks/>
          </p:cNvSpPr>
          <p:nvPr/>
        </p:nvSpPr>
        <p:spPr bwMode="gray">
          <a:xfrm>
            <a:off x="4755171" y="2506103"/>
            <a:ext cx="2458591" cy="13388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defRPr/>
            </a:pPr>
            <a:r>
              <a:rPr lang="it-IT" sz="2800" dirty="0">
                <a:solidFill>
                  <a:prstClr val="white"/>
                </a:solidFill>
                <a:latin typeface="+mj-lt"/>
              </a:rPr>
              <a:t>Oggi</a:t>
            </a:r>
          </a:p>
          <a:p>
            <a:pPr algn="r" rtl="0">
              <a:defRPr/>
            </a:pPr>
            <a:r>
              <a:rPr lang="it-IT" sz="5400" b="1" dirty="0">
                <a:solidFill>
                  <a:prstClr val="white"/>
                </a:solidFill>
                <a:latin typeface="+mj-lt"/>
              </a:rPr>
              <a:t>~20%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063990B-6EBD-DC2E-5898-05FA8CB36FAA}"/>
              </a:ext>
            </a:extLst>
          </p:cNvPr>
          <p:cNvSpPr/>
          <p:nvPr/>
        </p:nvSpPr>
        <p:spPr>
          <a:xfrm>
            <a:off x="8141294" y="2108842"/>
            <a:ext cx="2892973" cy="2388268"/>
          </a:xfrm>
          <a:prstGeom prst="rect">
            <a:avLst/>
          </a:prstGeom>
          <a:solidFill>
            <a:srgbClr val="FF0026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HGPｺﾞｼｯｸE" pitchFamily="50" charset="-128"/>
            </a:endParaRP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0609B0BD-C03D-0434-41CF-D826DD9CB9EF}"/>
              </a:ext>
            </a:extLst>
          </p:cNvPr>
          <p:cNvSpPr txBox="1">
            <a:spLocks/>
          </p:cNvSpPr>
          <p:nvPr/>
        </p:nvSpPr>
        <p:spPr bwMode="gray">
          <a:xfrm>
            <a:off x="8373282" y="2506103"/>
            <a:ext cx="2458591" cy="1908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defRPr/>
            </a:pPr>
            <a:r>
              <a:rPr lang="it-IT" sz="2800">
                <a:solidFill>
                  <a:prstClr val="white"/>
                </a:solidFill>
                <a:latin typeface="+mj-lt"/>
              </a:rPr>
              <a:t>2050</a:t>
            </a:r>
          </a:p>
          <a:p>
            <a:pPr algn="r" rtl="0">
              <a:defRPr/>
            </a:pPr>
            <a:r>
              <a:rPr lang="it-IT" sz="5400" b="1">
                <a:solidFill>
                  <a:prstClr val="white"/>
                </a:solidFill>
                <a:latin typeface="+mj-lt"/>
              </a:rPr>
              <a:t>+50%</a:t>
            </a:r>
          </a:p>
          <a:p>
            <a:pPr algn="r" rtl="0">
              <a:defRPr/>
            </a:pPr>
            <a:r>
              <a:rPr lang="it-IT" sz="1600" b="1">
                <a:solidFill>
                  <a:prstClr val="white"/>
                </a:solidFill>
                <a:latin typeface="+mj-lt"/>
              </a:rPr>
              <a:t>del consumo energetico tota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A65D88C-E0EA-B48C-FFAA-F8D33C76CB16}"/>
              </a:ext>
            </a:extLst>
          </p:cNvPr>
          <p:cNvSpPr/>
          <p:nvPr/>
        </p:nvSpPr>
        <p:spPr>
          <a:xfrm>
            <a:off x="0" y="5101800"/>
            <a:ext cx="12192000" cy="768452"/>
          </a:xfrm>
          <a:prstGeom prst="rect">
            <a:avLst/>
          </a:prstGeom>
          <a:gradFill>
            <a:gsLst>
              <a:gs pos="100000">
                <a:schemeClr val="bg2"/>
              </a:gs>
              <a:gs pos="0">
                <a:schemeClr val="accent1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Nel sistema energetico globale del 2050, avremo bisogno di circa quattro volte la capacità di generazione di energia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</a:br>
            <a:r>
              <a:rPr kumimoji="0" lang="it-IT" sz="16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e dovremo trasferire fino a tre volte più energia elettrica rispetto al 2020</a:t>
            </a:r>
          </a:p>
        </p:txBody>
      </p:sp>
    </p:spTree>
    <p:extLst>
      <p:ext uri="{BB962C8B-B14F-4D97-AF65-F5344CB8AC3E}">
        <p14:creationId xmlns:p14="http://schemas.microsoft.com/office/powerpoint/2010/main" val="29028230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AC0DAD7-83F2-700E-AB80-4D2CCCC8A5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Hitachi Energy | Presentazione azienda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7E3208-FF34-D64F-43B2-18ADA3D94B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F4BC05-462B-4F19-BE6B-A1043C81AA78}" type="slidenum">
              <a:rPr kumimoji="0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sz="800" b="1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6E63B85-61D5-4A69-36AF-2C51DD766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899" y="403200"/>
            <a:ext cx="7445375" cy="304699"/>
          </a:xfrm>
        </p:spPr>
        <p:txBody>
          <a:bodyPr/>
          <a:lstStyle/>
          <a:p>
            <a:pPr rtl="0"/>
            <a:r>
              <a:rPr lang="it-IT"/>
              <a:t>Informazioni su Hitachi Energ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F19BE63-C8B4-D171-3A21-82B8C2954B15}"/>
              </a:ext>
            </a:extLst>
          </p:cNvPr>
          <p:cNvGrpSpPr/>
          <p:nvPr/>
        </p:nvGrpSpPr>
        <p:grpSpPr>
          <a:xfrm>
            <a:off x="461402" y="1152523"/>
            <a:ext cx="7557591" cy="3538546"/>
            <a:chOff x="461402" y="1152523"/>
            <a:chExt cx="7557591" cy="3538546"/>
          </a:xfrm>
        </p:grpSpPr>
        <p:grpSp>
          <p:nvGrpSpPr>
            <p:cNvPr id="1000" name="Group 999">
              <a:extLst>
                <a:ext uri="{FF2B5EF4-FFF2-40B4-BE49-F238E27FC236}">
                  <a16:creationId xmlns:a16="http://schemas.microsoft.com/office/drawing/2014/main" id="{7AC3481B-AD1E-C0D0-2F2F-0DFFDFD355D9}"/>
                </a:ext>
              </a:extLst>
            </p:cNvPr>
            <p:cNvGrpSpPr/>
            <p:nvPr/>
          </p:nvGrpSpPr>
          <p:grpSpPr>
            <a:xfrm>
              <a:off x="461402" y="1152523"/>
              <a:ext cx="7557591" cy="3538546"/>
              <a:chOff x="591461" y="1088858"/>
              <a:chExt cx="11009012" cy="5154545"/>
            </a:xfrm>
          </p:grpSpPr>
          <p:grpSp>
            <p:nvGrpSpPr>
              <p:cNvPr id="1110" name="Group 1109">
                <a:extLst>
                  <a:ext uri="{FF2B5EF4-FFF2-40B4-BE49-F238E27FC236}">
                    <a16:creationId xmlns:a16="http://schemas.microsoft.com/office/drawing/2014/main" id="{8562EC4F-2D06-B556-3821-FB6DC5834C7B}"/>
                  </a:ext>
                </a:extLst>
              </p:cNvPr>
              <p:cNvGrpSpPr/>
              <p:nvPr/>
            </p:nvGrpSpPr>
            <p:grpSpPr>
              <a:xfrm>
                <a:off x="3271466" y="3882443"/>
                <a:ext cx="1507375" cy="2360960"/>
                <a:chOff x="3271466" y="3882443"/>
                <a:chExt cx="1507375" cy="2360960"/>
              </a:xfrm>
            </p:grpSpPr>
            <p:sp>
              <p:nvSpPr>
                <p:cNvPr id="1468" name="Freeform 5">
                  <a:extLst>
                    <a:ext uri="{FF2B5EF4-FFF2-40B4-BE49-F238E27FC236}">
                      <a16:creationId xmlns:a16="http://schemas.microsoft.com/office/drawing/2014/main" id="{81028845-DC29-99E3-9831-91A54709090C}"/>
                    </a:ext>
                  </a:extLst>
                </p:cNvPr>
                <p:cNvSpPr/>
                <p:nvPr/>
              </p:nvSpPr>
              <p:spPr bwMode="gray">
                <a:xfrm>
                  <a:off x="3610365" y="6190728"/>
                  <a:ext cx="45741" cy="20694"/>
                </a:xfrm>
                <a:custGeom>
                  <a:avLst/>
                  <a:gdLst>
                    <a:gd name="T0" fmla="*/ 10 w 32"/>
                    <a:gd name="T1" fmla="*/ 3 h 16"/>
                    <a:gd name="T2" fmla="*/ 8 w 32"/>
                    <a:gd name="T3" fmla="*/ 3 h 16"/>
                    <a:gd name="T4" fmla="*/ 8 w 32"/>
                    <a:gd name="T5" fmla="*/ 6 h 16"/>
                    <a:gd name="T6" fmla="*/ 3 w 32"/>
                    <a:gd name="T7" fmla="*/ 3 h 16"/>
                    <a:gd name="T8" fmla="*/ 0 w 32"/>
                    <a:gd name="T9" fmla="*/ 3 h 16"/>
                    <a:gd name="T10" fmla="*/ 0 w 32"/>
                    <a:gd name="T11" fmla="*/ 0 h 16"/>
                    <a:gd name="T12" fmla="*/ 6 w 32"/>
                    <a:gd name="T13" fmla="*/ 0 h 16"/>
                    <a:gd name="T14" fmla="*/ 10 w 32"/>
                    <a:gd name="T15" fmla="*/ 3 h 1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2"/>
                    <a:gd name="T25" fmla="*/ 0 h 16"/>
                    <a:gd name="T26" fmla="*/ 32 w 32"/>
                    <a:gd name="T27" fmla="*/ 16 h 1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2" h="16">
                      <a:moveTo>
                        <a:pt x="32" y="8"/>
                      </a:moveTo>
                      <a:lnTo>
                        <a:pt x="24" y="8"/>
                      </a:lnTo>
                      <a:lnTo>
                        <a:pt x="24" y="16"/>
                      </a:ln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16" y="0"/>
                      </a:lnTo>
                      <a:lnTo>
                        <a:pt x="32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69" name="Freeform 6">
                  <a:extLst>
                    <a:ext uri="{FF2B5EF4-FFF2-40B4-BE49-F238E27FC236}">
                      <a16:creationId xmlns:a16="http://schemas.microsoft.com/office/drawing/2014/main" id="{2CE10E39-97DF-24DB-E728-3C84FD7E4E8D}"/>
                    </a:ext>
                  </a:extLst>
                </p:cNvPr>
                <p:cNvSpPr/>
                <p:nvPr/>
              </p:nvSpPr>
              <p:spPr bwMode="gray">
                <a:xfrm>
                  <a:off x="3562545" y="6010129"/>
                  <a:ext cx="12475" cy="43269"/>
                </a:xfrm>
                <a:custGeom>
                  <a:avLst/>
                  <a:gdLst>
                    <a:gd name="T0" fmla="*/ 4 w 8"/>
                    <a:gd name="T1" fmla="*/ 12 h 32"/>
                    <a:gd name="T2" fmla="*/ 4 w 8"/>
                    <a:gd name="T3" fmla="*/ 9 h 32"/>
                    <a:gd name="T4" fmla="*/ 4 w 8"/>
                    <a:gd name="T5" fmla="*/ 3 h 32"/>
                    <a:gd name="T6" fmla="*/ 4 w 8"/>
                    <a:gd name="T7" fmla="*/ 0 h 32"/>
                    <a:gd name="T8" fmla="*/ 4 w 8"/>
                    <a:gd name="T9" fmla="*/ 3 h 32"/>
                    <a:gd name="T10" fmla="*/ 0 w 8"/>
                    <a:gd name="T11" fmla="*/ 6 h 32"/>
                    <a:gd name="T12" fmla="*/ 4 w 8"/>
                    <a:gd name="T13" fmla="*/ 9 h 32"/>
                    <a:gd name="T14" fmla="*/ 4 w 8"/>
                    <a:gd name="T15" fmla="*/ 12 h 3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"/>
                    <a:gd name="T25" fmla="*/ 0 h 32"/>
                    <a:gd name="T26" fmla="*/ 8 w 8"/>
                    <a:gd name="T27" fmla="*/ 32 h 3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" h="32">
                      <a:moveTo>
                        <a:pt x="8" y="32"/>
                      </a:moveTo>
                      <a:lnTo>
                        <a:pt x="8" y="24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8" y="32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70" name="Freeform 7">
                  <a:extLst>
                    <a:ext uri="{FF2B5EF4-FFF2-40B4-BE49-F238E27FC236}">
                      <a16:creationId xmlns:a16="http://schemas.microsoft.com/office/drawing/2014/main" id="{76D136B1-5C77-26CC-9DB7-50E1E0B24F45}"/>
                    </a:ext>
                  </a:extLst>
                </p:cNvPr>
                <p:cNvSpPr/>
                <p:nvPr/>
              </p:nvSpPr>
              <p:spPr bwMode="gray">
                <a:xfrm>
                  <a:off x="3587495" y="5767449"/>
                  <a:ext cx="33266" cy="52675"/>
                </a:xfrm>
                <a:custGeom>
                  <a:avLst/>
                  <a:gdLst>
                    <a:gd name="T0" fmla="*/ 2 w 24"/>
                    <a:gd name="T1" fmla="*/ 3 h 40"/>
                    <a:gd name="T2" fmla="*/ 2 w 24"/>
                    <a:gd name="T3" fmla="*/ 0 h 40"/>
                    <a:gd name="T4" fmla="*/ 7 w 24"/>
                    <a:gd name="T5" fmla="*/ 3 h 40"/>
                    <a:gd name="T6" fmla="*/ 7 w 24"/>
                    <a:gd name="T7" fmla="*/ 6 h 40"/>
                    <a:gd name="T8" fmla="*/ 5 w 24"/>
                    <a:gd name="T9" fmla="*/ 10 h 40"/>
                    <a:gd name="T10" fmla="*/ 2 w 24"/>
                    <a:gd name="T11" fmla="*/ 14 h 40"/>
                    <a:gd name="T12" fmla="*/ 0 w 24"/>
                    <a:gd name="T13" fmla="*/ 14 h 40"/>
                    <a:gd name="T14" fmla="*/ 2 w 24"/>
                    <a:gd name="T15" fmla="*/ 3 h 4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40"/>
                    <a:gd name="T26" fmla="*/ 24 w 24"/>
                    <a:gd name="T27" fmla="*/ 40 h 4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40">
                      <a:moveTo>
                        <a:pt x="8" y="8"/>
                      </a:moveTo>
                      <a:lnTo>
                        <a:pt x="8" y="0"/>
                      </a:lnTo>
                      <a:lnTo>
                        <a:pt x="24" y="8"/>
                      </a:lnTo>
                      <a:lnTo>
                        <a:pt x="24" y="16"/>
                      </a:lnTo>
                      <a:lnTo>
                        <a:pt x="16" y="32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71" name="Freeform 8">
                  <a:extLst>
                    <a:ext uri="{FF2B5EF4-FFF2-40B4-BE49-F238E27FC236}">
                      <a16:creationId xmlns:a16="http://schemas.microsoft.com/office/drawing/2014/main" id="{E790A32A-178C-EB8E-293C-56E7F4663B14}"/>
                    </a:ext>
                  </a:extLst>
                </p:cNvPr>
                <p:cNvSpPr/>
                <p:nvPr/>
              </p:nvSpPr>
              <p:spPr bwMode="gray">
                <a:xfrm>
                  <a:off x="3317207" y="3882443"/>
                  <a:ext cx="280684" cy="95943"/>
                </a:xfrm>
                <a:custGeom>
                  <a:avLst/>
                  <a:gdLst>
                    <a:gd name="T0" fmla="*/ 0 w 192"/>
                    <a:gd name="T1" fmla="*/ 6 h 72"/>
                    <a:gd name="T2" fmla="*/ 6 w 192"/>
                    <a:gd name="T3" fmla="*/ 0 h 72"/>
                    <a:gd name="T4" fmla="*/ 11 w 192"/>
                    <a:gd name="T5" fmla="*/ 0 h 72"/>
                    <a:gd name="T6" fmla="*/ 17 w 192"/>
                    <a:gd name="T7" fmla="*/ 0 h 72"/>
                    <a:gd name="T8" fmla="*/ 25 w 192"/>
                    <a:gd name="T9" fmla="*/ 0 h 72"/>
                    <a:gd name="T10" fmla="*/ 31 w 192"/>
                    <a:gd name="T11" fmla="*/ 3 h 72"/>
                    <a:gd name="T12" fmla="*/ 31 w 192"/>
                    <a:gd name="T13" fmla="*/ 6 h 72"/>
                    <a:gd name="T14" fmla="*/ 36 w 192"/>
                    <a:gd name="T15" fmla="*/ 6 h 72"/>
                    <a:gd name="T16" fmla="*/ 48 w 192"/>
                    <a:gd name="T17" fmla="*/ 14 h 72"/>
                    <a:gd name="T18" fmla="*/ 50 w 192"/>
                    <a:gd name="T19" fmla="*/ 14 h 72"/>
                    <a:gd name="T20" fmla="*/ 53 w 192"/>
                    <a:gd name="T21" fmla="*/ 17 h 72"/>
                    <a:gd name="T22" fmla="*/ 58 w 192"/>
                    <a:gd name="T23" fmla="*/ 20 h 72"/>
                    <a:gd name="T24" fmla="*/ 64 w 192"/>
                    <a:gd name="T25" fmla="*/ 20 h 72"/>
                    <a:gd name="T26" fmla="*/ 67 w 192"/>
                    <a:gd name="T27" fmla="*/ 23 h 72"/>
                    <a:gd name="T28" fmla="*/ 56 w 192"/>
                    <a:gd name="T29" fmla="*/ 26 h 72"/>
                    <a:gd name="T30" fmla="*/ 53 w 192"/>
                    <a:gd name="T31" fmla="*/ 23 h 72"/>
                    <a:gd name="T32" fmla="*/ 44 w 192"/>
                    <a:gd name="T33" fmla="*/ 26 h 72"/>
                    <a:gd name="T34" fmla="*/ 41 w 192"/>
                    <a:gd name="T35" fmla="*/ 26 h 72"/>
                    <a:gd name="T36" fmla="*/ 41 w 192"/>
                    <a:gd name="T37" fmla="*/ 23 h 72"/>
                    <a:gd name="T38" fmla="*/ 44 w 192"/>
                    <a:gd name="T39" fmla="*/ 20 h 72"/>
                    <a:gd name="T40" fmla="*/ 44 w 192"/>
                    <a:gd name="T41" fmla="*/ 17 h 72"/>
                    <a:gd name="T42" fmla="*/ 39 w 192"/>
                    <a:gd name="T43" fmla="*/ 17 h 72"/>
                    <a:gd name="T44" fmla="*/ 34 w 192"/>
                    <a:gd name="T45" fmla="*/ 11 h 72"/>
                    <a:gd name="T46" fmla="*/ 27 w 192"/>
                    <a:gd name="T47" fmla="*/ 11 h 72"/>
                    <a:gd name="T48" fmla="*/ 25 w 192"/>
                    <a:gd name="T49" fmla="*/ 8 h 72"/>
                    <a:gd name="T50" fmla="*/ 19 w 192"/>
                    <a:gd name="T51" fmla="*/ 8 h 72"/>
                    <a:gd name="T52" fmla="*/ 14 w 192"/>
                    <a:gd name="T53" fmla="*/ 6 h 72"/>
                    <a:gd name="T54" fmla="*/ 14 w 192"/>
                    <a:gd name="T55" fmla="*/ 3 h 72"/>
                    <a:gd name="T56" fmla="*/ 11 w 192"/>
                    <a:gd name="T57" fmla="*/ 3 h 72"/>
                    <a:gd name="T58" fmla="*/ 3 w 192"/>
                    <a:gd name="T59" fmla="*/ 8 h 72"/>
                    <a:gd name="T60" fmla="*/ 3 w 192"/>
                    <a:gd name="T61" fmla="*/ 6 h 72"/>
                    <a:gd name="T62" fmla="*/ 0 w 192"/>
                    <a:gd name="T63" fmla="*/ 6 h 72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92"/>
                    <a:gd name="T97" fmla="*/ 0 h 72"/>
                    <a:gd name="T98" fmla="*/ 192 w 192"/>
                    <a:gd name="T99" fmla="*/ 72 h 72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92" h="72">
                      <a:moveTo>
                        <a:pt x="0" y="16"/>
                      </a:moveTo>
                      <a:lnTo>
                        <a:pt x="16" y="0"/>
                      </a:lnTo>
                      <a:lnTo>
                        <a:pt x="32" y="0"/>
                      </a:lnTo>
                      <a:lnTo>
                        <a:pt x="48" y="0"/>
                      </a:lnTo>
                      <a:lnTo>
                        <a:pt x="72" y="0"/>
                      </a:lnTo>
                      <a:lnTo>
                        <a:pt x="88" y="8"/>
                      </a:lnTo>
                      <a:lnTo>
                        <a:pt x="88" y="16"/>
                      </a:lnTo>
                      <a:lnTo>
                        <a:pt x="104" y="16"/>
                      </a:lnTo>
                      <a:lnTo>
                        <a:pt x="136" y="40"/>
                      </a:lnTo>
                      <a:lnTo>
                        <a:pt x="144" y="40"/>
                      </a:lnTo>
                      <a:lnTo>
                        <a:pt x="152" y="48"/>
                      </a:lnTo>
                      <a:lnTo>
                        <a:pt x="168" y="56"/>
                      </a:lnTo>
                      <a:lnTo>
                        <a:pt x="184" y="56"/>
                      </a:lnTo>
                      <a:lnTo>
                        <a:pt x="192" y="64"/>
                      </a:lnTo>
                      <a:lnTo>
                        <a:pt x="160" y="72"/>
                      </a:lnTo>
                      <a:lnTo>
                        <a:pt x="152" y="64"/>
                      </a:lnTo>
                      <a:lnTo>
                        <a:pt x="128" y="72"/>
                      </a:lnTo>
                      <a:lnTo>
                        <a:pt x="120" y="72"/>
                      </a:lnTo>
                      <a:lnTo>
                        <a:pt x="120" y="64"/>
                      </a:lnTo>
                      <a:lnTo>
                        <a:pt x="128" y="56"/>
                      </a:lnTo>
                      <a:lnTo>
                        <a:pt x="128" y="48"/>
                      </a:lnTo>
                      <a:lnTo>
                        <a:pt x="112" y="48"/>
                      </a:lnTo>
                      <a:lnTo>
                        <a:pt x="96" y="32"/>
                      </a:lnTo>
                      <a:lnTo>
                        <a:pt x="80" y="32"/>
                      </a:lnTo>
                      <a:lnTo>
                        <a:pt x="72" y="24"/>
                      </a:lnTo>
                      <a:lnTo>
                        <a:pt x="56" y="24"/>
                      </a:lnTo>
                      <a:lnTo>
                        <a:pt x="40" y="16"/>
                      </a:lnTo>
                      <a:lnTo>
                        <a:pt x="40" y="8"/>
                      </a:lnTo>
                      <a:lnTo>
                        <a:pt x="32" y="8"/>
                      </a:lnTo>
                      <a:lnTo>
                        <a:pt x="8" y="24"/>
                      </a:lnTo>
                      <a:lnTo>
                        <a:pt x="8" y="16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72" name="Freeform 9">
                  <a:extLst>
                    <a:ext uri="{FF2B5EF4-FFF2-40B4-BE49-F238E27FC236}">
                      <a16:creationId xmlns:a16="http://schemas.microsoft.com/office/drawing/2014/main" id="{1C2987E2-01A6-46B7-E91A-83AB2D5099BF}"/>
                    </a:ext>
                  </a:extLst>
                </p:cNvPr>
                <p:cNvSpPr/>
                <p:nvPr/>
              </p:nvSpPr>
              <p:spPr bwMode="gray">
                <a:xfrm>
                  <a:off x="3936790" y="5058220"/>
                  <a:ext cx="257813" cy="233274"/>
                </a:xfrm>
                <a:custGeom>
                  <a:avLst/>
                  <a:gdLst>
                    <a:gd name="T0" fmla="*/ 0 w 176"/>
                    <a:gd name="T1" fmla="*/ 23 h 176"/>
                    <a:gd name="T2" fmla="*/ 3 w 176"/>
                    <a:gd name="T3" fmla="*/ 17 h 176"/>
                    <a:gd name="T4" fmla="*/ 6 w 176"/>
                    <a:gd name="T5" fmla="*/ 6 h 176"/>
                    <a:gd name="T6" fmla="*/ 6 w 176"/>
                    <a:gd name="T7" fmla="*/ 3 h 176"/>
                    <a:gd name="T8" fmla="*/ 14 w 176"/>
                    <a:gd name="T9" fmla="*/ 0 h 176"/>
                    <a:gd name="T10" fmla="*/ 31 w 176"/>
                    <a:gd name="T11" fmla="*/ 0 h 176"/>
                    <a:gd name="T12" fmla="*/ 36 w 176"/>
                    <a:gd name="T13" fmla="*/ 3 h 176"/>
                    <a:gd name="T14" fmla="*/ 36 w 176"/>
                    <a:gd name="T15" fmla="*/ 19 h 176"/>
                    <a:gd name="T16" fmla="*/ 42 w 176"/>
                    <a:gd name="T17" fmla="*/ 23 h 176"/>
                    <a:gd name="T18" fmla="*/ 53 w 176"/>
                    <a:gd name="T19" fmla="*/ 27 h 176"/>
                    <a:gd name="T20" fmla="*/ 53 w 176"/>
                    <a:gd name="T21" fmla="*/ 34 h 176"/>
                    <a:gd name="T22" fmla="*/ 56 w 176"/>
                    <a:gd name="T23" fmla="*/ 34 h 176"/>
                    <a:gd name="T24" fmla="*/ 61 w 176"/>
                    <a:gd name="T25" fmla="*/ 34 h 176"/>
                    <a:gd name="T26" fmla="*/ 61 w 176"/>
                    <a:gd name="T27" fmla="*/ 42 h 176"/>
                    <a:gd name="T28" fmla="*/ 58 w 176"/>
                    <a:gd name="T29" fmla="*/ 44 h 176"/>
                    <a:gd name="T30" fmla="*/ 58 w 176"/>
                    <a:gd name="T31" fmla="*/ 48 h 176"/>
                    <a:gd name="T32" fmla="*/ 56 w 176"/>
                    <a:gd name="T33" fmla="*/ 56 h 176"/>
                    <a:gd name="T34" fmla="*/ 53 w 176"/>
                    <a:gd name="T35" fmla="*/ 58 h 176"/>
                    <a:gd name="T36" fmla="*/ 42 w 176"/>
                    <a:gd name="T37" fmla="*/ 61 h 176"/>
                    <a:gd name="T38" fmla="*/ 34 w 176"/>
                    <a:gd name="T39" fmla="*/ 61 h 176"/>
                    <a:gd name="T40" fmla="*/ 31 w 176"/>
                    <a:gd name="T41" fmla="*/ 58 h 176"/>
                    <a:gd name="T42" fmla="*/ 39 w 176"/>
                    <a:gd name="T43" fmla="*/ 48 h 176"/>
                    <a:gd name="T44" fmla="*/ 39 w 176"/>
                    <a:gd name="T45" fmla="*/ 44 h 176"/>
                    <a:gd name="T46" fmla="*/ 34 w 176"/>
                    <a:gd name="T47" fmla="*/ 42 h 176"/>
                    <a:gd name="T48" fmla="*/ 25 w 176"/>
                    <a:gd name="T49" fmla="*/ 39 h 176"/>
                    <a:gd name="T50" fmla="*/ 19 w 176"/>
                    <a:gd name="T51" fmla="*/ 34 h 176"/>
                    <a:gd name="T52" fmla="*/ 14 w 176"/>
                    <a:gd name="T53" fmla="*/ 34 h 176"/>
                    <a:gd name="T54" fmla="*/ 8 w 176"/>
                    <a:gd name="T55" fmla="*/ 27 h 176"/>
                    <a:gd name="T56" fmla="*/ 6 w 176"/>
                    <a:gd name="T57" fmla="*/ 25 h 176"/>
                    <a:gd name="T58" fmla="*/ 0 w 176"/>
                    <a:gd name="T59" fmla="*/ 23 h 17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76"/>
                    <a:gd name="T91" fmla="*/ 0 h 176"/>
                    <a:gd name="T92" fmla="*/ 176 w 176"/>
                    <a:gd name="T93" fmla="*/ 176 h 17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76" h="176">
                      <a:moveTo>
                        <a:pt x="0" y="64"/>
                      </a:moveTo>
                      <a:lnTo>
                        <a:pt x="8" y="48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40" y="0"/>
                      </a:lnTo>
                      <a:lnTo>
                        <a:pt x="88" y="0"/>
                      </a:lnTo>
                      <a:lnTo>
                        <a:pt x="104" y="8"/>
                      </a:lnTo>
                      <a:lnTo>
                        <a:pt x="104" y="56"/>
                      </a:lnTo>
                      <a:lnTo>
                        <a:pt x="120" y="64"/>
                      </a:lnTo>
                      <a:lnTo>
                        <a:pt x="152" y="80"/>
                      </a:lnTo>
                      <a:lnTo>
                        <a:pt x="152" y="96"/>
                      </a:lnTo>
                      <a:lnTo>
                        <a:pt x="160" y="96"/>
                      </a:lnTo>
                      <a:lnTo>
                        <a:pt x="176" y="96"/>
                      </a:lnTo>
                      <a:lnTo>
                        <a:pt x="176" y="120"/>
                      </a:lnTo>
                      <a:lnTo>
                        <a:pt x="168" y="128"/>
                      </a:lnTo>
                      <a:lnTo>
                        <a:pt x="168" y="136"/>
                      </a:lnTo>
                      <a:lnTo>
                        <a:pt x="160" y="160"/>
                      </a:lnTo>
                      <a:lnTo>
                        <a:pt x="152" y="168"/>
                      </a:lnTo>
                      <a:lnTo>
                        <a:pt x="120" y="176"/>
                      </a:lnTo>
                      <a:lnTo>
                        <a:pt x="96" y="176"/>
                      </a:lnTo>
                      <a:lnTo>
                        <a:pt x="88" y="168"/>
                      </a:lnTo>
                      <a:lnTo>
                        <a:pt x="112" y="136"/>
                      </a:lnTo>
                      <a:lnTo>
                        <a:pt x="112" y="128"/>
                      </a:lnTo>
                      <a:lnTo>
                        <a:pt x="96" y="120"/>
                      </a:lnTo>
                      <a:lnTo>
                        <a:pt x="72" y="112"/>
                      </a:lnTo>
                      <a:lnTo>
                        <a:pt x="56" y="96"/>
                      </a:lnTo>
                      <a:lnTo>
                        <a:pt x="40" y="96"/>
                      </a:lnTo>
                      <a:lnTo>
                        <a:pt x="24" y="80"/>
                      </a:lnTo>
                      <a:lnTo>
                        <a:pt x="16" y="72"/>
                      </a:lnTo>
                      <a:lnTo>
                        <a:pt x="0" y="64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73" name="Freeform 10">
                  <a:extLst>
                    <a:ext uri="{FF2B5EF4-FFF2-40B4-BE49-F238E27FC236}">
                      <a16:creationId xmlns:a16="http://schemas.microsoft.com/office/drawing/2014/main" id="{F49BAFA8-E671-C63F-5010-5FFAFE9DA6F2}"/>
                    </a:ext>
                  </a:extLst>
                </p:cNvPr>
                <p:cNvSpPr/>
                <p:nvPr/>
              </p:nvSpPr>
              <p:spPr bwMode="gray">
                <a:xfrm>
                  <a:off x="3739272" y="4783558"/>
                  <a:ext cx="349295" cy="380011"/>
                </a:xfrm>
                <a:custGeom>
                  <a:avLst/>
                  <a:gdLst>
                    <a:gd name="T0" fmla="*/ 47 w 240"/>
                    <a:gd name="T1" fmla="*/ 94 h 288"/>
                    <a:gd name="T2" fmla="*/ 50 w 240"/>
                    <a:gd name="T3" fmla="*/ 88 h 288"/>
                    <a:gd name="T4" fmla="*/ 52 w 240"/>
                    <a:gd name="T5" fmla="*/ 77 h 288"/>
                    <a:gd name="T6" fmla="*/ 52 w 240"/>
                    <a:gd name="T7" fmla="*/ 75 h 288"/>
                    <a:gd name="T8" fmla="*/ 60 w 240"/>
                    <a:gd name="T9" fmla="*/ 72 h 288"/>
                    <a:gd name="T10" fmla="*/ 77 w 240"/>
                    <a:gd name="T11" fmla="*/ 72 h 288"/>
                    <a:gd name="T12" fmla="*/ 83 w 240"/>
                    <a:gd name="T13" fmla="*/ 75 h 288"/>
                    <a:gd name="T14" fmla="*/ 83 w 240"/>
                    <a:gd name="T15" fmla="*/ 67 h 288"/>
                    <a:gd name="T16" fmla="*/ 79 w 240"/>
                    <a:gd name="T17" fmla="*/ 60 h 288"/>
                    <a:gd name="T18" fmla="*/ 79 w 240"/>
                    <a:gd name="T19" fmla="*/ 55 h 288"/>
                    <a:gd name="T20" fmla="*/ 77 w 240"/>
                    <a:gd name="T21" fmla="*/ 55 h 288"/>
                    <a:gd name="T22" fmla="*/ 77 w 240"/>
                    <a:gd name="T23" fmla="*/ 50 h 288"/>
                    <a:gd name="T24" fmla="*/ 60 w 240"/>
                    <a:gd name="T25" fmla="*/ 47 h 288"/>
                    <a:gd name="T26" fmla="*/ 60 w 240"/>
                    <a:gd name="T27" fmla="*/ 30 h 288"/>
                    <a:gd name="T28" fmla="*/ 55 w 240"/>
                    <a:gd name="T29" fmla="*/ 27 h 288"/>
                    <a:gd name="T30" fmla="*/ 39 w 240"/>
                    <a:gd name="T31" fmla="*/ 19 h 288"/>
                    <a:gd name="T32" fmla="*/ 33 w 240"/>
                    <a:gd name="T33" fmla="*/ 19 h 288"/>
                    <a:gd name="T34" fmla="*/ 30 w 240"/>
                    <a:gd name="T35" fmla="*/ 17 h 288"/>
                    <a:gd name="T36" fmla="*/ 30 w 240"/>
                    <a:gd name="T37" fmla="*/ 6 h 288"/>
                    <a:gd name="T38" fmla="*/ 25 w 240"/>
                    <a:gd name="T39" fmla="*/ 0 h 288"/>
                    <a:gd name="T40" fmla="*/ 17 w 240"/>
                    <a:gd name="T41" fmla="*/ 3 h 288"/>
                    <a:gd name="T42" fmla="*/ 14 w 240"/>
                    <a:gd name="T43" fmla="*/ 11 h 288"/>
                    <a:gd name="T44" fmla="*/ 0 w 240"/>
                    <a:gd name="T45" fmla="*/ 11 h 288"/>
                    <a:gd name="T46" fmla="*/ 6 w 240"/>
                    <a:gd name="T47" fmla="*/ 22 h 288"/>
                    <a:gd name="T48" fmla="*/ 6 w 240"/>
                    <a:gd name="T49" fmla="*/ 25 h 288"/>
                    <a:gd name="T50" fmla="*/ 3 w 240"/>
                    <a:gd name="T51" fmla="*/ 25 h 288"/>
                    <a:gd name="T52" fmla="*/ 6 w 240"/>
                    <a:gd name="T53" fmla="*/ 36 h 288"/>
                    <a:gd name="T54" fmla="*/ 0 w 240"/>
                    <a:gd name="T55" fmla="*/ 39 h 288"/>
                    <a:gd name="T56" fmla="*/ 3 w 240"/>
                    <a:gd name="T57" fmla="*/ 50 h 288"/>
                    <a:gd name="T58" fmla="*/ 0 w 240"/>
                    <a:gd name="T59" fmla="*/ 58 h 288"/>
                    <a:gd name="T60" fmla="*/ 3 w 240"/>
                    <a:gd name="T61" fmla="*/ 60 h 288"/>
                    <a:gd name="T62" fmla="*/ 6 w 240"/>
                    <a:gd name="T63" fmla="*/ 69 h 288"/>
                    <a:gd name="T64" fmla="*/ 6 w 240"/>
                    <a:gd name="T65" fmla="*/ 80 h 288"/>
                    <a:gd name="T66" fmla="*/ 11 w 240"/>
                    <a:gd name="T67" fmla="*/ 96 h 288"/>
                    <a:gd name="T68" fmla="*/ 14 w 240"/>
                    <a:gd name="T69" fmla="*/ 96 h 288"/>
                    <a:gd name="T70" fmla="*/ 19 w 240"/>
                    <a:gd name="T71" fmla="*/ 91 h 288"/>
                    <a:gd name="T72" fmla="*/ 22 w 240"/>
                    <a:gd name="T73" fmla="*/ 91 h 288"/>
                    <a:gd name="T74" fmla="*/ 30 w 240"/>
                    <a:gd name="T75" fmla="*/ 94 h 288"/>
                    <a:gd name="T76" fmla="*/ 33 w 240"/>
                    <a:gd name="T77" fmla="*/ 100 h 288"/>
                    <a:gd name="T78" fmla="*/ 36 w 240"/>
                    <a:gd name="T79" fmla="*/ 100 h 288"/>
                    <a:gd name="T80" fmla="*/ 36 w 240"/>
                    <a:gd name="T81" fmla="*/ 96 h 288"/>
                    <a:gd name="T82" fmla="*/ 36 w 240"/>
                    <a:gd name="T83" fmla="*/ 94 h 288"/>
                    <a:gd name="T84" fmla="*/ 39 w 240"/>
                    <a:gd name="T85" fmla="*/ 94 h 288"/>
                    <a:gd name="T86" fmla="*/ 44 w 240"/>
                    <a:gd name="T87" fmla="*/ 94 h 288"/>
                    <a:gd name="T88" fmla="*/ 47 w 240"/>
                    <a:gd name="T89" fmla="*/ 94 h 288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240"/>
                    <a:gd name="T136" fmla="*/ 0 h 288"/>
                    <a:gd name="T137" fmla="*/ 240 w 240"/>
                    <a:gd name="T138" fmla="*/ 288 h 288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240" h="288">
                      <a:moveTo>
                        <a:pt x="136" y="272"/>
                      </a:moveTo>
                      <a:lnTo>
                        <a:pt x="144" y="256"/>
                      </a:lnTo>
                      <a:lnTo>
                        <a:pt x="152" y="224"/>
                      </a:lnTo>
                      <a:lnTo>
                        <a:pt x="152" y="216"/>
                      </a:lnTo>
                      <a:lnTo>
                        <a:pt x="176" y="208"/>
                      </a:lnTo>
                      <a:lnTo>
                        <a:pt x="224" y="208"/>
                      </a:lnTo>
                      <a:lnTo>
                        <a:pt x="240" y="216"/>
                      </a:lnTo>
                      <a:lnTo>
                        <a:pt x="240" y="192"/>
                      </a:lnTo>
                      <a:lnTo>
                        <a:pt x="232" y="176"/>
                      </a:lnTo>
                      <a:lnTo>
                        <a:pt x="232" y="160"/>
                      </a:lnTo>
                      <a:lnTo>
                        <a:pt x="224" y="160"/>
                      </a:lnTo>
                      <a:lnTo>
                        <a:pt x="224" y="144"/>
                      </a:lnTo>
                      <a:lnTo>
                        <a:pt x="176" y="136"/>
                      </a:lnTo>
                      <a:lnTo>
                        <a:pt x="176" y="88"/>
                      </a:lnTo>
                      <a:lnTo>
                        <a:pt x="160" y="80"/>
                      </a:lnTo>
                      <a:lnTo>
                        <a:pt x="112" y="56"/>
                      </a:lnTo>
                      <a:lnTo>
                        <a:pt x="96" y="56"/>
                      </a:lnTo>
                      <a:lnTo>
                        <a:pt x="88" y="48"/>
                      </a:lnTo>
                      <a:lnTo>
                        <a:pt x="88" y="16"/>
                      </a:lnTo>
                      <a:lnTo>
                        <a:pt x="72" y="0"/>
                      </a:lnTo>
                      <a:lnTo>
                        <a:pt x="48" y="8"/>
                      </a:lnTo>
                      <a:lnTo>
                        <a:pt x="40" y="32"/>
                      </a:lnTo>
                      <a:lnTo>
                        <a:pt x="0" y="32"/>
                      </a:lnTo>
                      <a:lnTo>
                        <a:pt x="16" y="64"/>
                      </a:lnTo>
                      <a:lnTo>
                        <a:pt x="16" y="72"/>
                      </a:lnTo>
                      <a:lnTo>
                        <a:pt x="8" y="72"/>
                      </a:lnTo>
                      <a:lnTo>
                        <a:pt x="16" y="104"/>
                      </a:lnTo>
                      <a:lnTo>
                        <a:pt x="0" y="112"/>
                      </a:lnTo>
                      <a:lnTo>
                        <a:pt x="8" y="144"/>
                      </a:lnTo>
                      <a:lnTo>
                        <a:pt x="0" y="168"/>
                      </a:lnTo>
                      <a:lnTo>
                        <a:pt x="8" y="176"/>
                      </a:lnTo>
                      <a:lnTo>
                        <a:pt x="16" y="200"/>
                      </a:lnTo>
                      <a:lnTo>
                        <a:pt x="16" y="232"/>
                      </a:lnTo>
                      <a:lnTo>
                        <a:pt x="32" y="280"/>
                      </a:lnTo>
                      <a:lnTo>
                        <a:pt x="40" y="280"/>
                      </a:lnTo>
                      <a:lnTo>
                        <a:pt x="56" y="264"/>
                      </a:lnTo>
                      <a:lnTo>
                        <a:pt x="64" y="264"/>
                      </a:lnTo>
                      <a:lnTo>
                        <a:pt x="88" y="272"/>
                      </a:lnTo>
                      <a:lnTo>
                        <a:pt x="96" y="288"/>
                      </a:lnTo>
                      <a:lnTo>
                        <a:pt x="104" y="288"/>
                      </a:lnTo>
                      <a:lnTo>
                        <a:pt x="104" y="280"/>
                      </a:lnTo>
                      <a:lnTo>
                        <a:pt x="104" y="272"/>
                      </a:lnTo>
                      <a:lnTo>
                        <a:pt x="112" y="272"/>
                      </a:lnTo>
                      <a:lnTo>
                        <a:pt x="128" y="272"/>
                      </a:lnTo>
                      <a:lnTo>
                        <a:pt x="136" y="272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74" name="Freeform 11">
                  <a:extLst>
                    <a:ext uri="{FF2B5EF4-FFF2-40B4-BE49-F238E27FC236}">
                      <a16:creationId xmlns:a16="http://schemas.microsoft.com/office/drawing/2014/main" id="{10BA00D2-94CC-3351-AB9A-E53094ABFC0E}"/>
                    </a:ext>
                  </a:extLst>
                </p:cNvPr>
                <p:cNvSpPr/>
                <p:nvPr/>
              </p:nvSpPr>
              <p:spPr bwMode="gray">
                <a:xfrm>
                  <a:off x="4088567" y="4360279"/>
                  <a:ext cx="118511" cy="105350"/>
                </a:xfrm>
                <a:custGeom>
                  <a:avLst/>
                  <a:gdLst>
                    <a:gd name="T0" fmla="*/ 6 w 80"/>
                    <a:gd name="T1" fmla="*/ 27 h 80"/>
                    <a:gd name="T2" fmla="*/ 6 w 80"/>
                    <a:gd name="T3" fmla="*/ 22 h 80"/>
                    <a:gd name="T4" fmla="*/ 0 w 80"/>
                    <a:gd name="T5" fmla="*/ 19 h 80"/>
                    <a:gd name="T6" fmla="*/ 0 w 80"/>
                    <a:gd name="T7" fmla="*/ 10 h 80"/>
                    <a:gd name="T8" fmla="*/ 3 w 80"/>
                    <a:gd name="T9" fmla="*/ 8 h 80"/>
                    <a:gd name="T10" fmla="*/ 6 w 80"/>
                    <a:gd name="T11" fmla="*/ 3 h 80"/>
                    <a:gd name="T12" fmla="*/ 9 w 80"/>
                    <a:gd name="T13" fmla="*/ 0 h 80"/>
                    <a:gd name="T14" fmla="*/ 26 w 80"/>
                    <a:gd name="T15" fmla="*/ 0 h 80"/>
                    <a:gd name="T16" fmla="*/ 29 w 80"/>
                    <a:gd name="T17" fmla="*/ 3 h 80"/>
                    <a:gd name="T18" fmla="*/ 29 w 80"/>
                    <a:gd name="T19" fmla="*/ 6 h 80"/>
                    <a:gd name="T20" fmla="*/ 26 w 80"/>
                    <a:gd name="T21" fmla="*/ 6 h 80"/>
                    <a:gd name="T22" fmla="*/ 24 w 80"/>
                    <a:gd name="T23" fmla="*/ 14 h 80"/>
                    <a:gd name="T24" fmla="*/ 29 w 80"/>
                    <a:gd name="T25" fmla="*/ 22 h 80"/>
                    <a:gd name="T26" fmla="*/ 26 w 80"/>
                    <a:gd name="T27" fmla="*/ 27 h 80"/>
                    <a:gd name="T28" fmla="*/ 17 w 80"/>
                    <a:gd name="T29" fmla="*/ 27 h 80"/>
                    <a:gd name="T30" fmla="*/ 17 w 80"/>
                    <a:gd name="T31" fmla="*/ 25 h 80"/>
                    <a:gd name="T32" fmla="*/ 15 w 80"/>
                    <a:gd name="T33" fmla="*/ 25 h 80"/>
                    <a:gd name="T34" fmla="*/ 11 w 80"/>
                    <a:gd name="T35" fmla="*/ 27 h 80"/>
                    <a:gd name="T36" fmla="*/ 6 w 80"/>
                    <a:gd name="T37" fmla="*/ 27 h 8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80"/>
                    <a:gd name="T58" fmla="*/ 0 h 80"/>
                    <a:gd name="T59" fmla="*/ 80 w 80"/>
                    <a:gd name="T60" fmla="*/ 80 h 8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80" h="80">
                      <a:moveTo>
                        <a:pt x="16" y="80"/>
                      </a:moveTo>
                      <a:lnTo>
                        <a:pt x="16" y="64"/>
                      </a:lnTo>
                      <a:lnTo>
                        <a:pt x="0" y="56"/>
                      </a:lnTo>
                      <a:lnTo>
                        <a:pt x="0" y="32"/>
                      </a:lnTo>
                      <a:lnTo>
                        <a:pt x="8" y="24"/>
                      </a:ln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72" y="0"/>
                      </a:lnTo>
                      <a:lnTo>
                        <a:pt x="80" y="8"/>
                      </a:lnTo>
                      <a:lnTo>
                        <a:pt x="80" y="16"/>
                      </a:lnTo>
                      <a:lnTo>
                        <a:pt x="72" y="16"/>
                      </a:lnTo>
                      <a:lnTo>
                        <a:pt x="64" y="40"/>
                      </a:lnTo>
                      <a:lnTo>
                        <a:pt x="80" y="64"/>
                      </a:lnTo>
                      <a:lnTo>
                        <a:pt x="72" y="80"/>
                      </a:lnTo>
                      <a:lnTo>
                        <a:pt x="48" y="80"/>
                      </a:lnTo>
                      <a:lnTo>
                        <a:pt x="48" y="72"/>
                      </a:lnTo>
                      <a:lnTo>
                        <a:pt x="40" y="72"/>
                      </a:lnTo>
                      <a:lnTo>
                        <a:pt x="32" y="80"/>
                      </a:lnTo>
                      <a:lnTo>
                        <a:pt x="16" y="8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75" name="Freeform 12">
                  <a:extLst>
                    <a:ext uri="{FF2B5EF4-FFF2-40B4-BE49-F238E27FC236}">
                      <a16:creationId xmlns:a16="http://schemas.microsoft.com/office/drawing/2014/main" id="{0470FAFD-62A8-024C-6C95-41EE09FAC53F}"/>
                    </a:ext>
                  </a:extLst>
                </p:cNvPr>
                <p:cNvSpPr/>
                <p:nvPr/>
              </p:nvSpPr>
              <p:spPr bwMode="gray">
                <a:xfrm>
                  <a:off x="4182128" y="4369685"/>
                  <a:ext cx="95640" cy="95943"/>
                </a:xfrm>
                <a:custGeom>
                  <a:avLst/>
                  <a:gdLst>
                    <a:gd name="T0" fmla="*/ 3 w 64"/>
                    <a:gd name="T1" fmla="*/ 26 h 72"/>
                    <a:gd name="T2" fmla="*/ 6 w 64"/>
                    <a:gd name="T3" fmla="*/ 20 h 72"/>
                    <a:gd name="T4" fmla="*/ 0 w 64"/>
                    <a:gd name="T5" fmla="*/ 11 h 72"/>
                    <a:gd name="T6" fmla="*/ 3 w 64"/>
                    <a:gd name="T7" fmla="*/ 3 h 72"/>
                    <a:gd name="T8" fmla="*/ 6 w 64"/>
                    <a:gd name="T9" fmla="*/ 3 h 72"/>
                    <a:gd name="T10" fmla="*/ 6 w 64"/>
                    <a:gd name="T11" fmla="*/ 0 h 72"/>
                    <a:gd name="T12" fmla="*/ 12 w 64"/>
                    <a:gd name="T13" fmla="*/ 0 h 72"/>
                    <a:gd name="T14" fmla="*/ 15 w 64"/>
                    <a:gd name="T15" fmla="*/ 3 h 72"/>
                    <a:gd name="T16" fmla="*/ 24 w 64"/>
                    <a:gd name="T17" fmla="*/ 8 h 72"/>
                    <a:gd name="T18" fmla="*/ 21 w 64"/>
                    <a:gd name="T19" fmla="*/ 14 h 72"/>
                    <a:gd name="T20" fmla="*/ 18 w 64"/>
                    <a:gd name="T21" fmla="*/ 23 h 72"/>
                    <a:gd name="T22" fmla="*/ 15 w 64"/>
                    <a:gd name="T23" fmla="*/ 26 h 72"/>
                    <a:gd name="T24" fmla="*/ 6 w 64"/>
                    <a:gd name="T25" fmla="*/ 26 h 72"/>
                    <a:gd name="T26" fmla="*/ 3 w 64"/>
                    <a:gd name="T27" fmla="*/ 26 h 7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4"/>
                    <a:gd name="T43" fmla="*/ 0 h 72"/>
                    <a:gd name="T44" fmla="*/ 64 w 64"/>
                    <a:gd name="T45" fmla="*/ 72 h 7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4" h="72">
                      <a:moveTo>
                        <a:pt x="8" y="72"/>
                      </a:moveTo>
                      <a:lnTo>
                        <a:pt x="16" y="56"/>
                      </a:lnTo>
                      <a:lnTo>
                        <a:pt x="0" y="32"/>
                      </a:ln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32" y="0"/>
                      </a:lnTo>
                      <a:lnTo>
                        <a:pt x="40" y="8"/>
                      </a:lnTo>
                      <a:lnTo>
                        <a:pt x="64" y="24"/>
                      </a:lnTo>
                      <a:lnTo>
                        <a:pt x="56" y="40"/>
                      </a:lnTo>
                      <a:lnTo>
                        <a:pt x="48" y="64"/>
                      </a:lnTo>
                      <a:lnTo>
                        <a:pt x="40" y="72"/>
                      </a:lnTo>
                      <a:lnTo>
                        <a:pt x="16" y="72"/>
                      </a:lnTo>
                      <a:lnTo>
                        <a:pt x="8" y="72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76" name="Freeform 13">
                  <a:extLst>
                    <a:ext uri="{FF2B5EF4-FFF2-40B4-BE49-F238E27FC236}">
                      <a16:creationId xmlns:a16="http://schemas.microsoft.com/office/drawing/2014/main" id="{E2E81502-78DF-CE41-A505-6D6234649922}"/>
                    </a:ext>
                  </a:extLst>
                </p:cNvPr>
                <p:cNvSpPr/>
                <p:nvPr/>
              </p:nvSpPr>
              <p:spPr bwMode="gray">
                <a:xfrm>
                  <a:off x="3552150" y="5005545"/>
                  <a:ext cx="245338" cy="1185183"/>
                </a:xfrm>
                <a:custGeom>
                  <a:avLst/>
                  <a:gdLst>
                    <a:gd name="T0" fmla="*/ 41 w 168"/>
                    <a:gd name="T1" fmla="*/ 301 h 896"/>
                    <a:gd name="T2" fmla="*/ 33 w 168"/>
                    <a:gd name="T3" fmla="*/ 306 h 896"/>
                    <a:gd name="T4" fmla="*/ 25 w 168"/>
                    <a:gd name="T5" fmla="*/ 311 h 896"/>
                    <a:gd name="T6" fmla="*/ 31 w 168"/>
                    <a:gd name="T7" fmla="*/ 306 h 896"/>
                    <a:gd name="T8" fmla="*/ 19 w 168"/>
                    <a:gd name="T9" fmla="*/ 301 h 896"/>
                    <a:gd name="T10" fmla="*/ 14 w 168"/>
                    <a:gd name="T11" fmla="*/ 297 h 896"/>
                    <a:gd name="T12" fmla="*/ 17 w 168"/>
                    <a:gd name="T13" fmla="*/ 293 h 896"/>
                    <a:gd name="T14" fmla="*/ 14 w 168"/>
                    <a:gd name="T15" fmla="*/ 289 h 896"/>
                    <a:gd name="T16" fmla="*/ 11 w 168"/>
                    <a:gd name="T17" fmla="*/ 281 h 896"/>
                    <a:gd name="T18" fmla="*/ 8 w 168"/>
                    <a:gd name="T19" fmla="*/ 270 h 896"/>
                    <a:gd name="T20" fmla="*/ 8 w 168"/>
                    <a:gd name="T21" fmla="*/ 259 h 896"/>
                    <a:gd name="T22" fmla="*/ 14 w 168"/>
                    <a:gd name="T23" fmla="*/ 256 h 896"/>
                    <a:gd name="T24" fmla="*/ 8 w 168"/>
                    <a:gd name="T25" fmla="*/ 256 h 896"/>
                    <a:gd name="T26" fmla="*/ 11 w 168"/>
                    <a:gd name="T27" fmla="*/ 250 h 896"/>
                    <a:gd name="T28" fmla="*/ 6 w 168"/>
                    <a:gd name="T29" fmla="*/ 245 h 896"/>
                    <a:gd name="T30" fmla="*/ 6 w 168"/>
                    <a:gd name="T31" fmla="*/ 239 h 896"/>
                    <a:gd name="T32" fmla="*/ 11 w 168"/>
                    <a:gd name="T33" fmla="*/ 245 h 896"/>
                    <a:gd name="T34" fmla="*/ 17 w 168"/>
                    <a:gd name="T35" fmla="*/ 234 h 896"/>
                    <a:gd name="T36" fmla="*/ 19 w 168"/>
                    <a:gd name="T37" fmla="*/ 226 h 896"/>
                    <a:gd name="T38" fmla="*/ 19 w 168"/>
                    <a:gd name="T39" fmla="*/ 214 h 896"/>
                    <a:gd name="T40" fmla="*/ 19 w 168"/>
                    <a:gd name="T41" fmla="*/ 200 h 896"/>
                    <a:gd name="T42" fmla="*/ 17 w 168"/>
                    <a:gd name="T43" fmla="*/ 200 h 896"/>
                    <a:gd name="T44" fmla="*/ 14 w 168"/>
                    <a:gd name="T45" fmla="*/ 181 h 896"/>
                    <a:gd name="T46" fmla="*/ 14 w 168"/>
                    <a:gd name="T47" fmla="*/ 164 h 896"/>
                    <a:gd name="T48" fmla="*/ 17 w 168"/>
                    <a:gd name="T49" fmla="*/ 148 h 896"/>
                    <a:gd name="T50" fmla="*/ 25 w 168"/>
                    <a:gd name="T51" fmla="*/ 134 h 896"/>
                    <a:gd name="T52" fmla="*/ 31 w 168"/>
                    <a:gd name="T53" fmla="*/ 108 h 896"/>
                    <a:gd name="T54" fmla="*/ 31 w 168"/>
                    <a:gd name="T55" fmla="*/ 89 h 896"/>
                    <a:gd name="T56" fmla="*/ 36 w 168"/>
                    <a:gd name="T57" fmla="*/ 58 h 896"/>
                    <a:gd name="T58" fmla="*/ 39 w 168"/>
                    <a:gd name="T59" fmla="*/ 19 h 896"/>
                    <a:gd name="T60" fmla="*/ 47 w 168"/>
                    <a:gd name="T61" fmla="*/ 3 h 896"/>
                    <a:gd name="T62" fmla="*/ 55 w 168"/>
                    <a:gd name="T63" fmla="*/ 39 h 896"/>
                    <a:gd name="T64" fmla="*/ 58 w 168"/>
                    <a:gd name="T65" fmla="*/ 50 h 896"/>
                    <a:gd name="T66" fmla="*/ 53 w 168"/>
                    <a:gd name="T67" fmla="*/ 70 h 896"/>
                    <a:gd name="T68" fmla="*/ 41 w 168"/>
                    <a:gd name="T69" fmla="*/ 92 h 896"/>
                    <a:gd name="T70" fmla="*/ 41 w 168"/>
                    <a:gd name="T71" fmla="*/ 122 h 896"/>
                    <a:gd name="T72" fmla="*/ 36 w 168"/>
                    <a:gd name="T73" fmla="*/ 148 h 896"/>
                    <a:gd name="T74" fmla="*/ 31 w 168"/>
                    <a:gd name="T75" fmla="*/ 175 h 896"/>
                    <a:gd name="T76" fmla="*/ 25 w 168"/>
                    <a:gd name="T77" fmla="*/ 209 h 896"/>
                    <a:gd name="T78" fmla="*/ 25 w 168"/>
                    <a:gd name="T79" fmla="*/ 228 h 896"/>
                    <a:gd name="T80" fmla="*/ 27 w 168"/>
                    <a:gd name="T81" fmla="*/ 248 h 896"/>
                    <a:gd name="T82" fmla="*/ 22 w 168"/>
                    <a:gd name="T83" fmla="*/ 253 h 896"/>
                    <a:gd name="T84" fmla="*/ 14 w 168"/>
                    <a:gd name="T85" fmla="*/ 276 h 896"/>
                    <a:gd name="T86" fmla="*/ 22 w 168"/>
                    <a:gd name="T87" fmla="*/ 284 h 896"/>
                    <a:gd name="T88" fmla="*/ 41 w 168"/>
                    <a:gd name="T89" fmla="*/ 295 h 89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168"/>
                    <a:gd name="T136" fmla="*/ 0 h 896"/>
                    <a:gd name="T137" fmla="*/ 168 w 168"/>
                    <a:gd name="T138" fmla="*/ 896 h 896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168" h="896">
                      <a:moveTo>
                        <a:pt x="128" y="856"/>
                      </a:moveTo>
                      <a:lnTo>
                        <a:pt x="120" y="856"/>
                      </a:lnTo>
                      <a:lnTo>
                        <a:pt x="120" y="864"/>
                      </a:lnTo>
                      <a:lnTo>
                        <a:pt x="104" y="864"/>
                      </a:lnTo>
                      <a:lnTo>
                        <a:pt x="96" y="872"/>
                      </a:lnTo>
                      <a:lnTo>
                        <a:pt x="96" y="880"/>
                      </a:lnTo>
                      <a:lnTo>
                        <a:pt x="96" y="888"/>
                      </a:lnTo>
                      <a:lnTo>
                        <a:pt x="96" y="896"/>
                      </a:lnTo>
                      <a:lnTo>
                        <a:pt x="72" y="896"/>
                      </a:lnTo>
                      <a:lnTo>
                        <a:pt x="64" y="888"/>
                      </a:lnTo>
                      <a:lnTo>
                        <a:pt x="80" y="888"/>
                      </a:lnTo>
                      <a:lnTo>
                        <a:pt x="88" y="880"/>
                      </a:lnTo>
                      <a:lnTo>
                        <a:pt x="88" y="872"/>
                      </a:lnTo>
                      <a:lnTo>
                        <a:pt x="72" y="864"/>
                      </a:lnTo>
                      <a:lnTo>
                        <a:pt x="56" y="864"/>
                      </a:lnTo>
                      <a:lnTo>
                        <a:pt x="48" y="872"/>
                      </a:lnTo>
                      <a:lnTo>
                        <a:pt x="40" y="872"/>
                      </a:lnTo>
                      <a:lnTo>
                        <a:pt x="40" y="856"/>
                      </a:lnTo>
                      <a:lnTo>
                        <a:pt x="48" y="856"/>
                      </a:lnTo>
                      <a:lnTo>
                        <a:pt x="56" y="848"/>
                      </a:lnTo>
                      <a:lnTo>
                        <a:pt x="48" y="840"/>
                      </a:lnTo>
                      <a:lnTo>
                        <a:pt x="48" y="848"/>
                      </a:lnTo>
                      <a:lnTo>
                        <a:pt x="40" y="848"/>
                      </a:lnTo>
                      <a:lnTo>
                        <a:pt x="40" y="832"/>
                      </a:lnTo>
                      <a:lnTo>
                        <a:pt x="32" y="824"/>
                      </a:lnTo>
                      <a:lnTo>
                        <a:pt x="40" y="816"/>
                      </a:lnTo>
                      <a:lnTo>
                        <a:pt x="32" y="808"/>
                      </a:lnTo>
                      <a:lnTo>
                        <a:pt x="24" y="808"/>
                      </a:lnTo>
                      <a:lnTo>
                        <a:pt x="24" y="800"/>
                      </a:lnTo>
                      <a:lnTo>
                        <a:pt x="24" y="776"/>
                      </a:lnTo>
                      <a:lnTo>
                        <a:pt x="24" y="760"/>
                      </a:lnTo>
                      <a:lnTo>
                        <a:pt x="24" y="752"/>
                      </a:lnTo>
                      <a:lnTo>
                        <a:pt x="24" y="744"/>
                      </a:lnTo>
                      <a:lnTo>
                        <a:pt x="32" y="744"/>
                      </a:lnTo>
                      <a:lnTo>
                        <a:pt x="40" y="744"/>
                      </a:lnTo>
                      <a:lnTo>
                        <a:pt x="40" y="736"/>
                      </a:lnTo>
                      <a:lnTo>
                        <a:pt x="32" y="728"/>
                      </a:lnTo>
                      <a:lnTo>
                        <a:pt x="32" y="736"/>
                      </a:lnTo>
                      <a:lnTo>
                        <a:pt x="24" y="736"/>
                      </a:lnTo>
                      <a:lnTo>
                        <a:pt x="16" y="728"/>
                      </a:lnTo>
                      <a:lnTo>
                        <a:pt x="24" y="728"/>
                      </a:lnTo>
                      <a:lnTo>
                        <a:pt x="32" y="720"/>
                      </a:lnTo>
                      <a:lnTo>
                        <a:pt x="24" y="712"/>
                      </a:lnTo>
                      <a:lnTo>
                        <a:pt x="16" y="712"/>
                      </a:lnTo>
                      <a:lnTo>
                        <a:pt x="16" y="704"/>
                      </a:lnTo>
                      <a:lnTo>
                        <a:pt x="0" y="704"/>
                      </a:lnTo>
                      <a:lnTo>
                        <a:pt x="16" y="696"/>
                      </a:lnTo>
                      <a:lnTo>
                        <a:pt x="16" y="688"/>
                      </a:lnTo>
                      <a:lnTo>
                        <a:pt x="24" y="688"/>
                      </a:lnTo>
                      <a:lnTo>
                        <a:pt x="24" y="696"/>
                      </a:lnTo>
                      <a:lnTo>
                        <a:pt x="32" y="704"/>
                      </a:lnTo>
                      <a:lnTo>
                        <a:pt x="40" y="696"/>
                      </a:lnTo>
                      <a:lnTo>
                        <a:pt x="40" y="680"/>
                      </a:lnTo>
                      <a:lnTo>
                        <a:pt x="48" y="672"/>
                      </a:lnTo>
                      <a:lnTo>
                        <a:pt x="48" y="664"/>
                      </a:lnTo>
                      <a:lnTo>
                        <a:pt x="56" y="656"/>
                      </a:lnTo>
                      <a:lnTo>
                        <a:pt x="56" y="648"/>
                      </a:lnTo>
                      <a:lnTo>
                        <a:pt x="48" y="648"/>
                      </a:lnTo>
                      <a:lnTo>
                        <a:pt x="48" y="632"/>
                      </a:lnTo>
                      <a:lnTo>
                        <a:pt x="56" y="616"/>
                      </a:lnTo>
                      <a:lnTo>
                        <a:pt x="56" y="600"/>
                      </a:lnTo>
                      <a:lnTo>
                        <a:pt x="64" y="592"/>
                      </a:lnTo>
                      <a:lnTo>
                        <a:pt x="56" y="576"/>
                      </a:lnTo>
                      <a:lnTo>
                        <a:pt x="64" y="568"/>
                      </a:lnTo>
                      <a:lnTo>
                        <a:pt x="56" y="568"/>
                      </a:lnTo>
                      <a:lnTo>
                        <a:pt x="48" y="576"/>
                      </a:lnTo>
                      <a:lnTo>
                        <a:pt x="32" y="560"/>
                      </a:lnTo>
                      <a:lnTo>
                        <a:pt x="40" y="544"/>
                      </a:lnTo>
                      <a:lnTo>
                        <a:pt x="40" y="520"/>
                      </a:lnTo>
                      <a:lnTo>
                        <a:pt x="48" y="512"/>
                      </a:lnTo>
                      <a:lnTo>
                        <a:pt x="48" y="496"/>
                      </a:lnTo>
                      <a:lnTo>
                        <a:pt x="40" y="472"/>
                      </a:lnTo>
                      <a:lnTo>
                        <a:pt x="40" y="448"/>
                      </a:lnTo>
                      <a:lnTo>
                        <a:pt x="48" y="440"/>
                      </a:lnTo>
                      <a:lnTo>
                        <a:pt x="48" y="424"/>
                      </a:lnTo>
                      <a:lnTo>
                        <a:pt x="56" y="416"/>
                      </a:lnTo>
                      <a:lnTo>
                        <a:pt x="64" y="400"/>
                      </a:lnTo>
                      <a:lnTo>
                        <a:pt x="72" y="384"/>
                      </a:lnTo>
                      <a:lnTo>
                        <a:pt x="80" y="368"/>
                      </a:lnTo>
                      <a:lnTo>
                        <a:pt x="88" y="352"/>
                      </a:lnTo>
                      <a:lnTo>
                        <a:pt x="88" y="312"/>
                      </a:lnTo>
                      <a:lnTo>
                        <a:pt x="80" y="280"/>
                      </a:lnTo>
                      <a:lnTo>
                        <a:pt x="88" y="272"/>
                      </a:lnTo>
                      <a:lnTo>
                        <a:pt x="88" y="256"/>
                      </a:lnTo>
                      <a:lnTo>
                        <a:pt x="88" y="248"/>
                      </a:lnTo>
                      <a:lnTo>
                        <a:pt x="104" y="192"/>
                      </a:lnTo>
                      <a:lnTo>
                        <a:pt x="104" y="168"/>
                      </a:lnTo>
                      <a:lnTo>
                        <a:pt x="104" y="120"/>
                      </a:lnTo>
                      <a:lnTo>
                        <a:pt x="112" y="112"/>
                      </a:lnTo>
                      <a:lnTo>
                        <a:pt x="112" y="56"/>
                      </a:lnTo>
                      <a:lnTo>
                        <a:pt x="112" y="24"/>
                      </a:lnTo>
                      <a:lnTo>
                        <a:pt x="128" y="0"/>
                      </a:lnTo>
                      <a:lnTo>
                        <a:pt x="136" y="8"/>
                      </a:lnTo>
                      <a:lnTo>
                        <a:pt x="144" y="32"/>
                      </a:lnTo>
                      <a:lnTo>
                        <a:pt x="144" y="64"/>
                      </a:lnTo>
                      <a:lnTo>
                        <a:pt x="160" y="112"/>
                      </a:lnTo>
                      <a:lnTo>
                        <a:pt x="168" y="112"/>
                      </a:lnTo>
                      <a:lnTo>
                        <a:pt x="168" y="128"/>
                      </a:lnTo>
                      <a:lnTo>
                        <a:pt x="168" y="144"/>
                      </a:lnTo>
                      <a:lnTo>
                        <a:pt x="152" y="152"/>
                      </a:lnTo>
                      <a:lnTo>
                        <a:pt x="144" y="160"/>
                      </a:lnTo>
                      <a:lnTo>
                        <a:pt x="152" y="200"/>
                      </a:lnTo>
                      <a:lnTo>
                        <a:pt x="152" y="208"/>
                      </a:lnTo>
                      <a:lnTo>
                        <a:pt x="128" y="224"/>
                      </a:lnTo>
                      <a:lnTo>
                        <a:pt x="120" y="264"/>
                      </a:lnTo>
                      <a:lnTo>
                        <a:pt x="112" y="272"/>
                      </a:lnTo>
                      <a:lnTo>
                        <a:pt x="104" y="312"/>
                      </a:lnTo>
                      <a:lnTo>
                        <a:pt x="120" y="352"/>
                      </a:lnTo>
                      <a:lnTo>
                        <a:pt x="112" y="384"/>
                      </a:lnTo>
                      <a:lnTo>
                        <a:pt x="104" y="400"/>
                      </a:lnTo>
                      <a:lnTo>
                        <a:pt x="104" y="424"/>
                      </a:lnTo>
                      <a:lnTo>
                        <a:pt x="88" y="448"/>
                      </a:lnTo>
                      <a:lnTo>
                        <a:pt x="96" y="488"/>
                      </a:lnTo>
                      <a:lnTo>
                        <a:pt x="88" y="504"/>
                      </a:lnTo>
                      <a:lnTo>
                        <a:pt x="72" y="544"/>
                      </a:lnTo>
                      <a:lnTo>
                        <a:pt x="80" y="592"/>
                      </a:lnTo>
                      <a:lnTo>
                        <a:pt x="72" y="600"/>
                      </a:lnTo>
                      <a:lnTo>
                        <a:pt x="72" y="624"/>
                      </a:lnTo>
                      <a:lnTo>
                        <a:pt x="80" y="648"/>
                      </a:lnTo>
                      <a:lnTo>
                        <a:pt x="72" y="656"/>
                      </a:lnTo>
                      <a:lnTo>
                        <a:pt x="72" y="672"/>
                      </a:lnTo>
                      <a:lnTo>
                        <a:pt x="80" y="672"/>
                      </a:lnTo>
                      <a:lnTo>
                        <a:pt x="80" y="712"/>
                      </a:lnTo>
                      <a:lnTo>
                        <a:pt x="72" y="720"/>
                      </a:lnTo>
                      <a:lnTo>
                        <a:pt x="72" y="728"/>
                      </a:lnTo>
                      <a:lnTo>
                        <a:pt x="64" y="728"/>
                      </a:lnTo>
                      <a:lnTo>
                        <a:pt x="64" y="752"/>
                      </a:lnTo>
                      <a:lnTo>
                        <a:pt x="40" y="776"/>
                      </a:lnTo>
                      <a:lnTo>
                        <a:pt x="40" y="792"/>
                      </a:lnTo>
                      <a:lnTo>
                        <a:pt x="48" y="808"/>
                      </a:lnTo>
                      <a:lnTo>
                        <a:pt x="56" y="808"/>
                      </a:lnTo>
                      <a:lnTo>
                        <a:pt x="64" y="816"/>
                      </a:lnTo>
                      <a:lnTo>
                        <a:pt x="64" y="840"/>
                      </a:lnTo>
                      <a:lnTo>
                        <a:pt x="80" y="848"/>
                      </a:lnTo>
                      <a:lnTo>
                        <a:pt x="120" y="848"/>
                      </a:lnTo>
                      <a:lnTo>
                        <a:pt x="128" y="85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77" name="Freeform 14">
                  <a:extLst>
                    <a:ext uri="{FF2B5EF4-FFF2-40B4-BE49-F238E27FC236}">
                      <a16:creationId xmlns:a16="http://schemas.microsoft.com/office/drawing/2014/main" id="{75C5D132-E1EF-2F74-EF26-4F978645CC85}"/>
                    </a:ext>
                  </a:extLst>
                </p:cNvPr>
                <p:cNvSpPr/>
                <p:nvPr/>
              </p:nvSpPr>
              <p:spPr bwMode="gray">
                <a:xfrm>
                  <a:off x="3387898" y="4529591"/>
                  <a:ext cx="374245" cy="507936"/>
                </a:xfrm>
                <a:custGeom>
                  <a:avLst/>
                  <a:gdLst>
                    <a:gd name="T0" fmla="*/ 6 w 256"/>
                    <a:gd name="T1" fmla="*/ 25 h 384"/>
                    <a:gd name="T2" fmla="*/ 0 w 256"/>
                    <a:gd name="T3" fmla="*/ 27 h 384"/>
                    <a:gd name="T4" fmla="*/ 3 w 256"/>
                    <a:gd name="T5" fmla="*/ 34 h 384"/>
                    <a:gd name="T6" fmla="*/ 0 w 256"/>
                    <a:gd name="T7" fmla="*/ 36 h 384"/>
                    <a:gd name="T8" fmla="*/ 3 w 256"/>
                    <a:gd name="T9" fmla="*/ 39 h 384"/>
                    <a:gd name="T10" fmla="*/ 0 w 256"/>
                    <a:gd name="T11" fmla="*/ 41 h 384"/>
                    <a:gd name="T12" fmla="*/ 6 w 256"/>
                    <a:gd name="T13" fmla="*/ 44 h 384"/>
                    <a:gd name="T14" fmla="*/ 8 w 256"/>
                    <a:gd name="T15" fmla="*/ 44 h 384"/>
                    <a:gd name="T16" fmla="*/ 14 w 256"/>
                    <a:gd name="T17" fmla="*/ 56 h 384"/>
                    <a:gd name="T18" fmla="*/ 19 w 256"/>
                    <a:gd name="T19" fmla="*/ 61 h 384"/>
                    <a:gd name="T20" fmla="*/ 23 w 256"/>
                    <a:gd name="T21" fmla="*/ 72 h 384"/>
                    <a:gd name="T22" fmla="*/ 25 w 256"/>
                    <a:gd name="T23" fmla="*/ 78 h 384"/>
                    <a:gd name="T24" fmla="*/ 25 w 256"/>
                    <a:gd name="T25" fmla="*/ 84 h 384"/>
                    <a:gd name="T26" fmla="*/ 31 w 256"/>
                    <a:gd name="T27" fmla="*/ 86 h 384"/>
                    <a:gd name="T28" fmla="*/ 31 w 256"/>
                    <a:gd name="T29" fmla="*/ 89 h 384"/>
                    <a:gd name="T30" fmla="*/ 34 w 256"/>
                    <a:gd name="T31" fmla="*/ 94 h 384"/>
                    <a:gd name="T32" fmla="*/ 34 w 256"/>
                    <a:gd name="T33" fmla="*/ 98 h 384"/>
                    <a:gd name="T34" fmla="*/ 36 w 256"/>
                    <a:gd name="T35" fmla="*/ 103 h 384"/>
                    <a:gd name="T36" fmla="*/ 41 w 256"/>
                    <a:gd name="T37" fmla="*/ 105 h 384"/>
                    <a:gd name="T38" fmla="*/ 41 w 256"/>
                    <a:gd name="T39" fmla="*/ 108 h 384"/>
                    <a:gd name="T40" fmla="*/ 50 w 256"/>
                    <a:gd name="T41" fmla="*/ 114 h 384"/>
                    <a:gd name="T42" fmla="*/ 56 w 256"/>
                    <a:gd name="T43" fmla="*/ 114 h 384"/>
                    <a:gd name="T44" fmla="*/ 61 w 256"/>
                    <a:gd name="T45" fmla="*/ 122 h 384"/>
                    <a:gd name="T46" fmla="*/ 67 w 256"/>
                    <a:gd name="T47" fmla="*/ 122 h 384"/>
                    <a:gd name="T48" fmla="*/ 78 w 256"/>
                    <a:gd name="T49" fmla="*/ 134 h 384"/>
                    <a:gd name="T50" fmla="*/ 84 w 256"/>
                    <a:gd name="T51" fmla="*/ 125 h 384"/>
                    <a:gd name="T52" fmla="*/ 86 w 256"/>
                    <a:gd name="T53" fmla="*/ 117 h 384"/>
                    <a:gd name="T54" fmla="*/ 84 w 256"/>
                    <a:gd name="T55" fmla="*/ 105 h 384"/>
                    <a:gd name="T56" fmla="*/ 89 w 256"/>
                    <a:gd name="T57" fmla="*/ 103 h 384"/>
                    <a:gd name="T58" fmla="*/ 86 w 256"/>
                    <a:gd name="T59" fmla="*/ 92 h 384"/>
                    <a:gd name="T60" fmla="*/ 89 w 256"/>
                    <a:gd name="T61" fmla="*/ 92 h 384"/>
                    <a:gd name="T62" fmla="*/ 89 w 256"/>
                    <a:gd name="T63" fmla="*/ 89 h 384"/>
                    <a:gd name="T64" fmla="*/ 84 w 256"/>
                    <a:gd name="T65" fmla="*/ 78 h 384"/>
                    <a:gd name="T66" fmla="*/ 78 w 256"/>
                    <a:gd name="T67" fmla="*/ 78 h 384"/>
                    <a:gd name="T68" fmla="*/ 75 w 256"/>
                    <a:gd name="T69" fmla="*/ 70 h 384"/>
                    <a:gd name="T70" fmla="*/ 75 w 256"/>
                    <a:gd name="T71" fmla="*/ 67 h 384"/>
                    <a:gd name="T72" fmla="*/ 61 w 256"/>
                    <a:gd name="T73" fmla="*/ 67 h 384"/>
                    <a:gd name="T74" fmla="*/ 56 w 256"/>
                    <a:gd name="T75" fmla="*/ 64 h 384"/>
                    <a:gd name="T76" fmla="*/ 56 w 256"/>
                    <a:gd name="T77" fmla="*/ 58 h 384"/>
                    <a:gd name="T78" fmla="*/ 53 w 256"/>
                    <a:gd name="T79" fmla="*/ 50 h 384"/>
                    <a:gd name="T80" fmla="*/ 56 w 256"/>
                    <a:gd name="T81" fmla="*/ 44 h 384"/>
                    <a:gd name="T82" fmla="*/ 56 w 256"/>
                    <a:gd name="T83" fmla="*/ 39 h 384"/>
                    <a:gd name="T84" fmla="*/ 67 w 256"/>
                    <a:gd name="T85" fmla="*/ 34 h 384"/>
                    <a:gd name="T86" fmla="*/ 75 w 256"/>
                    <a:gd name="T87" fmla="*/ 31 h 384"/>
                    <a:gd name="T88" fmla="*/ 81 w 256"/>
                    <a:gd name="T89" fmla="*/ 27 h 384"/>
                    <a:gd name="T90" fmla="*/ 81 w 256"/>
                    <a:gd name="T91" fmla="*/ 25 h 384"/>
                    <a:gd name="T92" fmla="*/ 75 w 256"/>
                    <a:gd name="T93" fmla="*/ 25 h 384"/>
                    <a:gd name="T94" fmla="*/ 78 w 256"/>
                    <a:gd name="T95" fmla="*/ 17 h 384"/>
                    <a:gd name="T96" fmla="*/ 72 w 256"/>
                    <a:gd name="T97" fmla="*/ 14 h 384"/>
                    <a:gd name="T98" fmla="*/ 56 w 256"/>
                    <a:gd name="T99" fmla="*/ 14 h 384"/>
                    <a:gd name="T100" fmla="*/ 44 w 256"/>
                    <a:gd name="T101" fmla="*/ 0 h 384"/>
                    <a:gd name="T102" fmla="*/ 39 w 256"/>
                    <a:gd name="T103" fmla="*/ 0 h 384"/>
                    <a:gd name="T104" fmla="*/ 36 w 256"/>
                    <a:gd name="T105" fmla="*/ 0 h 384"/>
                    <a:gd name="T106" fmla="*/ 41 w 256"/>
                    <a:gd name="T107" fmla="*/ 3 h 384"/>
                    <a:gd name="T108" fmla="*/ 41 w 256"/>
                    <a:gd name="T109" fmla="*/ 8 h 384"/>
                    <a:gd name="T110" fmla="*/ 36 w 256"/>
                    <a:gd name="T111" fmla="*/ 14 h 384"/>
                    <a:gd name="T112" fmla="*/ 27 w 256"/>
                    <a:gd name="T113" fmla="*/ 19 h 384"/>
                    <a:gd name="T114" fmla="*/ 17 w 256"/>
                    <a:gd name="T115" fmla="*/ 27 h 384"/>
                    <a:gd name="T116" fmla="*/ 19 w 256"/>
                    <a:gd name="T117" fmla="*/ 34 h 384"/>
                    <a:gd name="T118" fmla="*/ 14 w 256"/>
                    <a:gd name="T119" fmla="*/ 34 h 384"/>
                    <a:gd name="T120" fmla="*/ 11 w 256"/>
                    <a:gd name="T121" fmla="*/ 31 h 384"/>
                    <a:gd name="T122" fmla="*/ 6 w 256"/>
                    <a:gd name="T123" fmla="*/ 31 h 384"/>
                    <a:gd name="T124" fmla="*/ 6 w 256"/>
                    <a:gd name="T125" fmla="*/ 25 h 38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56"/>
                    <a:gd name="T190" fmla="*/ 0 h 384"/>
                    <a:gd name="T191" fmla="*/ 256 w 256"/>
                    <a:gd name="T192" fmla="*/ 384 h 38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56" h="384">
                      <a:moveTo>
                        <a:pt x="16" y="72"/>
                      </a:moveTo>
                      <a:lnTo>
                        <a:pt x="0" y="80"/>
                      </a:lnTo>
                      <a:lnTo>
                        <a:pt x="8" y="96"/>
                      </a:lnTo>
                      <a:lnTo>
                        <a:pt x="0" y="104"/>
                      </a:lnTo>
                      <a:lnTo>
                        <a:pt x="8" y="112"/>
                      </a:lnTo>
                      <a:lnTo>
                        <a:pt x="0" y="120"/>
                      </a:lnTo>
                      <a:lnTo>
                        <a:pt x="16" y="128"/>
                      </a:lnTo>
                      <a:lnTo>
                        <a:pt x="24" y="128"/>
                      </a:lnTo>
                      <a:lnTo>
                        <a:pt x="40" y="160"/>
                      </a:lnTo>
                      <a:lnTo>
                        <a:pt x="56" y="176"/>
                      </a:lnTo>
                      <a:lnTo>
                        <a:pt x="64" y="208"/>
                      </a:lnTo>
                      <a:lnTo>
                        <a:pt x="72" y="224"/>
                      </a:lnTo>
                      <a:lnTo>
                        <a:pt x="72" y="240"/>
                      </a:lnTo>
                      <a:lnTo>
                        <a:pt x="88" y="248"/>
                      </a:lnTo>
                      <a:lnTo>
                        <a:pt x="88" y="256"/>
                      </a:lnTo>
                      <a:lnTo>
                        <a:pt x="96" y="272"/>
                      </a:lnTo>
                      <a:lnTo>
                        <a:pt x="96" y="280"/>
                      </a:lnTo>
                      <a:lnTo>
                        <a:pt x="104" y="296"/>
                      </a:lnTo>
                      <a:lnTo>
                        <a:pt x="120" y="304"/>
                      </a:lnTo>
                      <a:lnTo>
                        <a:pt x="120" y="312"/>
                      </a:lnTo>
                      <a:lnTo>
                        <a:pt x="144" y="328"/>
                      </a:lnTo>
                      <a:lnTo>
                        <a:pt x="160" y="328"/>
                      </a:lnTo>
                      <a:lnTo>
                        <a:pt x="176" y="352"/>
                      </a:lnTo>
                      <a:lnTo>
                        <a:pt x="192" y="352"/>
                      </a:lnTo>
                      <a:lnTo>
                        <a:pt x="224" y="384"/>
                      </a:lnTo>
                      <a:lnTo>
                        <a:pt x="240" y="360"/>
                      </a:lnTo>
                      <a:lnTo>
                        <a:pt x="248" y="336"/>
                      </a:lnTo>
                      <a:lnTo>
                        <a:pt x="240" y="304"/>
                      </a:lnTo>
                      <a:lnTo>
                        <a:pt x="256" y="296"/>
                      </a:lnTo>
                      <a:lnTo>
                        <a:pt x="248" y="264"/>
                      </a:lnTo>
                      <a:lnTo>
                        <a:pt x="256" y="264"/>
                      </a:lnTo>
                      <a:lnTo>
                        <a:pt x="256" y="256"/>
                      </a:lnTo>
                      <a:lnTo>
                        <a:pt x="240" y="224"/>
                      </a:lnTo>
                      <a:lnTo>
                        <a:pt x="224" y="224"/>
                      </a:lnTo>
                      <a:lnTo>
                        <a:pt x="216" y="200"/>
                      </a:lnTo>
                      <a:lnTo>
                        <a:pt x="216" y="192"/>
                      </a:lnTo>
                      <a:lnTo>
                        <a:pt x="176" y="192"/>
                      </a:lnTo>
                      <a:lnTo>
                        <a:pt x="160" y="184"/>
                      </a:lnTo>
                      <a:lnTo>
                        <a:pt x="160" y="168"/>
                      </a:lnTo>
                      <a:lnTo>
                        <a:pt x="152" y="144"/>
                      </a:lnTo>
                      <a:lnTo>
                        <a:pt x="160" y="128"/>
                      </a:lnTo>
                      <a:lnTo>
                        <a:pt x="160" y="112"/>
                      </a:lnTo>
                      <a:lnTo>
                        <a:pt x="192" y="96"/>
                      </a:lnTo>
                      <a:lnTo>
                        <a:pt x="216" y="88"/>
                      </a:lnTo>
                      <a:lnTo>
                        <a:pt x="232" y="80"/>
                      </a:lnTo>
                      <a:lnTo>
                        <a:pt x="232" y="72"/>
                      </a:lnTo>
                      <a:lnTo>
                        <a:pt x="216" y="72"/>
                      </a:lnTo>
                      <a:lnTo>
                        <a:pt x="224" y="48"/>
                      </a:lnTo>
                      <a:lnTo>
                        <a:pt x="208" y="40"/>
                      </a:lnTo>
                      <a:lnTo>
                        <a:pt x="160" y="40"/>
                      </a:lnTo>
                      <a:lnTo>
                        <a:pt x="128" y="0"/>
                      </a:lnTo>
                      <a:lnTo>
                        <a:pt x="112" y="0"/>
                      </a:lnTo>
                      <a:lnTo>
                        <a:pt x="104" y="0"/>
                      </a:lnTo>
                      <a:lnTo>
                        <a:pt x="120" y="8"/>
                      </a:lnTo>
                      <a:lnTo>
                        <a:pt x="120" y="24"/>
                      </a:lnTo>
                      <a:lnTo>
                        <a:pt x="104" y="40"/>
                      </a:lnTo>
                      <a:lnTo>
                        <a:pt x="80" y="56"/>
                      </a:lnTo>
                      <a:lnTo>
                        <a:pt x="48" y="80"/>
                      </a:lnTo>
                      <a:lnTo>
                        <a:pt x="56" y="96"/>
                      </a:lnTo>
                      <a:lnTo>
                        <a:pt x="40" y="96"/>
                      </a:lnTo>
                      <a:lnTo>
                        <a:pt x="32" y="88"/>
                      </a:lnTo>
                      <a:lnTo>
                        <a:pt x="16" y="88"/>
                      </a:lnTo>
                      <a:lnTo>
                        <a:pt x="16" y="72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78" name="Freeform 15">
                  <a:extLst>
                    <a:ext uri="{FF2B5EF4-FFF2-40B4-BE49-F238E27FC236}">
                      <a16:creationId xmlns:a16="http://schemas.microsoft.com/office/drawing/2014/main" id="{9C9A310B-1CD6-9C1C-D4F2-B760E17D8362}"/>
                    </a:ext>
                  </a:extLst>
                </p:cNvPr>
                <p:cNvSpPr/>
                <p:nvPr/>
              </p:nvSpPr>
              <p:spPr bwMode="gray">
                <a:xfrm>
                  <a:off x="3410768" y="4497609"/>
                  <a:ext cx="151777" cy="158024"/>
                </a:xfrm>
                <a:custGeom>
                  <a:avLst/>
                  <a:gdLst>
                    <a:gd name="T0" fmla="*/ 31 w 104"/>
                    <a:gd name="T1" fmla="*/ 8 h 120"/>
                    <a:gd name="T2" fmla="*/ 36 w 104"/>
                    <a:gd name="T3" fmla="*/ 11 h 120"/>
                    <a:gd name="T4" fmla="*/ 36 w 104"/>
                    <a:gd name="T5" fmla="*/ 17 h 120"/>
                    <a:gd name="T6" fmla="*/ 31 w 104"/>
                    <a:gd name="T7" fmla="*/ 22 h 120"/>
                    <a:gd name="T8" fmla="*/ 22 w 104"/>
                    <a:gd name="T9" fmla="*/ 27 h 120"/>
                    <a:gd name="T10" fmla="*/ 11 w 104"/>
                    <a:gd name="T11" fmla="*/ 36 h 120"/>
                    <a:gd name="T12" fmla="*/ 14 w 104"/>
                    <a:gd name="T13" fmla="*/ 41 h 120"/>
                    <a:gd name="T14" fmla="*/ 8 w 104"/>
                    <a:gd name="T15" fmla="*/ 41 h 120"/>
                    <a:gd name="T16" fmla="*/ 6 w 104"/>
                    <a:gd name="T17" fmla="*/ 39 h 120"/>
                    <a:gd name="T18" fmla="*/ 0 w 104"/>
                    <a:gd name="T19" fmla="*/ 39 h 120"/>
                    <a:gd name="T20" fmla="*/ 0 w 104"/>
                    <a:gd name="T21" fmla="*/ 33 h 120"/>
                    <a:gd name="T22" fmla="*/ 3 w 104"/>
                    <a:gd name="T23" fmla="*/ 30 h 120"/>
                    <a:gd name="T24" fmla="*/ 6 w 104"/>
                    <a:gd name="T25" fmla="*/ 30 h 120"/>
                    <a:gd name="T26" fmla="*/ 8 w 104"/>
                    <a:gd name="T27" fmla="*/ 27 h 120"/>
                    <a:gd name="T28" fmla="*/ 6 w 104"/>
                    <a:gd name="T29" fmla="*/ 25 h 120"/>
                    <a:gd name="T30" fmla="*/ 3 w 104"/>
                    <a:gd name="T31" fmla="*/ 25 h 120"/>
                    <a:gd name="T32" fmla="*/ 0 w 104"/>
                    <a:gd name="T33" fmla="*/ 22 h 120"/>
                    <a:gd name="T34" fmla="*/ 0 w 104"/>
                    <a:gd name="T35" fmla="*/ 14 h 120"/>
                    <a:gd name="T36" fmla="*/ 3 w 104"/>
                    <a:gd name="T37" fmla="*/ 11 h 120"/>
                    <a:gd name="T38" fmla="*/ 3 w 104"/>
                    <a:gd name="T39" fmla="*/ 3 h 120"/>
                    <a:gd name="T40" fmla="*/ 6 w 104"/>
                    <a:gd name="T41" fmla="*/ 0 h 120"/>
                    <a:gd name="T42" fmla="*/ 8 w 104"/>
                    <a:gd name="T43" fmla="*/ 0 h 120"/>
                    <a:gd name="T44" fmla="*/ 11 w 104"/>
                    <a:gd name="T45" fmla="*/ 0 h 120"/>
                    <a:gd name="T46" fmla="*/ 17 w 104"/>
                    <a:gd name="T47" fmla="*/ 3 h 120"/>
                    <a:gd name="T48" fmla="*/ 17 w 104"/>
                    <a:gd name="T49" fmla="*/ 6 h 120"/>
                    <a:gd name="T50" fmla="*/ 19 w 104"/>
                    <a:gd name="T51" fmla="*/ 8 h 120"/>
                    <a:gd name="T52" fmla="*/ 22 w 104"/>
                    <a:gd name="T53" fmla="*/ 6 h 120"/>
                    <a:gd name="T54" fmla="*/ 27 w 104"/>
                    <a:gd name="T55" fmla="*/ 6 h 120"/>
                    <a:gd name="T56" fmla="*/ 31 w 104"/>
                    <a:gd name="T57" fmla="*/ 8 h 12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04"/>
                    <a:gd name="T88" fmla="*/ 0 h 120"/>
                    <a:gd name="T89" fmla="*/ 104 w 104"/>
                    <a:gd name="T90" fmla="*/ 120 h 12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04" h="120">
                      <a:moveTo>
                        <a:pt x="88" y="24"/>
                      </a:moveTo>
                      <a:lnTo>
                        <a:pt x="104" y="32"/>
                      </a:lnTo>
                      <a:lnTo>
                        <a:pt x="104" y="48"/>
                      </a:lnTo>
                      <a:lnTo>
                        <a:pt x="88" y="64"/>
                      </a:lnTo>
                      <a:lnTo>
                        <a:pt x="64" y="80"/>
                      </a:lnTo>
                      <a:lnTo>
                        <a:pt x="32" y="104"/>
                      </a:lnTo>
                      <a:lnTo>
                        <a:pt x="40" y="120"/>
                      </a:lnTo>
                      <a:lnTo>
                        <a:pt x="24" y="120"/>
                      </a:lnTo>
                      <a:lnTo>
                        <a:pt x="16" y="112"/>
                      </a:lnTo>
                      <a:lnTo>
                        <a:pt x="0" y="112"/>
                      </a:lnTo>
                      <a:lnTo>
                        <a:pt x="0" y="96"/>
                      </a:lnTo>
                      <a:lnTo>
                        <a:pt x="8" y="88"/>
                      </a:lnTo>
                      <a:lnTo>
                        <a:pt x="16" y="88"/>
                      </a:lnTo>
                      <a:lnTo>
                        <a:pt x="24" y="80"/>
                      </a:lnTo>
                      <a:lnTo>
                        <a:pt x="16" y="72"/>
                      </a:lnTo>
                      <a:lnTo>
                        <a:pt x="8" y="72"/>
                      </a:lnTo>
                      <a:lnTo>
                        <a:pt x="0" y="64"/>
                      </a:lnTo>
                      <a:lnTo>
                        <a:pt x="0" y="40"/>
                      </a:lnTo>
                      <a:lnTo>
                        <a:pt x="8" y="32"/>
                      </a:ln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24" y="0"/>
                      </a:lnTo>
                      <a:lnTo>
                        <a:pt x="32" y="0"/>
                      </a:lnTo>
                      <a:lnTo>
                        <a:pt x="48" y="8"/>
                      </a:lnTo>
                      <a:lnTo>
                        <a:pt x="48" y="16"/>
                      </a:lnTo>
                      <a:lnTo>
                        <a:pt x="56" y="24"/>
                      </a:lnTo>
                      <a:lnTo>
                        <a:pt x="64" y="16"/>
                      </a:lnTo>
                      <a:lnTo>
                        <a:pt x="80" y="16"/>
                      </a:lnTo>
                      <a:lnTo>
                        <a:pt x="88" y="24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79" name="Freeform 16">
                  <a:extLst>
                    <a:ext uri="{FF2B5EF4-FFF2-40B4-BE49-F238E27FC236}">
                      <a16:creationId xmlns:a16="http://schemas.microsoft.com/office/drawing/2014/main" id="{A1467FCB-CE04-C24B-D1B5-1B77FB3D7708}"/>
                    </a:ext>
                  </a:extLst>
                </p:cNvPr>
                <p:cNvSpPr/>
                <p:nvPr/>
              </p:nvSpPr>
              <p:spPr bwMode="gray">
                <a:xfrm>
                  <a:off x="3352552" y="4264335"/>
                  <a:ext cx="174648" cy="63962"/>
                </a:xfrm>
                <a:custGeom>
                  <a:avLst/>
                  <a:gdLst>
                    <a:gd name="T0" fmla="*/ 41 w 120"/>
                    <a:gd name="T1" fmla="*/ 11 h 48"/>
                    <a:gd name="T2" fmla="*/ 39 w 120"/>
                    <a:gd name="T3" fmla="*/ 14 h 48"/>
                    <a:gd name="T4" fmla="*/ 33 w 120"/>
                    <a:gd name="T5" fmla="*/ 17 h 48"/>
                    <a:gd name="T6" fmla="*/ 30 w 120"/>
                    <a:gd name="T7" fmla="*/ 14 h 48"/>
                    <a:gd name="T8" fmla="*/ 30 w 120"/>
                    <a:gd name="T9" fmla="*/ 9 h 48"/>
                    <a:gd name="T10" fmla="*/ 25 w 120"/>
                    <a:gd name="T11" fmla="*/ 6 h 48"/>
                    <a:gd name="T12" fmla="*/ 22 w 120"/>
                    <a:gd name="T13" fmla="*/ 6 h 48"/>
                    <a:gd name="T14" fmla="*/ 19 w 120"/>
                    <a:gd name="T15" fmla="*/ 9 h 48"/>
                    <a:gd name="T16" fmla="*/ 17 w 120"/>
                    <a:gd name="T17" fmla="*/ 11 h 48"/>
                    <a:gd name="T18" fmla="*/ 19 w 120"/>
                    <a:gd name="T19" fmla="*/ 14 h 48"/>
                    <a:gd name="T20" fmla="*/ 14 w 120"/>
                    <a:gd name="T21" fmla="*/ 17 h 48"/>
                    <a:gd name="T22" fmla="*/ 11 w 120"/>
                    <a:gd name="T23" fmla="*/ 14 h 48"/>
                    <a:gd name="T24" fmla="*/ 8 w 120"/>
                    <a:gd name="T25" fmla="*/ 14 h 48"/>
                    <a:gd name="T26" fmla="*/ 8 w 120"/>
                    <a:gd name="T27" fmla="*/ 11 h 48"/>
                    <a:gd name="T28" fmla="*/ 0 w 120"/>
                    <a:gd name="T29" fmla="*/ 9 h 48"/>
                    <a:gd name="T30" fmla="*/ 0 w 120"/>
                    <a:gd name="T31" fmla="*/ 6 h 48"/>
                    <a:gd name="T32" fmla="*/ 3 w 120"/>
                    <a:gd name="T33" fmla="*/ 0 h 48"/>
                    <a:gd name="T34" fmla="*/ 8 w 120"/>
                    <a:gd name="T35" fmla="*/ 6 h 48"/>
                    <a:gd name="T36" fmla="*/ 11 w 120"/>
                    <a:gd name="T37" fmla="*/ 6 h 48"/>
                    <a:gd name="T38" fmla="*/ 17 w 120"/>
                    <a:gd name="T39" fmla="*/ 3 h 48"/>
                    <a:gd name="T40" fmla="*/ 22 w 120"/>
                    <a:gd name="T41" fmla="*/ 3 h 48"/>
                    <a:gd name="T42" fmla="*/ 27 w 120"/>
                    <a:gd name="T43" fmla="*/ 3 h 48"/>
                    <a:gd name="T44" fmla="*/ 33 w 120"/>
                    <a:gd name="T45" fmla="*/ 6 h 48"/>
                    <a:gd name="T46" fmla="*/ 36 w 120"/>
                    <a:gd name="T47" fmla="*/ 11 h 48"/>
                    <a:gd name="T48" fmla="*/ 41 w 120"/>
                    <a:gd name="T49" fmla="*/ 11 h 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20"/>
                    <a:gd name="T76" fmla="*/ 0 h 48"/>
                    <a:gd name="T77" fmla="*/ 120 w 120"/>
                    <a:gd name="T78" fmla="*/ 48 h 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20" h="48">
                      <a:moveTo>
                        <a:pt x="120" y="32"/>
                      </a:moveTo>
                      <a:lnTo>
                        <a:pt x="112" y="40"/>
                      </a:lnTo>
                      <a:lnTo>
                        <a:pt x="96" y="48"/>
                      </a:lnTo>
                      <a:lnTo>
                        <a:pt x="88" y="40"/>
                      </a:lnTo>
                      <a:lnTo>
                        <a:pt x="88" y="24"/>
                      </a:lnTo>
                      <a:lnTo>
                        <a:pt x="72" y="16"/>
                      </a:lnTo>
                      <a:lnTo>
                        <a:pt x="64" y="16"/>
                      </a:lnTo>
                      <a:lnTo>
                        <a:pt x="56" y="24"/>
                      </a:lnTo>
                      <a:lnTo>
                        <a:pt x="48" y="32"/>
                      </a:lnTo>
                      <a:lnTo>
                        <a:pt x="56" y="40"/>
                      </a:lnTo>
                      <a:lnTo>
                        <a:pt x="40" y="48"/>
                      </a:lnTo>
                      <a:lnTo>
                        <a:pt x="32" y="40"/>
                      </a:lnTo>
                      <a:lnTo>
                        <a:pt x="24" y="40"/>
                      </a:lnTo>
                      <a:lnTo>
                        <a:pt x="24" y="32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8" y="0"/>
                      </a:ln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48" y="8"/>
                      </a:lnTo>
                      <a:lnTo>
                        <a:pt x="64" y="8"/>
                      </a:lnTo>
                      <a:lnTo>
                        <a:pt x="80" y="8"/>
                      </a:lnTo>
                      <a:lnTo>
                        <a:pt x="96" y="16"/>
                      </a:lnTo>
                      <a:lnTo>
                        <a:pt x="104" y="32"/>
                      </a:lnTo>
                      <a:lnTo>
                        <a:pt x="120" y="32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80" name="Freeform 17">
                  <a:extLst>
                    <a:ext uri="{FF2B5EF4-FFF2-40B4-BE49-F238E27FC236}">
                      <a16:creationId xmlns:a16="http://schemas.microsoft.com/office/drawing/2014/main" id="{47D29600-E7C5-54E8-2C9E-E78D4E5EEAD3}"/>
                    </a:ext>
                  </a:extLst>
                </p:cNvPr>
                <p:cNvSpPr/>
                <p:nvPr/>
              </p:nvSpPr>
              <p:spPr bwMode="gray">
                <a:xfrm>
                  <a:off x="3458588" y="4190967"/>
                  <a:ext cx="349295" cy="432686"/>
                </a:xfrm>
                <a:custGeom>
                  <a:avLst/>
                  <a:gdLst>
                    <a:gd name="T0" fmla="*/ 58 w 240"/>
                    <a:gd name="T1" fmla="*/ 113 h 328"/>
                    <a:gd name="T2" fmla="*/ 55 w 240"/>
                    <a:gd name="T3" fmla="*/ 102 h 328"/>
                    <a:gd name="T4" fmla="*/ 27 w 240"/>
                    <a:gd name="T5" fmla="*/ 88 h 328"/>
                    <a:gd name="T6" fmla="*/ 19 w 240"/>
                    <a:gd name="T7" fmla="*/ 88 h 328"/>
                    <a:gd name="T8" fmla="*/ 11 w 240"/>
                    <a:gd name="T9" fmla="*/ 86 h 328"/>
                    <a:gd name="T10" fmla="*/ 6 w 240"/>
                    <a:gd name="T11" fmla="*/ 86 h 328"/>
                    <a:gd name="T12" fmla="*/ 0 w 240"/>
                    <a:gd name="T13" fmla="*/ 80 h 328"/>
                    <a:gd name="T14" fmla="*/ 3 w 240"/>
                    <a:gd name="T15" fmla="*/ 69 h 328"/>
                    <a:gd name="T16" fmla="*/ 8 w 240"/>
                    <a:gd name="T17" fmla="*/ 63 h 328"/>
                    <a:gd name="T18" fmla="*/ 11 w 240"/>
                    <a:gd name="T19" fmla="*/ 55 h 328"/>
                    <a:gd name="T20" fmla="*/ 11 w 240"/>
                    <a:gd name="T21" fmla="*/ 39 h 328"/>
                    <a:gd name="T22" fmla="*/ 14 w 240"/>
                    <a:gd name="T23" fmla="*/ 33 h 328"/>
                    <a:gd name="T24" fmla="*/ 17 w 240"/>
                    <a:gd name="T25" fmla="*/ 27 h 328"/>
                    <a:gd name="T26" fmla="*/ 22 w 240"/>
                    <a:gd name="T27" fmla="*/ 22 h 328"/>
                    <a:gd name="T28" fmla="*/ 25 w 240"/>
                    <a:gd name="T29" fmla="*/ 17 h 328"/>
                    <a:gd name="T30" fmla="*/ 27 w 240"/>
                    <a:gd name="T31" fmla="*/ 8 h 328"/>
                    <a:gd name="T32" fmla="*/ 33 w 240"/>
                    <a:gd name="T33" fmla="*/ 8 h 328"/>
                    <a:gd name="T34" fmla="*/ 47 w 240"/>
                    <a:gd name="T35" fmla="*/ 0 h 328"/>
                    <a:gd name="T36" fmla="*/ 55 w 240"/>
                    <a:gd name="T37" fmla="*/ 0 h 328"/>
                    <a:gd name="T38" fmla="*/ 50 w 240"/>
                    <a:gd name="T39" fmla="*/ 3 h 328"/>
                    <a:gd name="T40" fmla="*/ 39 w 240"/>
                    <a:gd name="T41" fmla="*/ 22 h 328"/>
                    <a:gd name="T42" fmla="*/ 44 w 240"/>
                    <a:gd name="T43" fmla="*/ 27 h 328"/>
                    <a:gd name="T44" fmla="*/ 47 w 240"/>
                    <a:gd name="T45" fmla="*/ 36 h 328"/>
                    <a:gd name="T46" fmla="*/ 66 w 240"/>
                    <a:gd name="T47" fmla="*/ 41 h 328"/>
                    <a:gd name="T48" fmla="*/ 77 w 240"/>
                    <a:gd name="T49" fmla="*/ 47 h 328"/>
                    <a:gd name="T50" fmla="*/ 77 w 240"/>
                    <a:gd name="T51" fmla="*/ 55 h 328"/>
                    <a:gd name="T52" fmla="*/ 77 w 240"/>
                    <a:gd name="T53" fmla="*/ 67 h 328"/>
                    <a:gd name="T54" fmla="*/ 83 w 240"/>
                    <a:gd name="T55" fmla="*/ 72 h 328"/>
                    <a:gd name="T56" fmla="*/ 79 w 240"/>
                    <a:gd name="T57" fmla="*/ 77 h 328"/>
                    <a:gd name="T58" fmla="*/ 63 w 240"/>
                    <a:gd name="T59" fmla="*/ 74 h 328"/>
                    <a:gd name="T60" fmla="*/ 69 w 240"/>
                    <a:gd name="T61" fmla="*/ 83 h 328"/>
                    <a:gd name="T62" fmla="*/ 63 w 240"/>
                    <a:gd name="T63" fmla="*/ 86 h 328"/>
                    <a:gd name="T64" fmla="*/ 66 w 240"/>
                    <a:gd name="T65" fmla="*/ 94 h 32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40"/>
                    <a:gd name="T100" fmla="*/ 0 h 328"/>
                    <a:gd name="T101" fmla="*/ 240 w 240"/>
                    <a:gd name="T102" fmla="*/ 328 h 32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40" h="328">
                      <a:moveTo>
                        <a:pt x="184" y="328"/>
                      </a:moveTo>
                      <a:lnTo>
                        <a:pt x="168" y="328"/>
                      </a:lnTo>
                      <a:lnTo>
                        <a:pt x="176" y="304"/>
                      </a:lnTo>
                      <a:lnTo>
                        <a:pt x="160" y="296"/>
                      </a:lnTo>
                      <a:lnTo>
                        <a:pt x="112" y="296"/>
                      </a:lnTo>
                      <a:lnTo>
                        <a:pt x="80" y="256"/>
                      </a:lnTo>
                      <a:lnTo>
                        <a:pt x="64" y="256"/>
                      </a:lnTo>
                      <a:lnTo>
                        <a:pt x="56" y="256"/>
                      </a:lnTo>
                      <a:lnTo>
                        <a:pt x="48" y="248"/>
                      </a:lnTo>
                      <a:lnTo>
                        <a:pt x="32" y="248"/>
                      </a:lnTo>
                      <a:lnTo>
                        <a:pt x="24" y="256"/>
                      </a:lnTo>
                      <a:lnTo>
                        <a:pt x="16" y="248"/>
                      </a:lnTo>
                      <a:lnTo>
                        <a:pt x="16" y="240"/>
                      </a:lnTo>
                      <a:lnTo>
                        <a:pt x="0" y="232"/>
                      </a:lnTo>
                      <a:lnTo>
                        <a:pt x="0" y="208"/>
                      </a:lnTo>
                      <a:lnTo>
                        <a:pt x="8" y="200"/>
                      </a:lnTo>
                      <a:lnTo>
                        <a:pt x="24" y="192"/>
                      </a:lnTo>
                      <a:lnTo>
                        <a:pt x="24" y="184"/>
                      </a:lnTo>
                      <a:lnTo>
                        <a:pt x="40" y="168"/>
                      </a:lnTo>
                      <a:lnTo>
                        <a:pt x="32" y="160"/>
                      </a:lnTo>
                      <a:lnTo>
                        <a:pt x="32" y="136"/>
                      </a:lnTo>
                      <a:lnTo>
                        <a:pt x="32" y="112"/>
                      </a:lnTo>
                      <a:lnTo>
                        <a:pt x="24" y="104"/>
                      </a:lnTo>
                      <a:lnTo>
                        <a:pt x="40" y="96"/>
                      </a:lnTo>
                      <a:lnTo>
                        <a:pt x="48" y="88"/>
                      </a:lnTo>
                      <a:lnTo>
                        <a:pt x="48" y="80"/>
                      </a:lnTo>
                      <a:lnTo>
                        <a:pt x="48" y="72"/>
                      </a:lnTo>
                      <a:lnTo>
                        <a:pt x="64" y="64"/>
                      </a:lnTo>
                      <a:lnTo>
                        <a:pt x="64" y="48"/>
                      </a:lnTo>
                      <a:lnTo>
                        <a:pt x="72" y="48"/>
                      </a:lnTo>
                      <a:lnTo>
                        <a:pt x="72" y="32"/>
                      </a:lnTo>
                      <a:lnTo>
                        <a:pt x="80" y="24"/>
                      </a:lnTo>
                      <a:lnTo>
                        <a:pt x="88" y="32"/>
                      </a:lnTo>
                      <a:lnTo>
                        <a:pt x="96" y="24"/>
                      </a:lnTo>
                      <a:lnTo>
                        <a:pt x="136" y="8"/>
                      </a:lnTo>
                      <a:lnTo>
                        <a:pt x="136" y="0"/>
                      </a:lnTo>
                      <a:lnTo>
                        <a:pt x="152" y="0"/>
                      </a:lnTo>
                      <a:lnTo>
                        <a:pt x="160" y="0"/>
                      </a:lnTo>
                      <a:lnTo>
                        <a:pt x="160" y="8"/>
                      </a:lnTo>
                      <a:lnTo>
                        <a:pt x="144" y="8"/>
                      </a:lnTo>
                      <a:lnTo>
                        <a:pt x="120" y="32"/>
                      </a:lnTo>
                      <a:lnTo>
                        <a:pt x="112" y="64"/>
                      </a:lnTo>
                      <a:lnTo>
                        <a:pt x="120" y="72"/>
                      </a:lnTo>
                      <a:lnTo>
                        <a:pt x="128" y="80"/>
                      </a:lnTo>
                      <a:lnTo>
                        <a:pt x="128" y="96"/>
                      </a:lnTo>
                      <a:lnTo>
                        <a:pt x="136" y="104"/>
                      </a:lnTo>
                      <a:lnTo>
                        <a:pt x="184" y="112"/>
                      </a:lnTo>
                      <a:lnTo>
                        <a:pt x="192" y="120"/>
                      </a:lnTo>
                      <a:lnTo>
                        <a:pt x="216" y="128"/>
                      </a:lnTo>
                      <a:lnTo>
                        <a:pt x="224" y="136"/>
                      </a:lnTo>
                      <a:lnTo>
                        <a:pt x="224" y="152"/>
                      </a:lnTo>
                      <a:lnTo>
                        <a:pt x="224" y="160"/>
                      </a:lnTo>
                      <a:lnTo>
                        <a:pt x="232" y="184"/>
                      </a:lnTo>
                      <a:lnTo>
                        <a:pt x="224" y="192"/>
                      </a:lnTo>
                      <a:lnTo>
                        <a:pt x="240" y="200"/>
                      </a:lnTo>
                      <a:lnTo>
                        <a:pt x="240" y="208"/>
                      </a:lnTo>
                      <a:lnTo>
                        <a:pt x="240" y="232"/>
                      </a:lnTo>
                      <a:lnTo>
                        <a:pt x="232" y="224"/>
                      </a:lnTo>
                      <a:lnTo>
                        <a:pt x="216" y="216"/>
                      </a:lnTo>
                      <a:lnTo>
                        <a:pt x="184" y="216"/>
                      </a:lnTo>
                      <a:lnTo>
                        <a:pt x="184" y="224"/>
                      </a:lnTo>
                      <a:lnTo>
                        <a:pt x="200" y="240"/>
                      </a:lnTo>
                      <a:lnTo>
                        <a:pt x="192" y="248"/>
                      </a:lnTo>
                      <a:lnTo>
                        <a:pt x="184" y="248"/>
                      </a:lnTo>
                      <a:lnTo>
                        <a:pt x="184" y="264"/>
                      </a:lnTo>
                      <a:lnTo>
                        <a:pt x="192" y="272"/>
                      </a:lnTo>
                      <a:lnTo>
                        <a:pt x="184" y="32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81" name="Freeform 18">
                  <a:extLst>
                    <a:ext uri="{FF2B5EF4-FFF2-40B4-BE49-F238E27FC236}">
                      <a16:creationId xmlns:a16="http://schemas.microsoft.com/office/drawing/2014/main" id="{48CCEC43-28B9-E033-B78F-5B7BACEC3275}"/>
                    </a:ext>
                  </a:extLst>
                </p:cNvPr>
                <p:cNvSpPr/>
                <p:nvPr/>
              </p:nvSpPr>
              <p:spPr bwMode="gray">
                <a:xfrm>
                  <a:off x="3620761" y="4190967"/>
                  <a:ext cx="409590" cy="316049"/>
                </a:xfrm>
                <a:custGeom>
                  <a:avLst/>
                  <a:gdLst>
                    <a:gd name="T0" fmla="*/ 44 w 280"/>
                    <a:gd name="T1" fmla="*/ 71 h 240"/>
                    <a:gd name="T2" fmla="*/ 39 w 280"/>
                    <a:gd name="T3" fmla="*/ 66 h 240"/>
                    <a:gd name="T4" fmla="*/ 39 w 280"/>
                    <a:gd name="T5" fmla="*/ 55 h 240"/>
                    <a:gd name="T6" fmla="*/ 39 w 280"/>
                    <a:gd name="T7" fmla="*/ 47 h 240"/>
                    <a:gd name="T8" fmla="*/ 27 w 280"/>
                    <a:gd name="T9" fmla="*/ 41 h 240"/>
                    <a:gd name="T10" fmla="*/ 8 w 280"/>
                    <a:gd name="T11" fmla="*/ 36 h 240"/>
                    <a:gd name="T12" fmla="*/ 6 w 280"/>
                    <a:gd name="T13" fmla="*/ 27 h 240"/>
                    <a:gd name="T14" fmla="*/ 0 w 280"/>
                    <a:gd name="T15" fmla="*/ 22 h 240"/>
                    <a:gd name="T16" fmla="*/ 11 w 280"/>
                    <a:gd name="T17" fmla="*/ 3 h 240"/>
                    <a:gd name="T18" fmla="*/ 11 w 280"/>
                    <a:gd name="T19" fmla="*/ 6 h 240"/>
                    <a:gd name="T20" fmla="*/ 11 w 280"/>
                    <a:gd name="T21" fmla="*/ 14 h 240"/>
                    <a:gd name="T22" fmla="*/ 11 w 280"/>
                    <a:gd name="T23" fmla="*/ 22 h 240"/>
                    <a:gd name="T24" fmla="*/ 17 w 280"/>
                    <a:gd name="T25" fmla="*/ 17 h 240"/>
                    <a:gd name="T26" fmla="*/ 17 w 280"/>
                    <a:gd name="T27" fmla="*/ 8 h 240"/>
                    <a:gd name="T28" fmla="*/ 23 w 280"/>
                    <a:gd name="T29" fmla="*/ 0 h 240"/>
                    <a:gd name="T30" fmla="*/ 27 w 280"/>
                    <a:gd name="T31" fmla="*/ 6 h 240"/>
                    <a:gd name="T32" fmla="*/ 36 w 280"/>
                    <a:gd name="T33" fmla="*/ 6 h 240"/>
                    <a:gd name="T34" fmla="*/ 53 w 280"/>
                    <a:gd name="T35" fmla="*/ 14 h 240"/>
                    <a:gd name="T36" fmla="*/ 58 w 280"/>
                    <a:gd name="T37" fmla="*/ 17 h 240"/>
                    <a:gd name="T38" fmla="*/ 67 w 280"/>
                    <a:gd name="T39" fmla="*/ 11 h 240"/>
                    <a:gd name="T40" fmla="*/ 75 w 280"/>
                    <a:gd name="T41" fmla="*/ 11 h 240"/>
                    <a:gd name="T42" fmla="*/ 84 w 280"/>
                    <a:gd name="T43" fmla="*/ 17 h 240"/>
                    <a:gd name="T44" fmla="*/ 92 w 280"/>
                    <a:gd name="T45" fmla="*/ 25 h 240"/>
                    <a:gd name="T46" fmla="*/ 98 w 280"/>
                    <a:gd name="T47" fmla="*/ 33 h 240"/>
                    <a:gd name="T48" fmla="*/ 92 w 280"/>
                    <a:gd name="T49" fmla="*/ 36 h 240"/>
                    <a:gd name="T50" fmla="*/ 92 w 280"/>
                    <a:gd name="T51" fmla="*/ 41 h 240"/>
                    <a:gd name="T52" fmla="*/ 89 w 280"/>
                    <a:gd name="T53" fmla="*/ 44 h 240"/>
                    <a:gd name="T54" fmla="*/ 89 w 280"/>
                    <a:gd name="T55" fmla="*/ 58 h 240"/>
                    <a:gd name="T56" fmla="*/ 70 w 280"/>
                    <a:gd name="T57" fmla="*/ 55 h 240"/>
                    <a:gd name="T58" fmla="*/ 64 w 280"/>
                    <a:gd name="T59" fmla="*/ 60 h 240"/>
                    <a:gd name="T60" fmla="*/ 64 w 280"/>
                    <a:gd name="T61" fmla="*/ 69 h 240"/>
                    <a:gd name="T62" fmla="*/ 72 w 280"/>
                    <a:gd name="T63" fmla="*/ 71 h 240"/>
                    <a:gd name="T64" fmla="*/ 58 w 280"/>
                    <a:gd name="T65" fmla="*/ 79 h 240"/>
                    <a:gd name="T66" fmla="*/ 44 w 280"/>
                    <a:gd name="T67" fmla="*/ 79 h 2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80"/>
                    <a:gd name="T103" fmla="*/ 0 h 240"/>
                    <a:gd name="T104" fmla="*/ 280 w 280"/>
                    <a:gd name="T105" fmla="*/ 240 h 240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80" h="240">
                      <a:moveTo>
                        <a:pt x="128" y="232"/>
                      </a:moveTo>
                      <a:lnTo>
                        <a:pt x="128" y="208"/>
                      </a:lnTo>
                      <a:lnTo>
                        <a:pt x="128" y="200"/>
                      </a:lnTo>
                      <a:lnTo>
                        <a:pt x="112" y="192"/>
                      </a:lnTo>
                      <a:lnTo>
                        <a:pt x="120" y="184"/>
                      </a:lnTo>
                      <a:lnTo>
                        <a:pt x="112" y="160"/>
                      </a:lnTo>
                      <a:lnTo>
                        <a:pt x="112" y="152"/>
                      </a:lnTo>
                      <a:lnTo>
                        <a:pt x="112" y="136"/>
                      </a:lnTo>
                      <a:lnTo>
                        <a:pt x="104" y="128"/>
                      </a:lnTo>
                      <a:lnTo>
                        <a:pt x="80" y="120"/>
                      </a:lnTo>
                      <a:lnTo>
                        <a:pt x="72" y="112"/>
                      </a:lnTo>
                      <a:lnTo>
                        <a:pt x="24" y="104"/>
                      </a:lnTo>
                      <a:lnTo>
                        <a:pt x="16" y="96"/>
                      </a:lnTo>
                      <a:lnTo>
                        <a:pt x="16" y="80"/>
                      </a:lnTo>
                      <a:lnTo>
                        <a:pt x="8" y="72"/>
                      </a:lnTo>
                      <a:lnTo>
                        <a:pt x="0" y="64"/>
                      </a:lnTo>
                      <a:lnTo>
                        <a:pt x="8" y="32"/>
                      </a:lnTo>
                      <a:lnTo>
                        <a:pt x="32" y="8"/>
                      </a:lnTo>
                      <a:lnTo>
                        <a:pt x="48" y="8"/>
                      </a:lnTo>
                      <a:lnTo>
                        <a:pt x="32" y="16"/>
                      </a:lnTo>
                      <a:lnTo>
                        <a:pt x="32" y="32"/>
                      </a:lnTo>
                      <a:lnTo>
                        <a:pt x="32" y="40"/>
                      </a:lnTo>
                      <a:lnTo>
                        <a:pt x="24" y="48"/>
                      </a:lnTo>
                      <a:lnTo>
                        <a:pt x="32" y="64"/>
                      </a:lnTo>
                      <a:lnTo>
                        <a:pt x="48" y="64"/>
                      </a:lnTo>
                      <a:lnTo>
                        <a:pt x="48" y="48"/>
                      </a:lnTo>
                      <a:lnTo>
                        <a:pt x="40" y="32"/>
                      </a:lnTo>
                      <a:lnTo>
                        <a:pt x="48" y="24"/>
                      </a:lnTo>
                      <a:lnTo>
                        <a:pt x="64" y="16"/>
                      </a:lnTo>
                      <a:lnTo>
                        <a:pt x="64" y="0"/>
                      </a:lnTo>
                      <a:lnTo>
                        <a:pt x="72" y="8"/>
                      </a:lnTo>
                      <a:lnTo>
                        <a:pt x="80" y="16"/>
                      </a:lnTo>
                      <a:lnTo>
                        <a:pt x="88" y="16"/>
                      </a:lnTo>
                      <a:lnTo>
                        <a:pt x="104" y="16"/>
                      </a:lnTo>
                      <a:lnTo>
                        <a:pt x="104" y="32"/>
                      </a:lnTo>
                      <a:lnTo>
                        <a:pt x="152" y="40"/>
                      </a:lnTo>
                      <a:lnTo>
                        <a:pt x="160" y="40"/>
                      </a:lnTo>
                      <a:lnTo>
                        <a:pt x="168" y="48"/>
                      </a:lnTo>
                      <a:lnTo>
                        <a:pt x="184" y="40"/>
                      </a:lnTo>
                      <a:lnTo>
                        <a:pt x="192" y="32"/>
                      </a:lnTo>
                      <a:lnTo>
                        <a:pt x="200" y="32"/>
                      </a:lnTo>
                      <a:lnTo>
                        <a:pt x="216" y="32"/>
                      </a:lnTo>
                      <a:lnTo>
                        <a:pt x="224" y="48"/>
                      </a:lnTo>
                      <a:lnTo>
                        <a:pt x="240" y="48"/>
                      </a:lnTo>
                      <a:lnTo>
                        <a:pt x="256" y="56"/>
                      </a:lnTo>
                      <a:lnTo>
                        <a:pt x="264" y="72"/>
                      </a:lnTo>
                      <a:lnTo>
                        <a:pt x="280" y="80"/>
                      </a:lnTo>
                      <a:lnTo>
                        <a:pt x="280" y="96"/>
                      </a:lnTo>
                      <a:lnTo>
                        <a:pt x="264" y="96"/>
                      </a:lnTo>
                      <a:lnTo>
                        <a:pt x="264" y="104"/>
                      </a:lnTo>
                      <a:lnTo>
                        <a:pt x="272" y="112"/>
                      </a:lnTo>
                      <a:lnTo>
                        <a:pt x="264" y="120"/>
                      </a:lnTo>
                      <a:lnTo>
                        <a:pt x="256" y="120"/>
                      </a:lnTo>
                      <a:lnTo>
                        <a:pt x="256" y="128"/>
                      </a:lnTo>
                      <a:lnTo>
                        <a:pt x="256" y="144"/>
                      </a:lnTo>
                      <a:lnTo>
                        <a:pt x="256" y="168"/>
                      </a:lnTo>
                      <a:lnTo>
                        <a:pt x="224" y="176"/>
                      </a:lnTo>
                      <a:lnTo>
                        <a:pt x="200" y="160"/>
                      </a:lnTo>
                      <a:lnTo>
                        <a:pt x="184" y="160"/>
                      </a:lnTo>
                      <a:lnTo>
                        <a:pt x="184" y="176"/>
                      </a:lnTo>
                      <a:lnTo>
                        <a:pt x="192" y="176"/>
                      </a:lnTo>
                      <a:lnTo>
                        <a:pt x="184" y="200"/>
                      </a:lnTo>
                      <a:lnTo>
                        <a:pt x="200" y="200"/>
                      </a:lnTo>
                      <a:lnTo>
                        <a:pt x="208" y="208"/>
                      </a:lnTo>
                      <a:lnTo>
                        <a:pt x="208" y="216"/>
                      </a:lnTo>
                      <a:lnTo>
                        <a:pt x="168" y="232"/>
                      </a:lnTo>
                      <a:lnTo>
                        <a:pt x="152" y="240"/>
                      </a:lnTo>
                      <a:lnTo>
                        <a:pt x="128" y="232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82" name="Freeform 19">
                  <a:extLst>
                    <a:ext uri="{FF2B5EF4-FFF2-40B4-BE49-F238E27FC236}">
                      <a16:creationId xmlns:a16="http://schemas.microsoft.com/office/drawing/2014/main" id="{91851B6A-6CC0-EA36-5A8E-16A270EEA987}"/>
                    </a:ext>
                  </a:extLst>
                </p:cNvPr>
                <p:cNvSpPr/>
                <p:nvPr/>
              </p:nvSpPr>
              <p:spPr bwMode="gray">
                <a:xfrm>
                  <a:off x="3995006" y="4296316"/>
                  <a:ext cx="118511" cy="190006"/>
                </a:xfrm>
                <a:custGeom>
                  <a:avLst/>
                  <a:gdLst>
                    <a:gd name="T0" fmla="*/ 9 w 80"/>
                    <a:gd name="T1" fmla="*/ 0 h 144"/>
                    <a:gd name="T2" fmla="*/ 9 w 80"/>
                    <a:gd name="T3" fmla="*/ 6 h 144"/>
                    <a:gd name="T4" fmla="*/ 3 w 80"/>
                    <a:gd name="T5" fmla="*/ 6 h 144"/>
                    <a:gd name="T6" fmla="*/ 3 w 80"/>
                    <a:gd name="T7" fmla="*/ 8 h 144"/>
                    <a:gd name="T8" fmla="*/ 6 w 80"/>
                    <a:gd name="T9" fmla="*/ 11 h 144"/>
                    <a:gd name="T10" fmla="*/ 3 w 80"/>
                    <a:gd name="T11" fmla="*/ 14 h 144"/>
                    <a:gd name="T12" fmla="*/ 0 w 80"/>
                    <a:gd name="T13" fmla="*/ 14 h 144"/>
                    <a:gd name="T14" fmla="*/ 0 w 80"/>
                    <a:gd name="T15" fmla="*/ 17 h 144"/>
                    <a:gd name="T16" fmla="*/ 0 w 80"/>
                    <a:gd name="T17" fmla="*/ 22 h 144"/>
                    <a:gd name="T18" fmla="*/ 3 w 80"/>
                    <a:gd name="T19" fmla="*/ 22 h 144"/>
                    <a:gd name="T20" fmla="*/ 9 w 80"/>
                    <a:gd name="T21" fmla="*/ 27 h 144"/>
                    <a:gd name="T22" fmla="*/ 9 w 80"/>
                    <a:gd name="T23" fmla="*/ 33 h 144"/>
                    <a:gd name="T24" fmla="*/ 9 w 80"/>
                    <a:gd name="T25" fmla="*/ 39 h 144"/>
                    <a:gd name="T26" fmla="*/ 9 w 80"/>
                    <a:gd name="T27" fmla="*/ 47 h 144"/>
                    <a:gd name="T28" fmla="*/ 11 w 80"/>
                    <a:gd name="T29" fmla="*/ 50 h 144"/>
                    <a:gd name="T30" fmla="*/ 17 w 80"/>
                    <a:gd name="T31" fmla="*/ 50 h 144"/>
                    <a:gd name="T32" fmla="*/ 24 w 80"/>
                    <a:gd name="T33" fmla="*/ 50 h 144"/>
                    <a:gd name="T34" fmla="*/ 24 w 80"/>
                    <a:gd name="T35" fmla="*/ 47 h 144"/>
                    <a:gd name="T36" fmla="*/ 29 w 80"/>
                    <a:gd name="T37" fmla="*/ 47 h 144"/>
                    <a:gd name="T38" fmla="*/ 29 w 80"/>
                    <a:gd name="T39" fmla="*/ 44 h 144"/>
                    <a:gd name="T40" fmla="*/ 29 w 80"/>
                    <a:gd name="T41" fmla="*/ 39 h 144"/>
                    <a:gd name="T42" fmla="*/ 24 w 80"/>
                    <a:gd name="T43" fmla="*/ 36 h 144"/>
                    <a:gd name="T44" fmla="*/ 24 w 80"/>
                    <a:gd name="T45" fmla="*/ 27 h 144"/>
                    <a:gd name="T46" fmla="*/ 26 w 80"/>
                    <a:gd name="T47" fmla="*/ 25 h 144"/>
                    <a:gd name="T48" fmla="*/ 29 w 80"/>
                    <a:gd name="T49" fmla="*/ 19 h 144"/>
                    <a:gd name="T50" fmla="*/ 26 w 80"/>
                    <a:gd name="T51" fmla="*/ 14 h 144"/>
                    <a:gd name="T52" fmla="*/ 26 w 80"/>
                    <a:gd name="T53" fmla="*/ 11 h 144"/>
                    <a:gd name="T54" fmla="*/ 21 w 80"/>
                    <a:gd name="T55" fmla="*/ 11 h 144"/>
                    <a:gd name="T56" fmla="*/ 17 w 80"/>
                    <a:gd name="T57" fmla="*/ 6 h 144"/>
                    <a:gd name="T58" fmla="*/ 15 w 80"/>
                    <a:gd name="T59" fmla="*/ 3 h 144"/>
                    <a:gd name="T60" fmla="*/ 9 w 80"/>
                    <a:gd name="T61" fmla="*/ 0 h 144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80"/>
                    <a:gd name="T94" fmla="*/ 0 h 144"/>
                    <a:gd name="T95" fmla="*/ 80 w 80"/>
                    <a:gd name="T96" fmla="*/ 144 h 144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80" h="144">
                      <a:moveTo>
                        <a:pt x="24" y="0"/>
                      </a:moveTo>
                      <a:lnTo>
                        <a:pt x="24" y="16"/>
                      </a:ln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16" y="32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64"/>
                      </a:lnTo>
                      <a:lnTo>
                        <a:pt x="8" y="64"/>
                      </a:lnTo>
                      <a:lnTo>
                        <a:pt x="24" y="80"/>
                      </a:lnTo>
                      <a:lnTo>
                        <a:pt x="24" y="96"/>
                      </a:lnTo>
                      <a:lnTo>
                        <a:pt x="24" y="112"/>
                      </a:lnTo>
                      <a:lnTo>
                        <a:pt x="24" y="136"/>
                      </a:lnTo>
                      <a:lnTo>
                        <a:pt x="32" y="144"/>
                      </a:lnTo>
                      <a:lnTo>
                        <a:pt x="48" y="144"/>
                      </a:lnTo>
                      <a:lnTo>
                        <a:pt x="64" y="144"/>
                      </a:lnTo>
                      <a:lnTo>
                        <a:pt x="64" y="136"/>
                      </a:lnTo>
                      <a:lnTo>
                        <a:pt x="80" y="136"/>
                      </a:lnTo>
                      <a:lnTo>
                        <a:pt x="80" y="128"/>
                      </a:lnTo>
                      <a:lnTo>
                        <a:pt x="80" y="112"/>
                      </a:lnTo>
                      <a:lnTo>
                        <a:pt x="64" y="104"/>
                      </a:lnTo>
                      <a:lnTo>
                        <a:pt x="64" y="80"/>
                      </a:lnTo>
                      <a:lnTo>
                        <a:pt x="72" y="72"/>
                      </a:lnTo>
                      <a:lnTo>
                        <a:pt x="80" y="56"/>
                      </a:lnTo>
                      <a:lnTo>
                        <a:pt x="72" y="40"/>
                      </a:lnTo>
                      <a:lnTo>
                        <a:pt x="72" y="32"/>
                      </a:lnTo>
                      <a:lnTo>
                        <a:pt x="56" y="32"/>
                      </a:lnTo>
                      <a:lnTo>
                        <a:pt x="48" y="16"/>
                      </a:lnTo>
                      <a:lnTo>
                        <a:pt x="40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83" name="Freeform 20">
                  <a:extLst>
                    <a:ext uri="{FF2B5EF4-FFF2-40B4-BE49-F238E27FC236}">
                      <a16:creationId xmlns:a16="http://schemas.microsoft.com/office/drawing/2014/main" id="{7FFD366D-22C5-BD95-E96F-F94B5EA8341A}"/>
                    </a:ext>
                  </a:extLst>
                </p:cNvPr>
                <p:cNvSpPr/>
                <p:nvPr/>
              </p:nvSpPr>
              <p:spPr bwMode="gray">
                <a:xfrm>
                  <a:off x="3610365" y="4380972"/>
                  <a:ext cx="1168476" cy="1100527"/>
                </a:xfrm>
                <a:custGeom>
                  <a:avLst/>
                  <a:gdLst>
                    <a:gd name="T0" fmla="*/ 100 w 800"/>
                    <a:gd name="T1" fmla="*/ 6 h 832"/>
                    <a:gd name="T2" fmla="*/ 100 w 800"/>
                    <a:gd name="T3" fmla="*/ 25 h 832"/>
                    <a:gd name="T4" fmla="*/ 114 w 800"/>
                    <a:gd name="T5" fmla="*/ 27 h 832"/>
                    <a:gd name="T6" fmla="*/ 119 w 800"/>
                    <a:gd name="T7" fmla="*/ 23 h 832"/>
                    <a:gd name="T8" fmla="*/ 130 w 800"/>
                    <a:gd name="T9" fmla="*/ 19 h 832"/>
                    <a:gd name="T10" fmla="*/ 142 w 800"/>
                    <a:gd name="T11" fmla="*/ 23 h 832"/>
                    <a:gd name="T12" fmla="*/ 155 w 800"/>
                    <a:gd name="T13" fmla="*/ 11 h 832"/>
                    <a:gd name="T14" fmla="*/ 161 w 800"/>
                    <a:gd name="T15" fmla="*/ 14 h 832"/>
                    <a:gd name="T16" fmla="*/ 171 w 800"/>
                    <a:gd name="T17" fmla="*/ 25 h 832"/>
                    <a:gd name="T18" fmla="*/ 166 w 800"/>
                    <a:gd name="T19" fmla="*/ 36 h 832"/>
                    <a:gd name="T20" fmla="*/ 178 w 800"/>
                    <a:gd name="T21" fmla="*/ 39 h 832"/>
                    <a:gd name="T22" fmla="*/ 171 w 800"/>
                    <a:gd name="T23" fmla="*/ 48 h 832"/>
                    <a:gd name="T24" fmla="*/ 183 w 800"/>
                    <a:gd name="T25" fmla="*/ 44 h 832"/>
                    <a:gd name="T26" fmla="*/ 200 w 800"/>
                    <a:gd name="T27" fmla="*/ 48 h 832"/>
                    <a:gd name="T28" fmla="*/ 205 w 800"/>
                    <a:gd name="T29" fmla="*/ 56 h 832"/>
                    <a:gd name="T30" fmla="*/ 216 w 800"/>
                    <a:gd name="T31" fmla="*/ 56 h 832"/>
                    <a:gd name="T32" fmla="*/ 242 w 800"/>
                    <a:gd name="T33" fmla="*/ 61 h 832"/>
                    <a:gd name="T34" fmla="*/ 277 w 800"/>
                    <a:gd name="T35" fmla="*/ 75 h 832"/>
                    <a:gd name="T36" fmla="*/ 275 w 800"/>
                    <a:gd name="T37" fmla="*/ 105 h 832"/>
                    <a:gd name="T38" fmla="*/ 263 w 800"/>
                    <a:gd name="T39" fmla="*/ 114 h 832"/>
                    <a:gd name="T40" fmla="*/ 249 w 800"/>
                    <a:gd name="T41" fmla="*/ 131 h 832"/>
                    <a:gd name="T42" fmla="*/ 249 w 800"/>
                    <a:gd name="T43" fmla="*/ 150 h 832"/>
                    <a:gd name="T44" fmla="*/ 244 w 800"/>
                    <a:gd name="T45" fmla="*/ 167 h 832"/>
                    <a:gd name="T46" fmla="*/ 238 w 800"/>
                    <a:gd name="T47" fmla="*/ 181 h 832"/>
                    <a:gd name="T48" fmla="*/ 233 w 800"/>
                    <a:gd name="T49" fmla="*/ 200 h 832"/>
                    <a:gd name="T50" fmla="*/ 225 w 800"/>
                    <a:gd name="T51" fmla="*/ 206 h 832"/>
                    <a:gd name="T52" fmla="*/ 214 w 800"/>
                    <a:gd name="T53" fmla="*/ 209 h 832"/>
                    <a:gd name="T54" fmla="*/ 202 w 800"/>
                    <a:gd name="T55" fmla="*/ 214 h 832"/>
                    <a:gd name="T56" fmla="*/ 192 w 800"/>
                    <a:gd name="T57" fmla="*/ 219 h 832"/>
                    <a:gd name="T58" fmla="*/ 180 w 800"/>
                    <a:gd name="T59" fmla="*/ 226 h 832"/>
                    <a:gd name="T60" fmla="*/ 180 w 800"/>
                    <a:gd name="T61" fmla="*/ 245 h 832"/>
                    <a:gd name="T62" fmla="*/ 169 w 800"/>
                    <a:gd name="T63" fmla="*/ 256 h 832"/>
                    <a:gd name="T64" fmla="*/ 158 w 800"/>
                    <a:gd name="T65" fmla="*/ 278 h 832"/>
                    <a:gd name="T66" fmla="*/ 161 w 800"/>
                    <a:gd name="T67" fmla="*/ 267 h 832"/>
                    <a:gd name="T68" fmla="*/ 158 w 800"/>
                    <a:gd name="T69" fmla="*/ 267 h 832"/>
                    <a:gd name="T70" fmla="*/ 155 w 800"/>
                    <a:gd name="T71" fmla="*/ 278 h 832"/>
                    <a:gd name="T72" fmla="*/ 147 w 800"/>
                    <a:gd name="T73" fmla="*/ 284 h 832"/>
                    <a:gd name="T74" fmla="*/ 136 w 800"/>
                    <a:gd name="T75" fmla="*/ 276 h 832"/>
                    <a:gd name="T76" fmla="*/ 122 w 800"/>
                    <a:gd name="T77" fmla="*/ 267 h 832"/>
                    <a:gd name="T78" fmla="*/ 122 w 800"/>
                    <a:gd name="T79" fmla="*/ 256 h 832"/>
                    <a:gd name="T80" fmla="*/ 142 w 800"/>
                    <a:gd name="T81" fmla="*/ 236 h 832"/>
                    <a:gd name="T82" fmla="*/ 136 w 800"/>
                    <a:gd name="T83" fmla="*/ 226 h 832"/>
                    <a:gd name="T84" fmla="*/ 138 w 800"/>
                    <a:gd name="T85" fmla="*/ 212 h 832"/>
                    <a:gd name="T86" fmla="*/ 130 w 800"/>
                    <a:gd name="T87" fmla="*/ 206 h 832"/>
                    <a:gd name="T88" fmla="*/ 114 w 800"/>
                    <a:gd name="T89" fmla="*/ 181 h 832"/>
                    <a:gd name="T90" fmla="*/ 111 w 800"/>
                    <a:gd name="T91" fmla="*/ 161 h 832"/>
                    <a:gd name="T92" fmla="*/ 91 w 800"/>
                    <a:gd name="T93" fmla="*/ 153 h 832"/>
                    <a:gd name="T94" fmla="*/ 70 w 800"/>
                    <a:gd name="T95" fmla="*/ 125 h 832"/>
                    <a:gd name="T96" fmla="*/ 61 w 800"/>
                    <a:gd name="T97" fmla="*/ 111 h 832"/>
                    <a:gd name="T98" fmla="*/ 44 w 800"/>
                    <a:gd name="T99" fmla="*/ 117 h 832"/>
                    <a:gd name="T100" fmla="*/ 22 w 800"/>
                    <a:gd name="T101" fmla="*/ 108 h 832"/>
                    <a:gd name="T102" fmla="*/ 3 w 800"/>
                    <a:gd name="T103" fmla="*/ 103 h 832"/>
                    <a:gd name="T104" fmla="*/ 3 w 800"/>
                    <a:gd name="T105" fmla="*/ 84 h 832"/>
                    <a:gd name="T106" fmla="*/ 22 w 800"/>
                    <a:gd name="T107" fmla="*/ 70 h 832"/>
                    <a:gd name="T108" fmla="*/ 31 w 800"/>
                    <a:gd name="T109" fmla="*/ 44 h 832"/>
                    <a:gd name="T110" fmla="*/ 31 w 800"/>
                    <a:gd name="T111" fmla="*/ 36 h 832"/>
                    <a:gd name="T112" fmla="*/ 27 w 800"/>
                    <a:gd name="T113" fmla="*/ 25 h 832"/>
                    <a:gd name="T114" fmla="*/ 47 w 800"/>
                    <a:gd name="T115" fmla="*/ 31 h 832"/>
                    <a:gd name="T116" fmla="*/ 75 w 800"/>
                    <a:gd name="T117" fmla="*/ 25 h 832"/>
                    <a:gd name="T118" fmla="*/ 67 w 800"/>
                    <a:gd name="T119" fmla="*/ 19 h 832"/>
                    <a:gd name="T120" fmla="*/ 67 w 800"/>
                    <a:gd name="T121" fmla="*/ 6 h 832"/>
                    <a:gd name="T122" fmla="*/ 91 w 800"/>
                    <a:gd name="T123" fmla="*/ 8 h 832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800"/>
                    <a:gd name="T187" fmla="*/ 0 h 832"/>
                    <a:gd name="T188" fmla="*/ 800 w 800"/>
                    <a:gd name="T189" fmla="*/ 832 h 832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800" h="832">
                      <a:moveTo>
                        <a:pt x="264" y="0"/>
                      </a:moveTo>
                      <a:lnTo>
                        <a:pt x="272" y="0"/>
                      </a:lnTo>
                      <a:lnTo>
                        <a:pt x="288" y="16"/>
                      </a:lnTo>
                      <a:lnTo>
                        <a:pt x="288" y="32"/>
                      </a:lnTo>
                      <a:lnTo>
                        <a:pt x="288" y="48"/>
                      </a:lnTo>
                      <a:lnTo>
                        <a:pt x="288" y="72"/>
                      </a:lnTo>
                      <a:lnTo>
                        <a:pt x="296" y="80"/>
                      </a:lnTo>
                      <a:lnTo>
                        <a:pt x="312" y="80"/>
                      </a:lnTo>
                      <a:lnTo>
                        <a:pt x="328" y="80"/>
                      </a:lnTo>
                      <a:lnTo>
                        <a:pt x="328" y="72"/>
                      </a:lnTo>
                      <a:lnTo>
                        <a:pt x="344" y="72"/>
                      </a:lnTo>
                      <a:lnTo>
                        <a:pt x="344" y="64"/>
                      </a:lnTo>
                      <a:lnTo>
                        <a:pt x="360" y="64"/>
                      </a:lnTo>
                      <a:lnTo>
                        <a:pt x="368" y="56"/>
                      </a:lnTo>
                      <a:lnTo>
                        <a:pt x="376" y="56"/>
                      </a:lnTo>
                      <a:lnTo>
                        <a:pt x="376" y="64"/>
                      </a:lnTo>
                      <a:lnTo>
                        <a:pt x="400" y="64"/>
                      </a:lnTo>
                      <a:lnTo>
                        <a:pt x="408" y="64"/>
                      </a:lnTo>
                      <a:lnTo>
                        <a:pt x="432" y="64"/>
                      </a:lnTo>
                      <a:lnTo>
                        <a:pt x="440" y="56"/>
                      </a:lnTo>
                      <a:lnTo>
                        <a:pt x="448" y="32"/>
                      </a:lnTo>
                      <a:lnTo>
                        <a:pt x="456" y="16"/>
                      </a:lnTo>
                      <a:lnTo>
                        <a:pt x="464" y="24"/>
                      </a:lnTo>
                      <a:lnTo>
                        <a:pt x="464" y="40"/>
                      </a:lnTo>
                      <a:lnTo>
                        <a:pt x="472" y="56"/>
                      </a:lnTo>
                      <a:lnTo>
                        <a:pt x="488" y="64"/>
                      </a:lnTo>
                      <a:lnTo>
                        <a:pt x="496" y="72"/>
                      </a:lnTo>
                      <a:lnTo>
                        <a:pt x="496" y="88"/>
                      </a:lnTo>
                      <a:lnTo>
                        <a:pt x="480" y="96"/>
                      </a:lnTo>
                      <a:lnTo>
                        <a:pt x="480" y="104"/>
                      </a:lnTo>
                      <a:lnTo>
                        <a:pt x="496" y="104"/>
                      </a:lnTo>
                      <a:lnTo>
                        <a:pt x="504" y="112"/>
                      </a:lnTo>
                      <a:lnTo>
                        <a:pt x="512" y="112"/>
                      </a:lnTo>
                      <a:lnTo>
                        <a:pt x="520" y="120"/>
                      </a:lnTo>
                      <a:lnTo>
                        <a:pt x="512" y="128"/>
                      </a:lnTo>
                      <a:lnTo>
                        <a:pt x="496" y="136"/>
                      </a:lnTo>
                      <a:lnTo>
                        <a:pt x="496" y="144"/>
                      </a:lnTo>
                      <a:lnTo>
                        <a:pt x="504" y="144"/>
                      </a:lnTo>
                      <a:lnTo>
                        <a:pt x="528" y="128"/>
                      </a:lnTo>
                      <a:lnTo>
                        <a:pt x="528" y="120"/>
                      </a:lnTo>
                      <a:lnTo>
                        <a:pt x="552" y="120"/>
                      </a:lnTo>
                      <a:lnTo>
                        <a:pt x="576" y="136"/>
                      </a:lnTo>
                      <a:lnTo>
                        <a:pt x="592" y="136"/>
                      </a:lnTo>
                      <a:lnTo>
                        <a:pt x="600" y="144"/>
                      </a:lnTo>
                      <a:lnTo>
                        <a:pt x="592" y="160"/>
                      </a:lnTo>
                      <a:lnTo>
                        <a:pt x="600" y="168"/>
                      </a:lnTo>
                      <a:lnTo>
                        <a:pt x="608" y="160"/>
                      </a:lnTo>
                      <a:lnTo>
                        <a:pt x="624" y="160"/>
                      </a:lnTo>
                      <a:lnTo>
                        <a:pt x="656" y="168"/>
                      </a:lnTo>
                      <a:lnTo>
                        <a:pt x="680" y="160"/>
                      </a:lnTo>
                      <a:lnTo>
                        <a:pt x="696" y="176"/>
                      </a:lnTo>
                      <a:lnTo>
                        <a:pt x="720" y="184"/>
                      </a:lnTo>
                      <a:lnTo>
                        <a:pt x="752" y="200"/>
                      </a:lnTo>
                      <a:lnTo>
                        <a:pt x="800" y="216"/>
                      </a:lnTo>
                      <a:lnTo>
                        <a:pt x="800" y="232"/>
                      </a:lnTo>
                      <a:lnTo>
                        <a:pt x="800" y="288"/>
                      </a:lnTo>
                      <a:lnTo>
                        <a:pt x="792" y="304"/>
                      </a:lnTo>
                      <a:lnTo>
                        <a:pt x="784" y="312"/>
                      </a:lnTo>
                      <a:lnTo>
                        <a:pt x="776" y="320"/>
                      </a:lnTo>
                      <a:lnTo>
                        <a:pt x="760" y="328"/>
                      </a:lnTo>
                      <a:lnTo>
                        <a:pt x="752" y="352"/>
                      </a:lnTo>
                      <a:lnTo>
                        <a:pt x="744" y="360"/>
                      </a:lnTo>
                      <a:lnTo>
                        <a:pt x="720" y="376"/>
                      </a:lnTo>
                      <a:lnTo>
                        <a:pt x="720" y="384"/>
                      </a:lnTo>
                      <a:lnTo>
                        <a:pt x="712" y="416"/>
                      </a:lnTo>
                      <a:lnTo>
                        <a:pt x="720" y="432"/>
                      </a:lnTo>
                      <a:lnTo>
                        <a:pt x="712" y="448"/>
                      </a:lnTo>
                      <a:lnTo>
                        <a:pt x="720" y="472"/>
                      </a:lnTo>
                      <a:lnTo>
                        <a:pt x="704" y="480"/>
                      </a:lnTo>
                      <a:lnTo>
                        <a:pt x="696" y="504"/>
                      </a:lnTo>
                      <a:lnTo>
                        <a:pt x="696" y="512"/>
                      </a:lnTo>
                      <a:lnTo>
                        <a:pt x="688" y="520"/>
                      </a:lnTo>
                      <a:lnTo>
                        <a:pt x="688" y="536"/>
                      </a:lnTo>
                      <a:lnTo>
                        <a:pt x="680" y="552"/>
                      </a:lnTo>
                      <a:lnTo>
                        <a:pt x="672" y="576"/>
                      </a:lnTo>
                      <a:lnTo>
                        <a:pt x="664" y="576"/>
                      </a:lnTo>
                      <a:lnTo>
                        <a:pt x="656" y="592"/>
                      </a:lnTo>
                      <a:lnTo>
                        <a:pt x="648" y="592"/>
                      </a:lnTo>
                      <a:lnTo>
                        <a:pt x="632" y="592"/>
                      </a:lnTo>
                      <a:lnTo>
                        <a:pt x="624" y="592"/>
                      </a:lnTo>
                      <a:lnTo>
                        <a:pt x="616" y="600"/>
                      </a:lnTo>
                      <a:lnTo>
                        <a:pt x="600" y="600"/>
                      </a:lnTo>
                      <a:lnTo>
                        <a:pt x="592" y="608"/>
                      </a:lnTo>
                      <a:lnTo>
                        <a:pt x="584" y="616"/>
                      </a:lnTo>
                      <a:lnTo>
                        <a:pt x="568" y="608"/>
                      </a:lnTo>
                      <a:lnTo>
                        <a:pt x="552" y="624"/>
                      </a:lnTo>
                      <a:lnTo>
                        <a:pt x="552" y="632"/>
                      </a:lnTo>
                      <a:lnTo>
                        <a:pt x="544" y="632"/>
                      </a:lnTo>
                      <a:lnTo>
                        <a:pt x="536" y="640"/>
                      </a:lnTo>
                      <a:lnTo>
                        <a:pt x="520" y="648"/>
                      </a:lnTo>
                      <a:lnTo>
                        <a:pt x="520" y="672"/>
                      </a:lnTo>
                      <a:lnTo>
                        <a:pt x="520" y="688"/>
                      </a:lnTo>
                      <a:lnTo>
                        <a:pt x="520" y="704"/>
                      </a:lnTo>
                      <a:lnTo>
                        <a:pt x="504" y="728"/>
                      </a:lnTo>
                      <a:lnTo>
                        <a:pt x="496" y="728"/>
                      </a:lnTo>
                      <a:lnTo>
                        <a:pt x="488" y="736"/>
                      </a:lnTo>
                      <a:lnTo>
                        <a:pt x="488" y="752"/>
                      </a:lnTo>
                      <a:lnTo>
                        <a:pt x="472" y="784"/>
                      </a:lnTo>
                      <a:lnTo>
                        <a:pt x="456" y="800"/>
                      </a:lnTo>
                      <a:lnTo>
                        <a:pt x="456" y="792"/>
                      </a:lnTo>
                      <a:lnTo>
                        <a:pt x="464" y="776"/>
                      </a:lnTo>
                      <a:lnTo>
                        <a:pt x="464" y="768"/>
                      </a:lnTo>
                      <a:lnTo>
                        <a:pt x="472" y="760"/>
                      </a:lnTo>
                      <a:lnTo>
                        <a:pt x="472" y="752"/>
                      </a:lnTo>
                      <a:lnTo>
                        <a:pt x="456" y="768"/>
                      </a:lnTo>
                      <a:lnTo>
                        <a:pt x="448" y="776"/>
                      </a:lnTo>
                      <a:lnTo>
                        <a:pt x="440" y="792"/>
                      </a:lnTo>
                      <a:lnTo>
                        <a:pt x="448" y="800"/>
                      </a:lnTo>
                      <a:lnTo>
                        <a:pt x="448" y="808"/>
                      </a:lnTo>
                      <a:lnTo>
                        <a:pt x="424" y="832"/>
                      </a:lnTo>
                      <a:lnTo>
                        <a:pt x="424" y="816"/>
                      </a:lnTo>
                      <a:lnTo>
                        <a:pt x="408" y="808"/>
                      </a:lnTo>
                      <a:lnTo>
                        <a:pt x="400" y="800"/>
                      </a:lnTo>
                      <a:lnTo>
                        <a:pt x="392" y="792"/>
                      </a:lnTo>
                      <a:lnTo>
                        <a:pt x="384" y="776"/>
                      </a:lnTo>
                      <a:lnTo>
                        <a:pt x="376" y="776"/>
                      </a:lnTo>
                      <a:lnTo>
                        <a:pt x="352" y="768"/>
                      </a:lnTo>
                      <a:lnTo>
                        <a:pt x="344" y="760"/>
                      </a:lnTo>
                      <a:lnTo>
                        <a:pt x="336" y="752"/>
                      </a:lnTo>
                      <a:lnTo>
                        <a:pt x="352" y="736"/>
                      </a:lnTo>
                      <a:lnTo>
                        <a:pt x="368" y="712"/>
                      </a:lnTo>
                      <a:lnTo>
                        <a:pt x="384" y="704"/>
                      </a:lnTo>
                      <a:lnTo>
                        <a:pt x="408" y="680"/>
                      </a:lnTo>
                      <a:lnTo>
                        <a:pt x="408" y="672"/>
                      </a:lnTo>
                      <a:lnTo>
                        <a:pt x="400" y="656"/>
                      </a:lnTo>
                      <a:lnTo>
                        <a:pt x="392" y="648"/>
                      </a:lnTo>
                      <a:lnTo>
                        <a:pt x="392" y="640"/>
                      </a:lnTo>
                      <a:lnTo>
                        <a:pt x="400" y="632"/>
                      </a:lnTo>
                      <a:lnTo>
                        <a:pt x="400" y="608"/>
                      </a:lnTo>
                      <a:lnTo>
                        <a:pt x="384" y="608"/>
                      </a:lnTo>
                      <a:lnTo>
                        <a:pt x="376" y="608"/>
                      </a:lnTo>
                      <a:lnTo>
                        <a:pt x="376" y="592"/>
                      </a:lnTo>
                      <a:lnTo>
                        <a:pt x="344" y="576"/>
                      </a:lnTo>
                      <a:lnTo>
                        <a:pt x="328" y="568"/>
                      </a:lnTo>
                      <a:lnTo>
                        <a:pt x="328" y="520"/>
                      </a:lnTo>
                      <a:lnTo>
                        <a:pt x="328" y="496"/>
                      </a:lnTo>
                      <a:lnTo>
                        <a:pt x="320" y="480"/>
                      </a:lnTo>
                      <a:lnTo>
                        <a:pt x="320" y="464"/>
                      </a:lnTo>
                      <a:lnTo>
                        <a:pt x="312" y="464"/>
                      </a:lnTo>
                      <a:lnTo>
                        <a:pt x="312" y="448"/>
                      </a:lnTo>
                      <a:lnTo>
                        <a:pt x="264" y="440"/>
                      </a:lnTo>
                      <a:lnTo>
                        <a:pt x="264" y="392"/>
                      </a:lnTo>
                      <a:lnTo>
                        <a:pt x="248" y="384"/>
                      </a:lnTo>
                      <a:lnTo>
                        <a:pt x="200" y="360"/>
                      </a:lnTo>
                      <a:lnTo>
                        <a:pt x="184" y="360"/>
                      </a:lnTo>
                      <a:lnTo>
                        <a:pt x="176" y="352"/>
                      </a:lnTo>
                      <a:lnTo>
                        <a:pt x="176" y="320"/>
                      </a:lnTo>
                      <a:lnTo>
                        <a:pt x="160" y="304"/>
                      </a:lnTo>
                      <a:lnTo>
                        <a:pt x="136" y="312"/>
                      </a:lnTo>
                      <a:lnTo>
                        <a:pt x="128" y="336"/>
                      </a:lnTo>
                      <a:lnTo>
                        <a:pt x="88" y="336"/>
                      </a:lnTo>
                      <a:lnTo>
                        <a:pt x="72" y="336"/>
                      </a:lnTo>
                      <a:lnTo>
                        <a:pt x="64" y="312"/>
                      </a:lnTo>
                      <a:lnTo>
                        <a:pt x="64" y="304"/>
                      </a:lnTo>
                      <a:lnTo>
                        <a:pt x="24" y="304"/>
                      </a:lnTo>
                      <a:lnTo>
                        <a:pt x="8" y="296"/>
                      </a:lnTo>
                      <a:lnTo>
                        <a:pt x="8" y="280"/>
                      </a:lnTo>
                      <a:lnTo>
                        <a:pt x="0" y="256"/>
                      </a:lnTo>
                      <a:lnTo>
                        <a:pt x="8" y="240"/>
                      </a:lnTo>
                      <a:lnTo>
                        <a:pt x="8" y="224"/>
                      </a:lnTo>
                      <a:lnTo>
                        <a:pt x="40" y="208"/>
                      </a:lnTo>
                      <a:lnTo>
                        <a:pt x="64" y="200"/>
                      </a:lnTo>
                      <a:lnTo>
                        <a:pt x="80" y="192"/>
                      </a:lnTo>
                      <a:lnTo>
                        <a:pt x="80" y="184"/>
                      </a:lnTo>
                      <a:lnTo>
                        <a:pt x="88" y="128"/>
                      </a:lnTo>
                      <a:lnTo>
                        <a:pt x="80" y="120"/>
                      </a:lnTo>
                      <a:lnTo>
                        <a:pt x="80" y="104"/>
                      </a:lnTo>
                      <a:lnTo>
                        <a:pt x="88" y="104"/>
                      </a:lnTo>
                      <a:lnTo>
                        <a:pt x="96" y="96"/>
                      </a:lnTo>
                      <a:lnTo>
                        <a:pt x="80" y="80"/>
                      </a:lnTo>
                      <a:lnTo>
                        <a:pt x="80" y="72"/>
                      </a:lnTo>
                      <a:lnTo>
                        <a:pt x="112" y="72"/>
                      </a:lnTo>
                      <a:lnTo>
                        <a:pt x="128" y="80"/>
                      </a:lnTo>
                      <a:lnTo>
                        <a:pt x="136" y="88"/>
                      </a:lnTo>
                      <a:lnTo>
                        <a:pt x="160" y="96"/>
                      </a:lnTo>
                      <a:lnTo>
                        <a:pt x="176" y="88"/>
                      </a:lnTo>
                      <a:lnTo>
                        <a:pt x="216" y="72"/>
                      </a:lnTo>
                      <a:lnTo>
                        <a:pt x="216" y="64"/>
                      </a:lnTo>
                      <a:lnTo>
                        <a:pt x="208" y="56"/>
                      </a:lnTo>
                      <a:lnTo>
                        <a:pt x="192" y="56"/>
                      </a:lnTo>
                      <a:lnTo>
                        <a:pt x="200" y="32"/>
                      </a:lnTo>
                      <a:lnTo>
                        <a:pt x="192" y="32"/>
                      </a:lnTo>
                      <a:lnTo>
                        <a:pt x="192" y="16"/>
                      </a:lnTo>
                      <a:lnTo>
                        <a:pt x="208" y="16"/>
                      </a:lnTo>
                      <a:lnTo>
                        <a:pt x="232" y="32"/>
                      </a:lnTo>
                      <a:lnTo>
                        <a:pt x="264" y="24"/>
                      </a:lnTo>
                      <a:lnTo>
                        <a:pt x="264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84" name="Freeform 21">
                  <a:extLst>
                    <a:ext uri="{FF2B5EF4-FFF2-40B4-BE49-F238E27FC236}">
                      <a16:creationId xmlns:a16="http://schemas.microsoft.com/office/drawing/2014/main" id="{80379A2B-5BE6-D38A-7967-0A4106AA88BD}"/>
                    </a:ext>
                  </a:extLst>
                </p:cNvPr>
                <p:cNvSpPr/>
                <p:nvPr/>
              </p:nvSpPr>
              <p:spPr bwMode="gray">
                <a:xfrm>
                  <a:off x="3610365" y="5131588"/>
                  <a:ext cx="596713" cy="1006465"/>
                </a:xfrm>
                <a:custGeom>
                  <a:avLst/>
                  <a:gdLst>
                    <a:gd name="T0" fmla="*/ 36 w 408"/>
                    <a:gd name="T1" fmla="*/ 262 h 760"/>
                    <a:gd name="T2" fmla="*/ 34 w 408"/>
                    <a:gd name="T3" fmla="*/ 251 h 760"/>
                    <a:gd name="T4" fmla="*/ 36 w 408"/>
                    <a:gd name="T5" fmla="*/ 243 h 760"/>
                    <a:gd name="T6" fmla="*/ 42 w 408"/>
                    <a:gd name="T7" fmla="*/ 237 h 760"/>
                    <a:gd name="T8" fmla="*/ 48 w 408"/>
                    <a:gd name="T9" fmla="*/ 229 h 760"/>
                    <a:gd name="T10" fmla="*/ 56 w 408"/>
                    <a:gd name="T11" fmla="*/ 223 h 760"/>
                    <a:gd name="T12" fmla="*/ 48 w 408"/>
                    <a:gd name="T13" fmla="*/ 215 h 760"/>
                    <a:gd name="T14" fmla="*/ 44 w 408"/>
                    <a:gd name="T15" fmla="*/ 201 h 760"/>
                    <a:gd name="T16" fmla="*/ 56 w 408"/>
                    <a:gd name="T17" fmla="*/ 199 h 760"/>
                    <a:gd name="T18" fmla="*/ 61 w 408"/>
                    <a:gd name="T19" fmla="*/ 190 h 760"/>
                    <a:gd name="T20" fmla="*/ 64 w 408"/>
                    <a:gd name="T21" fmla="*/ 178 h 760"/>
                    <a:gd name="T22" fmla="*/ 70 w 408"/>
                    <a:gd name="T23" fmla="*/ 176 h 760"/>
                    <a:gd name="T24" fmla="*/ 64 w 408"/>
                    <a:gd name="T25" fmla="*/ 173 h 760"/>
                    <a:gd name="T26" fmla="*/ 64 w 408"/>
                    <a:gd name="T27" fmla="*/ 156 h 760"/>
                    <a:gd name="T28" fmla="*/ 81 w 408"/>
                    <a:gd name="T29" fmla="*/ 159 h 760"/>
                    <a:gd name="T30" fmla="*/ 86 w 408"/>
                    <a:gd name="T31" fmla="*/ 140 h 760"/>
                    <a:gd name="T32" fmla="*/ 106 w 408"/>
                    <a:gd name="T33" fmla="*/ 137 h 760"/>
                    <a:gd name="T34" fmla="*/ 120 w 408"/>
                    <a:gd name="T35" fmla="*/ 125 h 760"/>
                    <a:gd name="T36" fmla="*/ 117 w 408"/>
                    <a:gd name="T37" fmla="*/ 115 h 760"/>
                    <a:gd name="T38" fmla="*/ 114 w 408"/>
                    <a:gd name="T39" fmla="*/ 103 h 760"/>
                    <a:gd name="T40" fmla="*/ 108 w 408"/>
                    <a:gd name="T41" fmla="*/ 92 h 760"/>
                    <a:gd name="T42" fmla="*/ 114 w 408"/>
                    <a:gd name="T43" fmla="*/ 70 h 760"/>
                    <a:gd name="T44" fmla="*/ 128 w 408"/>
                    <a:gd name="T45" fmla="*/ 50 h 760"/>
                    <a:gd name="T46" fmla="*/ 142 w 408"/>
                    <a:gd name="T47" fmla="*/ 36 h 760"/>
                    <a:gd name="T48" fmla="*/ 134 w 408"/>
                    <a:gd name="T49" fmla="*/ 36 h 760"/>
                    <a:gd name="T50" fmla="*/ 111 w 408"/>
                    <a:gd name="T51" fmla="*/ 42 h 760"/>
                    <a:gd name="T52" fmla="*/ 117 w 408"/>
                    <a:gd name="T53" fmla="*/ 25 h 760"/>
                    <a:gd name="T54" fmla="*/ 98 w 408"/>
                    <a:gd name="T55" fmla="*/ 14 h 760"/>
                    <a:gd name="T56" fmla="*/ 84 w 408"/>
                    <a:gd name="T57" fmla="*/ 6 h 760"/>
                    <a:gd name="T58" fmla="*/ 70 w 408"/>
                    <a:gd name="T59" fmla="*/ 3 h 760"/>
                    <a:gd name="T60" fmla="*/ 67 w 408"/>
                    <a:gd name="T61" fmla="*/ 8 h 760"/>
                    <a:gd name="T62" fmla="*/ 53 w 408"/>
                    <a:gd name="T63" fmla="*/ 0 h 760"/>
                    <a:gd name="T64" fmla="*/ 44 w 408"/>
                    <a:gd name="T65" fmla="*/ 11 h 760"/>
                    <a:gd name="T66" fmla="*/ 36 w 408"/>
                    <a:gd name="T67" fmla="*/ 23 h 760"/>
                    <a:gd name="T68" fmla="*/ 31 w 408"/>
                    <a:gd name="T69" fmla="*/ 44 h 760"/>
                    <a:gd name="T70" fmla="*/ 23 w 408"/>
                    <a:gd name="T71" fmla="*/ 75 h 760"/>
                    <a:gd name="T72" fmla="*/ 23 w 408"/>
                    <a:gd name="T73" fmla="*/ 106 h 760"/>
                    <a:gd name="T74" fmla="*/ 19 w 408"/>
                    <a:gd name="T75" fmla="*/ 137 h 760"/>
                    <a:gd name="T76" fmla="*/ 14 w 408"/>
                    <a:gd name="T77" fmla="*/ 173 h 760"/>
                    <a:gd name="T78" fmla="*/ 14 w 408"/>
                    <a:gd name="T79" fmla="*/ 193 h 760"/>
                    <a:gd name="T80" fmla="*/ 14 w 408"/>
                    <a:gd name="T81" fmla="*/ 201 h 760"/>
                    <a:gd name="T82" fmla="*/ 11 w 408"/>
                    <a:gd name="T83" fmla="*/ 220 h 760"/>
                    <a:gd name="T84" fmla="*/ 0 w 408"/>
                    <a:gd name="T85" fmla="*/ 237 h 760"/>
                    <a:gd name="T86" fmla="*/ 6 w 408"/>
                    <a:gd name="T87" fmla="*/ 248 h 760"/>
                    <a:gd name="T88" fmla="*/ 14 w 408"/>
                    <a:gd name="T89" fmla="*/ 262 h 76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408"/>
                    <a:gd name="T136" fmla="*/ 0 h 760"/>
                    <a:gd name="T137" fmla="*/ 408 w 408"/>
                    <a:gd name="T138" fmla="*/ 760 h 76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408" h="760">
                      <a:moveTo>
                        <a:pt x="88" y="760"/>
                      </a:moveTo>
                      <a:lnTo>
                        <a:pt x="104" y="760"/>
                      </a:lnTo>
                      <a:lnTo>
                        <a:pt x="104" y="752"/>
                      </a:lnTo>
                      <a:lnTo>
                        <a:pt x="96" y="744"/>
                      </a:lnTo>
                      <a:lnTo>
                        <a:pt x="88" y="736"/>
                      </a:lnTo>
                      <a:lnTo>
                        <a:pt x="96" y="720"/>
                      </a:lnTo>
                      <a:lnTo>
                        <a:pt x="96" y="712"/>
                      </a:lnTo>
                      <a:lnTo>
                        <a:pt x="104" y="704"/>
                      </a:lnTo>
                      <a:lnTo>
                        <a:pt x="104" y="696"/>
                      </a:lnTo>
                      <a:lnTo>
                        <a:pt x="112" y="696"/>
                      </a:lnTo>
                      <a:lnTo>
                        <a:pt x="120" y="688"/>
                      </a:lnTo>
                      <a:lnTo>
                        <a:pt x="120" y="680"/>
                      </a:lnTo>
                      <a:lnTo>
                        <a:pt x="120" y="672"/>
                      </a:lnTo>
                      <a:lnTo>
                        <a:pt x="128" y="664"/>
                      </a:lnTo>
                      <a:lnTo>
                        <a:pt x="136" y="656"/>
                      </a:lnTo>
                      <a:lnTo>
                        <a:pt x="144" y="656"/>
                      </a:lnTo>
                      <a:lnTo>
                        <a:pt x="152" y="648"/>
                      </a:lnTo>
                      <a:lnTo>
                        <a:pt x="160" y="640"/>
                      </a:lnTo>
                      <a:lnTo>
                        <a:pt x="160" y="616"/>
                      </a:lnTo>
                      <a:lnTo>
                        <a:pt x="144" y="616"/>
                      </a:lnTo>
                      <a:lnTo>
                        <a:pt x="136" y="616"/>
                      </a:lnTo>
                      <a:lnTo>
                        <a:pt x="120" y="592"/>
                      </a:lnTo>
                      <a:lnTo>
                        <a:pt x="128" y="584"/>
                      </a:lnTo>
                      <a:lnTo>
                        <a:pt x="128" y="576"/>
                      </a:lnTo>
                      <a:lnTo>
                        <a:pt x="136" y="576"/>
                      </a:lnTo>
                      <a:lnTo>
                        <a:pt x="144" y="568"/>
                      </a:lnTo>
                      <a:lnTo>
                        <a:pt x="160" y="568"/>
                      </a:lnTo>
                      <a:lnTo>
                        <a:pt x="168" y="568"/>
                      </a:lnTo>
                      <a:lnTo>
                        <a:pt x="168" y="552"/>
                      </a:lnTo>
                      <a:lnTo>
                        <a:pt x="176" y="544"/>
                      </a:lnTo>
                      <a:lnTo>
                        <a:pt x="168" y="528"/>
                      </a:lnTo>
                      <a:lnTo>
                        <a:pt x="192" y="512"/>
                      </a:lnTo>
                      <a:lnTo>
                        <a:pt x="184" y="512"/>
                      </a:lnTo>
                      <a:lnTo>
                        <a:pt x="184" y="504"/>
                      </a:lnTo>
                      <a:lnTo>
                        <a:pt x="192" y="504"/>
                      </a:lnTo>
                      <a:lnTo>
                        <a:pt x="200" y="504"/>
                      </a:lnTo>
                      <a:lnTo>
                        <a:pt x="200" y="488"/>
                      </a:lnTo>
                      <a:lnTo>
                        <a:pt x="192" y="488"/>
                      </a:lnTo>
                      <a:lnTo>
                        <a:pt x="184" y="496"/>
                      </a:lnTo>
                      <a:lnTo>
                        <a:pt x="176" y="488"/>
                      </a:lnTo>
                      <a:lnTo>
                        <a:pt x="176" y="456"/>
                      </a:lnTo>
                      <a:lnTo>
                        <a:pt x="184" y="448"/>
                      </a:lnTo>
                      <a:lnTo>
                        <a:pt x="208" y="464"/>
                      </a:lnTo>
                      <a:lnTo>
                        <a:pt x="224" y="456"/>
                      </a:lnTo>
                      <a:lnTo>
                        <a:pt x="232" y="456"/>
                      </a:lnTo>
                      <a:lnTo>
                        <a:pt x="232" y="424"/>
                      </a:lnTo>
                      <a:lnTo>
                        <a:pt x="240" y="416"/>
                      </a:lnTo>
                      <a:lnTo>
                        <a:pt x="248" y="400"/>
                      </a:lnTo>
                      <a:lnTo>
                        <a:pt x="272" y="400"/>
                      </a:lnTo>
                      <a:lnTo>
                        <a:pt x="288" y="392"/>
                      </a:lnTo>
                      <a:lnTo>
                        <a:pt x="304" y="392"/>
                      </a:lnTo>
                      <a:lnTo>
                        <a:pt x="320" y="384"/>
                      </a:lnTo>
                      <a:lnTo>
                        <a:pt x="328" y="384"/>
                      </a:lnTo>
                      <a:lnTo>
                        <a:pt x="344" y="360"/>
                      </a:lnTo>
                      <a:lnTo>
                        <a:pt x="352" y="344"/>
                      </a:lnTo>
                      <a:lnTo>
                        <a:pt x="336" y="336"/>
                      </a:lnTo>
                      <a:lnTo>
                        <a:pt x="336" y="328"/>
                      </a:lnTo>
                      <a:lnTo>
                        <a:pt x="344" y="312"/>
                      </a:lnTo>
                      <a:lnTo>
                        <a:pt x="336" y="296"/>
                      </a:lnTo>
                      <a:lnTo>
                        <a:pt x="328" y="296"/>
                      </a:lnTo>
                      <a:lnTo>
                        <a:pt x="320" y="288"/>
                      </a:lnTo>
                      <a:lnTo>
                        <a:pt x="312" y="280"/>
                      </a:lnTo>
                      <a:lnTo>
                        <a:pt x="312" y="264"/>
                      </a:lnTo>
                      <a:lnTo>
                        <a:pt x="320" y="256"/>
                      </a:lnTo>
                      <a:lnTo>
                        <a:pt x="328" y="208"/>
                      </a:lnTo>
                      <a:lnTo>
                        <a:pt x="328" y="200"/>
                      </a:lnTo>
                      <a:lnTo>
                        <a:pt x="336" y="184"/>
                      </a:lnTo>
                      <a:lnTo>
                        <a:pt x="352" y="168"/>
                      </a:lnTo>
                      <a:lnTo>
                        <a:pt x="368" y="144"/>
                      </a:lnTo>
                      <a:lnTo>
                        <a:pt x="384" y="136"/>
                      </a:lnTo>
                      <a:lnTo>
                        <a:pt x="408" y="112"/>
                      </a:lnTo>
                      <a:lnTo>
                        <a:pt x="408" y="104"/>
                      </a:lnTo>
                      <a:lnTo>
                        <a:pt x="400" y="88"/>
                      </a:lnTo>
                      <a:lnTo>
                        <a:pt x="392" y="80"/>
                      </a:lnTo>
                      <a:lnTo>
                        <a:pt x="384" y="104"/>
                      </a:lnTo>
                      <a:lnTo>
                        <a:pt x="376" y="112"/>
                      </a:lnTo>
                      <a:lnTo>
                        <a:pt x="344" y="120"/>
                      </a:lnTo>
                      <a:lnTo>
                        <a:pt x="320" y="120"/>
                      </a:lnTo>
                      <a:lnTo>
                        <a:pt x="312" y="112"/>
                      </a:lnTo>
                      <a:lnTo>
                        <a:pt x="336" y="80"/>
                      </a:lnTo>
                      <a:lnTo>
                        <a:pt x="336" y="72"/>
                      </a:lnTo>
                      <a:lnTo>
                        <a:pt x="320" y="64"/>
                      </a:lnTo>
                      <a:lnTo>
                        <a:pt x="296" y="56"/>
                      </a:lnTo>
                      <a:lnTo>
                        <a:pt x="280" y="40"/>
                      </a:lnTo>
                      <a:lnTo>
                        <a:pt x="264" y="40"/>
                      </a:lnTo>
                      <a:lnTo>
                        <a:pt x="248" y="24"/>
                      </a:lnTo>
                      <a:lnTo>
                        <a:pt x="240" y="16"/>
                      </a:lnTo>
                      <a:lnTo>
                        <a:pt x="224" y="8"/>
                      </a:lnTo>
                      <a:lnTo>
                        <a:pt x="216" y="8"/>
                      </a:lnTo>
                      <a:lnTo>
                        <a:pt x="200" y="8"/>
                      </a:lnTo>
                      <a:lnTo>
                        <a:pt x="192" y="8"/>
                      </a:lnTo>
                      <a:lnTo>
                        <a:pt x="192" y="16"/>
                      </a:lnTo>
                      <a:lnTo>
                        <a:pt x="192" y="24"/>
                      </a:lnTo>
                      <a:lnTo>
                        <a:pt x="184" y="24"/>
                      </a:lnTo>
                      <a:lnTo>
                        <a:pt x="176" y="8"/>
                      </a:lnTo>
                      <a:lnTo>
                        <a:pt x="152" y="0"/>
                      </a:lnTo>
                      <a:lnTo>
                        <a:pt x="144" y="0"/>
                      </a:lnTo>
                      <a:lnTo>
                        <a:pt x="128" y="16"/>
                      </a:lnTo>
                      <a:lnTo>
                        <a:pt x="128" y="32"/>
                      </a:lnTo>
                      <a:lnTo>
                        <a:pt x="128" y="48"/>
                      </a:lnTo>
                      <a:lnTo>
                        <a:pt x="112" y="56"/>
                      </a:lnTo>
                      <a:lnTo>
                        <a:pt x="104" y="64"/>
                      </a:lnTo>
                      <a:lnTo>
                        <a:pt x="112" y="104"/>
                      </a:lnTo>
                      <a:lnTo>
                        <a:pt x="112" y="112"/>
                      </a:lnTo>
                      <a:lnTo>
                        <a:pt x="88" y="128"/>
                      </a:lnTo>
                      <a:lnTo>
                        <a:pt x="80" y="168"/>
                      </a:lnTo>
                      <a:lnTo>
                        <a:pt x="72" y="176"/>
                      </a:lnTo>
                      <a:lnTo>
                        <a:pt x="64" y="216"/>
                      </a:lnTo>
                      <a:lnTo>
                        <a:pt x="80" y="256"/>
                      </a:lnTo>
                      <a:lnTo>
                        <a:pt x="72" y="288"/>
                      </a:lnTo>
                      <a:lnTo>
                        <a:pt x="64" y="304"/>
                      </a:lnTo>
                      <a:lnTo>
                        <a:pt x="64" y="328"/>
                      </a:lnTo>
                      <a:lnTo>
                        <a:pt x="48" y="352"/>
                      </a:lnTo>
                      <a:lnTo>
                        <a:pt x="56" y="392"/>
                      </a:lnTo>
                      <a:lnTo>
                        <a:pt x="48" y="408"/>
                      </a:lnTo>
                      <a:lnTo>
                        <a:pt x="32" y="448"/>
                      </a:lnTo>
                      <a:lnTo>
                        <a:pt x="40" y="496"/>
                      </a:lnTo>
                      <a:lnTo>
                        <a:pt x="32" y="504"/>
                      </a:lnTo>
                      <a:lnTo>
                        <a:pt x="32" y="528"/>
                      </a:lnTo>
                      <a:lnTo>
                        <a:pt x="40" y="552"/>
                      </a:lnTo>
                      <a:lnTo>
                        <a:pt x="32" y="560"/>
                      </a:lnTo>
                      <a:lnTo>
                        <a:pt x="32" y="576"/>
                      </a:lnTo>
                      <a:lnTo>
                        <a:pt x="40" y="576"/>
                      </a:lnTo>
                      <a:lnTo>
                        <a:pt x="40" y="616"/>
                      </a:lnTo>
                      <a:lnTo>
                        <a:pt x="32" y="624"/>
                      </a:lnTo>
                      <a:lnTo>
                        <a:pt x="32" y="632"/>
                      </a:lnTo>
                      <a:lnTo>
                        <a:pt x="24" y="632"/>
                      </a:lnTo>
                      <a:lnTo>
                        <a:pt x="24" y="656"/>
                      </a:lnTo>
                      <a:lnTo>
                        <a:pt x="0" y="680"/>
                      </a:lnTo>
                      <a:lnTo>
                        <a:pt x="0" y="696"/>
                      </a:lnTo>
                      <a:lnTo>
                        <a:pt x="8" y="712"/>
                      </a:lnTo>
                      <a:lnTo>
                        <a:pt x="16" y="712"/>
                      </a:lnTo>
                      <a:lnTo>
                        <a:pt x="24" y="720"/>
                      </a:lnTo>
                      <a:lnTo>
                        <a:pt x="24" y="744"/>
                      </a:lnTo>
                      <a:lnTo>
                        <a:pt x="40" y="752"/>
                      </a:lnTo>
                      <a:lnTo>
                        <a:pt x="80" y="752"/>
                      </a:lnTo>
                      <a:lnTo>
                        <a:pt x="88" y="76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85" name="Freeform 22">
                  <a:extLst>
                    <a:ext uri="{FF2B5EF4-FFF2-40B4-BE49-F238E27FC236}">
                      <a16:creationId xmlns:a16="http://schemas.microsoft.com/office/drawing/2014/main" id="{FAA08DE0-9401-CDE2-13AA-A6175BF4714A}"/>
                    </a:ext>
                  </a:extLst>
                </p:cNvPr>
                <p:cNvSpPr/>
                <p:nvPr/>
              </p:nvSpPr>
              <p:spPr bwMode="gray">
                <a:xfrm>
                  <a:off x="4065697" y="5376150"/>
                  <a:ext cx="164252" cy="158024"/>
                </a:xfrm>
                <a:custGeom>
                  <a:avLst/>
                  <a:gdLst>
                    <a:gd name="T0" fmla="*/ 40 w 112"/>
                    <a:gd name="T1" fmla="*/ 27 h 120"/>
                    <a:gd name="T2" fmla="*/ 36 w 112"/>
                    <a:gd name="T3" fmla="*/ 33 h 120"/>
                    <a:gd name="T4" fmla="*/ 36 w 112"/>
                    <a:gd name="T5" fmla="*/ 36 h 120"/>
                    <a:gd name="T6" fmla="*/ 31 w 112"/>
                    <a:gd name="T7" fmla="*/ 41 h 120"/>
                    <a:gd name="T8" fmla="*/ 25 w 112"/>
                    <a:gd name="T9" fmla="*/ 41 h 120"/>
                    <a:gd name="T10" fmla="*/ 20 w 112"/>
                    <a:gd name="T11" fmla="*/ 39 h 120"/>
                    <a:gd name="T12" fmla="*/ 14 w 112"/>
                    <a:gd name="T13" fmla="*/ 36 h 120"/>
                    <a:gd name="T14" fmla="*/ 8 w 112"/>
                    <a:gd name="T15" fmla="*/ 36 h 120"/>
                    <a:gd name="T16" fmla="*/ 6 w 112"/>
                    <a:gd name="T17" fmla="*/ 33 h 120"/>
                    <a:gd name="T18" fmla="*/ 0 w 112"/>
                    <a:gd name="T19" fmla="*/ 33 h 120"/>
                    <a:gd name="T20" fmla="*/ 0 w 112"/>
                    <a:gd name="T21" fmla="*/ 27 h 120"/>
                    <a:gd name="T22" fmla="*/ 3 w 112"/>
                    <a:gd name="T23" fmla="*/ 25 h 120"/>
                    <a:gd name="T24" fmla="*/ 6 w 112"/>
                    <a:gd name="T25" fmla="*/ 8 h 120"/>
                    <a:gd name="T26" fmla="*/ 6 w 112"/>
                    <a:gd name="T27" fmla="*/ 6 h 120"/>
                    <a:gd name="T28" fmla="*/ 8 w 112"/>
                    <a:gd name="T29" fmla="*/ 0 h 120"/>
                    <a:gd name="T30" fmla="*/ 11 w 112"/>
                    <a:gd name="T31" fmla="*/ 3 h 120"/>
                    <a:gd name="T32" fmla="*/ 14 w 112"/>
                    <a:gd name="T33" fmla="*/ 6 h 120"/>
                    <a:gd name="T34" fmla="*/ 23 w 112"/>
                    <a:gd name="T35" fmla="*/ 8 h 120"/>
                    <a:gd name="T36" fmla="*/ 25 w 112"/>
                    <a:gd name="T37" fmla="*/ 8 h 120"/>
                    <a:gd name="T38" fmla="*/ 28 w 112"/>
                    <a:gd name="T39" fmla="*/ 14 h 120"/>
                    <a:gd name="T40" fmla="*/ 31 w 112"/>
                    <a:gd name="T41" fmla="*/ 17 h 120"/>
                    <a:gd name="T42" fmla="*/ 34 w 112"/>
                    <a:gd name="T43" fmla="*/ 19 h 120"/>
                    <a:gd name="T44" fmla="*/ 40 w 112"/>
                    <a:gd name="T45" fmla="*/ 22 h 120"/>
                    <a:gd name="T46" fmla="*/ 40 w 112"/>
                    <a:gd name="T47" fmla="*/ 27 h 12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12"/>
                    <a:gd name="T73" fmla="*/ 0 h 120"/>
                    <a:gd name="T74" fmla="*/ 112 w 112"/>
                    <a:gd name="T75" fmla="*/ 120 h 12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12" h="120">
                      <a:moveTo>
                        <a:pt x="112" y="80"/>
                      </a:moveTo>
                      <a:lnTo>
                        <a:pt x="104" y="96"/>
                      </a:lnTo>
                      <a:lnTo>
                        <a:pt x="104" y="104"/>
                      </a:lnTo>
                      <a:lnTo>
                        <a:pt x="88" y="120"/>
                      </a:lnTo>
                      <a:lnTo>
                        <a:pt x="72" y="120"/>
                      </a:lnTo>
                      <a:lnTo>
                        <a:pt x="56" y="112"/>
                      </a:lnTo>
                      <a:lnTo>
                        <a:pt x="40" y="104"/>
                      </a:lnTo>
                      <a:lnTo>
                        <a:pt x="24" y="104"/>
                      </a:lnTo>
                      <a:lnTo>
                        <a:pt x="16" y="96"/>
                      </a:lnTo>
                      <a:lnTo>
                        <a:pt x="0" y="96"/>
                      </a:lnTo>
                      <a:lnTo>
                        <a:pt x="0" y="80"/>
                      </a:lnTo>
                      <a:lnTo>
                        <a:pt x="8" y="72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24" y="0"/>
                      </a:lnTo>
                      <a:lnTo>
                        <a:pt x="32" y="8"/>
                      </a:lnTo>
                      <a:lnTo>
                        <a:pt x="40" y="16"/>
                      </a:lnTo>
                      <a:lnTo>
                        <a:pt x="64" y="24"/>
                      </a:lnTo>
                      <a:lnTo>
                        <a:pt x="72" y="24"/>
                      </a:lnTo>
                      <a:lnTo>
                        <a:pt x="80" y="40"/>
                      </a:lnTo>
                      <a:lnTo>
                        <a:pt x="88" y="48"/>
                      </a:lnTo>
                      <a:lnTo>
                        <a:pt x="96" y="56"/>
                      </a:lnTo>
                      <a:lnTo>
                        <a:pt x="112" y="64"/>
                      </a:lnTo>
                      <a:lnTo>
                        <a:pt x="112" y="8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86" name="Freeform 23">
                  <a:extLst>
                    <a:ext uri="{FF2B5EF4-FFF2-40B4-BE49-F238E27FC236}">
                      <a16:creationId xmlns:a16="http://schemas.microsoft.com/office/drawing/2014/main" id="{2F351437-0E5D-763B-8781-90A9839ECC23}"/>
                    </a:ext>
                  </a:extLst>
                </p:cNvPr>
                <p:cNvSpPr/>
                <p:nvPr/>
              </p:nvSpPr>
              <p:spPr bwMode="gray">
                <a:xfrm>
                  <a:off x="3703927" y="6147460"/>
                  <a:ext cx="45741" cy="75250"/>
                </a:xfrm>
                <a:custGeom>
                  <a:avLst/>
                  <a:gdLst>
                    <a:gd name="T0" fmla="*/ 10 w 32"/>
                    <a:gd name="T1" fmla="*/ 0 h 56"/>
                    <a:gd name="T2" fmla="*/ 8 w 32"/>
                    <a:gd name="T3" fmla="*/ 0 h 56"/>
                    <a:gd name="T4" fmla="*/ 6 w 32"/>
                    <a:gd name="T5" fmla="*/ 3 h 56"/>
                    <a:gd name="T6" fmla="*/ 0 w 32"/>
                    <a:gd name="T7" fmla="*/ 6 h 56"/>
                    <a:gd name="T8" fmla="*/ 0 w 32"/>
                    <a:gd name="T9" fmla="*/ 9 h 56"/>
                    <a:gd name="T10" fmla="*/ 3 w 32"/>
                    <a:gd name="T11" fmla="*/ 9 h 56"/>
                    <a:gd name="T12" fmla="*/ 6 w 32"/>
                    <a:gd name="T13" fmla="*/ 9 h 56"/>
                    <a:gd name="T14" fmla="*/ 8 w 32"/>
                    <a:gd name="T15" fmla="*/ 9 h 56"/>
                    <a:gd name="T16" fmla="*/ 6 w 32"/>
                    <a:gd name="T17" fmla="*/ 11 h 56"/>
                    <a:gd name="T18" fmla="*/ 3 w 32"/>
                    <a:gd name="T19" fmla="*/ 15 h 56"/>
                    <a:gd name="T20" fmla="*/ 6 w 32"/>
                    <a:gd name="T21" fmla="*/ 17 h 56"/>
                    <a:gd name="T22" fmla="*/ 8 w 32"/>
                    <a:gd name="T23" fmla="*/ 17 h 56"/>
                    <a:gd name="T24" fmla="*/ 10 w 32"/>
                    <a:gd name="T25" fmla="*/ 21 h 56"/>
                    <a:gd name="T26" fmla="*/ 10 w 32"/>
                    <a:gd name="T27" fmla="*/ 0 h 5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2"/>
                    <a:gd name="T43" fmla="*/ 0 h 56"/>
                    <a:gd name="T44" fmla="*/ 32 w 32"/>
                    <a:gd name="T45" fmla="*/ 56 h 5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2" h="56">
                      <a:moveTo>
                        <a:pt x="32" y="0"/>
                      </a:moveTo>
                      <a:lnTo>
                        <a:pt x="24" y="0"/>
                      </a:lnTo>
                      <a:lnTo>
                        <a:pt x="16" y="8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16" y="32"/>
                      </a:lnTo>
                      <a:lnTo>
                        <a:pt x="8" y="40"/>
                      </a:lnTo>
                      <a:lnTo>
                        <a:pt x="16" y="48"/>
                      </a:lnTo>
                      <a:lnTo>
                        <a:pt x="24" y="48"/>
                      </a:lnTo>
                      <a:lnTo>
                        <a:pt x="32" y="56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87" name="Freeform 24">
                  <a:extLst>
                    <a:ext uri="{FF2B5EF4-FFF2-40B4-BE49-F238E27FC236}">
                      <a16:creationId xmlns:a16="http://schemas.microsoft.com/office/drawing/2014/main" id="{9F12C8C5-F0D2-DEE6-83A3-3B87A3DFB95F}"/>
                    </a:ext>
                  </a:extLst>
                </p:cNvPr>
                <p:cNvSpPr/>
                <p:nvPr/>
              </p:nvSpPr>
              <p:spPr bwMode="gray">
                <a:xfrm>
                  <a:off x="3668581" y="6222709"/>
                  <a:ext cx="93561" cy="9406"/>
                </a:xfrm>
                <a:custGeom>
                  <a:avLst/>
                  <a:gdLst>
                    <a:gd name="T0" fmla="*/ 23 w 64"/>
                    <a:gd name="T1" fmla="*/ 0 h 8"/>
                    <a:gd name="T2" fmla="*/ 11 w 64"/>
                    <a:gd name="T3" fmla="*/ 0 h 8"/>
                    <a:gd name="T4" fmla="*/ 8 w 64"/>
                    <a:gd name="T5" fmla="*/ 0 h 8"/>
                    <a:gd name="T6" fmla="*/ 0 w 64"/>
                    <a:gd name="T7" fmla="*/ 0 h 8"/>
                    <a:gd name="T8" fmla="*/ 0 w 64"/>
                    <a:gd name="T9" fmla="*/ 2 h 8"/>
                    <a:gd name="T10" fmla="*/ 3 w 64"/>
                    <a:gd name="T11" fmla="*/ 2 h 8"/>
                    <a:gd name="T12" fmla="*/ 8 w 64"/>
                    <a:gd name="T13" fmla="*/ 2 h 8"/>
                    <a:gd name="T14" fmla="*/ 19 w 64"/>
                    <a:gd name="T15" fmla="*/ 2 h 8"/>
                    <a:gd name="T16" fmla="*/ 23 w 64"/>
                    <a:gd name="T17" fmla="*/ 0 h 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4"/>
                    <a:gd name="T28" fmla="*/ 0 h 8"/>
                    <a:gd name="T29" fmla="*/ 64 w 64"/>
                    <a:gd name="T30" fmla="*/ 8 h 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4" h="8">
                      <a:moveTo>
                        <a:pt x="64" y="0"/>
                      </a:move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24" y="8"/>
                      </a:lnTo>
                      <a:lnTo>
                        <a:pt x="56" y="8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88" name="Freeform 25">
                  <a:extLst>
                    <a:ext uri="{FF2B5EF4-FFF2-40B4-BE49-F238E27FC236}">
                      <a16:creationId xmlns:a16="http://schemas.microsoft.com/office/drawing/2014/main" id="{750C0E06-36FF-CECA-3ADE-69680E0C6070}"/>
                    </a:ext>
                  </a:extLst>
                </p:cNvPr>
                <p:cNvSpPr/>
                <p:nvPr/>
              </p:nvSpPr>
              <p:spPr bwMode="gray">
                <a:xfrm>
                  <a:off x="3749668" y="6147460"/>
                  <a:ext cx="118511" cy="95943"/>
                </a:xfrm>
                <a:custGeom>
                  <a:avLst/>
                  <a:gdLst>
                    <a:gd name="T0" fmla="*/ 0 w 80"/>
                    <a:gd name="T1" fmla="*/ 23 h 72"/>
                    <a:gd name="T2" fmla="*/ 6 w 80"/>
                    <a:gd name="T3" fmla="*/ 23 h 72"/>
                    <a:gd name="T4" fmla="*/ 11 w 80"/>
                    <a:gd name="T5" fmla="*/ 26 h 72"/>
                    <a:gd name="T6" fmla="*/ 17 w 80"/>
                    <a:gd name="T7" fmla="*/ 26 h 72"/>
                    <a:gd name="T8" fmla="*/ 21 w 80"/>
                    <a:gd name="T9" fmla="*/ 26 h 72"/>
                    <a:gd name="T10" fmla="*/ 26 w 80"/>
                    <a:gd name="T11" fmla="*/ 26 h 72"/>
                    <a:gd name="T12" fmla="*/ 29 w 80"/>
                    <a:gd name="T13" fmla="*/ 23 h 72"/>
                    <a:gd name="T14" fmla="*/ 21 w 80"/>
                    <a:gd name="T15" fmla="*/ 20 h 72"/>
                    <a:gd name="T16" fmla="*/ 17 w 80"/>
                    <a:gd name="T17" fmla="*/ 20 h 72"/>
                    <a:gd name="T18" fmla="*/ 9 w 80"/>
                    <a:gd name="T19" fmla="*/ 14 h 72"/>
                    <a:gd name="T20" fmla="*/ 9 w 80"/>
                    <a:gd name="T21" fmla="*/ 11 h 72"/>
                    <a:gd name="T22" fmla="*/ 6 w 80"/>
                    <a:gd name="T23" fmla="*/ 3 h 72"/>
                    <a:gd name="T24" fmla="*/ 0 w 80"/>
                    <a:gd name="T25" fmla="*/ 0 h 72"/>
                    <a:gd name="T26" fmla="*/ 0 w 80"/>
                    <a:gd name="T27" fmla="*/ 20 h 72"/>
                    <a:gd name="T28" fmla="*/ 6 w 80"/>
                    <a:gd name="T29" fmla="*/ 20 h 72"/>
                    <a:gd name="T30" fmla="*/ 3 w 80"/>
                    <a:gd name="T31" fmla="*/ 20 h 72"/>
                    <a:gd name="T32" fmla="*/ 0 w 80"/>
                    <a:gd name="T33" fmla="*/ 23 h 7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80"/>
                    <a:gd name="T52" fmla="*/ 0 h 72"/>
                    <a:gd name="T53" fmla="*/ 80 w 80"/>
                    <a:gd name="T54" fmla="*/ 72 h 7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80" h="72">
                      <a:moveTo>
                        <a:pt x="0" y="64"/>
                      </a:moveTo>
                      <a:lnTo>
                        <a:pt x="16" y="64"/>
                      </a:lnTo>
                      <a:lnTo>
                        <a:pt x="32" y="72"/>
                      </a:lnTo>
                      <a:lnTo>
                        <a:pt x="48" y="72"/>
                      </a:lnTo>
                      <a:lnTo>
                        <a:pt x="56" y="72"/>
                      </a:lnTo>
                      <a:lnTo>
                        <a:pt x="72" y="72"/>
                      </a:lnTo>
                      <a:lnTo>
                        <a:pt x="80" y="64"/>
                      </a:lnTo>
                      <a:lnTo>
                        <a:pt x="56" y="56"/>
                      </a:lnTo>
                      <a:lnTo>
                        <a:pt x="48" y="56"/>
                      </a:lnTo>
                      <a:lnTo>
                        <a:pt x="24" y="40"/>
                      </a:lnTo>
                      <a:lnTo>
                        <a:pt x="24" y="32"/>
                      </a:lnTo>
                      <a:lnTo>
                        <a:pt x="16" y="8"/>
                      </a:lnTo>
                      <a:lnTo>
                        <a:pt x="0" y="0"/>
                      </a:lnTo>
                      <a:lnTo>
                        <a:pt x="0" y="56"/>
                      </a:lnTo>
                      <a:lnTo>
                        <a:pt x="16" y="56"/>
                      </a:lnTo>
                      <a:lnTo>
                        <a:pt x="8" y="56"/>
                      </a:lnTo>
                      <a:lnTo>
                        <a:pt x="0" y="64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89" name="Freeform 26">
                  <a:extLst>
                    <a:ext uri="{FF2B5EF4-FFF2-40B4-BE49-F238E27FC236}">
                      <a16:creationId xmlns:a16="http://schemas.microsoft.com/office/drawing/2014/main" id="{98E347FE-07B0-6162-2163-1AC9E8BEF164}"/>
                    </a:ext>
                  </a:extLst>
                </p:cNvPr>
                <p:cNvSpPr/>
                <p:nvPr/>
              </p:nvSpPr>
              <p:spPr bwMode="gray">
                <a:xfrm>
                  <a:off x="3271466" y="4221067"/>
                  <a:ext cx="93561" cy="75250"/>
                </a:xfrm>
                <a:custGeom>
                  <a:avLst/>
                  <a:gdLst>
                    <a:gd name="T0" fmla="*/ 0 w 64"/>
                    <a:gd name="T1" fmla="*/ 0 h 56"/>
                    <a:gd name="T2" fmla="*/ 6 w 64"/>
                    <a:gd name="T3" fmla="*/ 3 h 56"/>
                    <a:gd name="T4" fmla="*/ 11 w 64"/>
                    <a:gd name="T5" fmla="*/ 3 h 56"/>
                    <a:gd name="T6" fmla="*/ 14 w 64"/>
                    <a:gd name="T7" fmla="*/ 3 h 56"/>
                    <a:gd name="T8" fmla="*/ 23 w 64"/>
                    <a:gd name="T9" fmla="*/ 11 h 56"/>
                    <a:gd name="T10" fmla="*/ 19 w 64"/>
                    <a:gd name="T11" fmla="*/ 17 h 56"/>
                    <a:gd name="T12" fmla="*/ 19 w 64"/>
                    <a:gd name="T13" fmla="*/ 21 h 56"/>
                    <a:gd name="T14" fmla="*/ 17 w 64"/>
                    <a:gd name="T15" fmla="*/ 21 h 56"/>
                    <a:gd name="T16" fmla="*/ 11 w 64"/>
                    <a:gd name="T17" fmla="*/ 15 h 56"/>
                    <a:gd name="T18" fmla="*/ 11 w 64"/>
                    <a:gd name="T19" fmla="*/ 11 h 56"/>
                    <a:gd name="T20" fmla="*/ 6 w 64"/>
                    <a:gd name="T21" fmla="*/ 9 h 56"/>
                    <a:gd name="T22" fmla="*/ 0 w 64"/>
                    <a:gd name="T23" fmla="*/ 6 h 56"/>
                    <a:gd name="T24" fmla="*/ 0 w 64"/>
                    <a:gd name="T25" fmla="*/ 0 h 5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4"/>
                    <a:gd name="T40" fmla="*/ 0 h 56"/>
                    <a:gd name="T41" fmla="*/ 64 w 64"/>
                    <a:gd name="T42" fmla="*/ 56 h 5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4" h="56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64" y="32"/>
                      </a:lnTo>
                      <a:lnTo>
                        <a:pt x="56" y="48"/>
                      </a:lnTo>
                      <a:lnTo>
                        <a:pt x="56" y="56"/>
                      </a:lnTo>
                      <a:lnTo>
                        <a:pt x="48" y="56"/>
                      </a:lnTo>
                      <a:lnTo>
                        <a:pt x="32" y="40"/>
                      </a:lnTo>
                      <a:lnTo>
                        <a:pt x="32" y="32"/>
                      </a:lnTo>
                      <a:lnTo>
                        <a:pt x="16" y="24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</p:grpSp>
          <p:grpSp>
            <p:nvGrpSpPr>
              <p:cNvPr id="1111" name="Group 1110">
                <a:extLst>
                  <a:ext uri="{FF2B5EF4-FFF2-40B4-BE49-F238E27FC236}">
                    <a16:creationId xmlns:a16="http://schemas.microsoft.com/office/drawing/2014/main" id="{DBD0EEBF-A4E0-5934-9397-68639D96C054}"/>
                  </a:ext>
                </a:extLst>
              </p:cNvPr>
              <p:cNvGrpSpPr/>
              <p:nvPr/>
            </p:nvGrpSpPr>
            <p:grpSpPr>
              <a:xfrm>
                <a:off x="591461" y="1141529"/>
                <a:ext cx="3650972" cy="3090963"/>
                <a:chOff x="591461" y="1141529"/>
                <a:chExt cx="3650972" cy="3090963"/>
              </a:xfrm>
            </p:grpSpPr>
            <p:sp>
              <p:nvSpPr>
                <p:cNvPr id="1419" name="Freeform 28">
                  <a:extLst>
                    <a:ext uri="{FF2B5EF4-FFF2-40B4-BE49-F238E27FC236}">
                      <a16:creationId xmlns:a16="http://schemas.microsoft.com/office/drawing/2014/main" id="{C347A6FF-7012-7685-2D8B-DAF096C258A8}"/>
                    </a:ext>
                  </a:extLst>
                </p:cNvPr>
                <p:cNvSpPr/>
                <p:nvPr/>
              </p:nvSpPr>
              <p:spPr bwMode="gray">
                <a:xfrm>
                  <a:off x="1984486" y="2930638"/>
                  <a:ext cx="151777" cy="105352"/>
                </a:xfrm>
                <a:custGeom>
                  <a:avLst/>
                  <a:gdLst>
                    <a:gd name="T0" fmla="*/ 27 w 104"/>
                    <a:gd name="T1" fmla="*/ 25 h 80"/>
                    <a:gd name="T2" fmla="*/ 33 w 104"/>
                    <a:gd name="T3" fmla="*/ 27 h 80"/>
                    <a:gd name="T4" fmla="*/ 36 w 104"/>
                    <a:gd name="T5" fmla="*/ 25 h 80"/>
                    <a:gd name="T6" fmla="*/ 33 w 104"/>
                    <a:gd name="T7" fmla="*/ 19 h 80"/>
                    <a:gd name="T8" fmla="*/ 31 w 104"/>
                    <a:gd name="T9" fmla="*/ 19 h 80"/>
                    <a:gd name="T10" fmla="*/ 25 w 104"/>
                    <a:gd name="T11" fmla="*/ 14 h 80"/>
                    <a:gd name="T12" fmla="*/ 25 w 104"/>
                    <a:gd name="T13" fmla="*/ 10 h 80"/>
                    <a:gd name="T14" fmla="*/ 22 w 104"/>
                    <a:gd name="T15" fmla="*/ 8 h 80"/>
                    <a:gd name="T16" fmla="*/ 17 w 104"/>
                    <a:gd name="T17" fmla="*/ 8 h 80"/>
                    <a:gd name="T18" fmla="*/ 8 w 104"/>
                    <a:gd name="T19" fmla="*/ 6 h 80"/>
                    <a:gd name="T20" fmla="*/ 6 w 104"/>
                    <a:gd name="T21" fmla="*/ 0 h 80"/>
                    <a:gd name="T22" fmla="*/ 0 w 104"/>
                    <a:gd name="T23" fmla="*/ 0 h 80"/>
                    <a:gd name="T24" fmla="*/ 0 w 104"/>
                    <a:gd name="T25" fmla="*/ 3 h 80"/>
                    <a:gd name="T26" fmla="*/ 3 w 104"/>
                    <a:gd name="T27" fmla="*/ 10 h 80"/>
                    <a:gd name="T28" fmla="*/ 6 w 104"/>
                    <a:gd name="T29" fmla="*/ 10 h 80"/>
                    <a:gd name="T30" fmla="*/ 8 w 104"/>
                    <a:gd name="T31" fmla="*/ 14 h 80"/>
                    <a:gd name="T32" fmla="*/ 11 w 104"/>
                    <a:gd name="T33" fmla="*/ 14 h 80"/>
                    <a:gd name="T34" fmla="*/ 14 w 104"/>
                    <a:gd name="T35" fmla="*/ 17 h 80"/>
                    <a:gd name="T36" fmla="*/ 22 w 104"/>
                    <a:gd name="T37" fmla="*/ 22 h 80"/>
                    <a:gd name="T38" fmla="*/ 25 w 104"/>
                    <a:gd name="T39" fmla="*/ 25 h 80"/>
                    <a:gd name="T40" fmla="*/ 27 w 104"/>
                    <a:gd name="T41" fmla="*/ 25 h 8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04"/>
                    <a:gd name="T64" fmla="*/ 0 h 80"/>
                    <a:gd name="T65" fmla="*/ 104 w 104"/>
                    <a:gd name="T66" fmla="*/ 80 h 8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04" h="80">
                      <a:moveTo>
                        <a:pt x="80" y="72"/>
                      </a:moveTo>
                      <a:lnTo>
                        <a:pt x="96" y="80"/>
                      </a:lnTo>
                      <a:lnTo>
                        <a:pt x="104" y="72"/>
                      </a:lnTo>
                      <a:lnTo>
                        <a:pt x="96" y="56"/>
                      </a:lnTo>
                      <a:lnTo>
                        <a:pt x="88" y="56"/>
                      </a:lnTo>
                      <a:lnTo>
                        <a:pt x="72" y="40"/>
                      </a:lnTo>
                      <a:lnTo>
                        <a:pt x="72" y="32"/>
                      </a:lnTo>
                      <a:lnTo>
                        <a:pt x="64" y="24"/>
                      </a:lnTo>
                      <a:lnTo>
                        <a:pt x="48" y="24"/>
                      </a:lnTo>
                      <a:lnTo>
                        <a:pt x="24" y="16"/>
                      </a:ln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32"/>
                      </a:lnTo>
                      <a:lnTo>
                        <a:pt x="16" y="32"/>
                      </a:lnTo>
                      <a:lnTo>
                        <a:pt x="24" y="40"/>
                      </a:lnTo>
                      <a:lnTo>
                        <a:pt x="32" y="40"/>
                      </a:lnTo>
                      <a:lnTo>
                        <a:pt x="40" y="48"/>
                      </a:lnTo>
                      <a:lnTo>
                        <a:pt x="64" y="64"/>
                      </a:lnTo>
                      <a:lnTo>
                        <a:pt x="72" y="72"/>
                      </a:lnTo>
                      <a:lnTo>
                        <a:pt x="80" y="72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20" name="Freeform 29">
                  <a:extLst>
                    <a:ext uri="{FF2B5EF4-FFF2-40B4-BE49-F238E27FC236}">
                      <a16:creationId xmlns:a16="http://schemas.microsoft.com/office/drawing/2014/main" id="{E1121221-B171-F8EC-D6AE-2EBCD00E21E4}"/>
                    </a:ext>
                  </a:extLst>
                </p:cNvPr>
                <p:cNvSpPr/>
                <p:nvPr/>
              </p:nvSpPr>
              <p:spPr bwMode="gray">
                <a:xfrm>
                  <a:off x="1830629" y="2697358"/>
                  <a:ext cx="47820" cy="52676"/>
                </a:xfrm>
                <a:custGeom>
                  <a:avLst/>
                  <a:gdLst>
                    <a:gd name="T0" fmla="*/ 0 w 32"/>
                    <a:gd name="T1" fmla="*/ 0 h 40"/>
                    <a:gd name="T2" fmla="*/ 3 w 32"/>
                    <a:gd name="T3" fmla="*/ 0 h 40"/>
                    <a:gd name="T4" fmla="*/ 9 w 32"/>
                    <a:gd name="T5" fmla="*/ 6 h 40"/>
                    <a:gd name="T6" fmla="*/ 12 w 32"/>
                    <a:gd name="T7" fmla="*/ 14 h 40"/>
                    <a:gd name="T8" fmla="*/ 9 w 32"/>
                    <a:gd name="T9" fmla="*/ 14 h 40"/>
                    <a:gd name="T10" fmla="*/ 3 w 32"/>
                    <a:gd name="T11" fmla="*/ 6 h 40"/>
                    <a:gd name="T12" fmla="*/ 0 w 32"/>
                    <a:gd name="T13" fmla="*/ 0 h 4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40"/>
                    <a:gd name="T23" fmla="*/ 32 w 32"/>
                    <a:gd name="T24" fmla="*/ 40 h 4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40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24" y="16"/>
                      </a:lnTo>
                      <a:lnTo>
                        <a:pt x="32" y="40"/>
                      </a:lnTo>
                      <a:lnTo>
                        <a:pt x="24" y="40"/>
                      </a:lnTo>
                      <a:lnTo>
                        <a:pt x="8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21" name="Freeform 30">
                  <a:extLst>
                    <a:ext uri="{FF2B5EF4-FFF2-40B4-BE49-F238E27FC236}">
                      <a16:creationId xmlns:a16="http://schemas.microsoft.com/office/drawing/2014/main" id="{8FEDAD1F-FCC1-D653-CD93-8362D869067D}"/>
                    </a:ext>
                  </a:extLst>
                </p:cNvPr>
                <p:cNvSpPr/>
                <p:nvPr/>
              </p:nvSpPr>
              <p:spPr bwMode="gray">
                <a:xfrm>
                  <a:off x="813929" y="2486653"/>
                  <a:ext cx="45741" cy="31982"/>
                </a:xfrm>
                <a:custGeom>
                  <a:avLst/>
                  <a:gdLst>
                    <a:gd name="T0" fmla="*/ 6 w 32"/>
                    <a:gd name="T1" fmla="*/ 0 h 24"/>
                    <a:gd name="T2" fmla="*/ 10 w 32"/>
                    <a:gd name="T3" fmla="*/ 3 h 24"/>
                    <a:gd name="T4" fmla="*/ 10 w 32"/>
                    <a:gd name="T5" fmla="*/ 6 h 24"/>
                    <a:gd name="T6" fmla="*/ 8 w 32"/>
                    <a:gd name="T7" fmla="*/ 9 h 24"/>
                    <a:gd name="T8" fmla="*/ 6 w 32"/>
                    <a:gd name="T9" fmla="*/ 9 h 24"/>
                    <a:gd name="T10" fmla="*/ 3 w 32"/>
                    <a:gd name="T11" fmla="*/ 6 h 24"/>
                    <a:gd name="T12" fmla="*/ 0 w 32"/>
                    <a:gd name="T13" fmla="*/ 6 h 24"/>
                    <a:gd name="T14" fmla="*/ 0 w 32"/>
                    <a:gd name="T15" fmla="*/ 3 h 24"/>
                    <a:gd name="T16" fmla="*/ 3 w 32"/>
                    <a:gd name="T17" fmla="*/ 0 h 24"/>
                    <a:gd name="T18" fmla="*/ 6 w 32"/>
                    <a:gd name="T19" fmla="*/ 0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2"/>
                    <a:gd name="T31" fmla="*/ 0 h 24"/>
                    <a:gd name="T32" fmla="*/ 32 w 32"/>
                    <a:gd name="T33" fmla="*/ 24 h 2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2" h="24">
                      <a:moveTo>
                        <a:pt x="16" y="0"/>
                      </a:moveTo>
                      <a:lnTo>
                        <a:pt x="32" y="8"/>
                      </a:lnTo>
                      <a:lnTo>
                        <a:pt x="32" y="16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22" name="Freeform 31">
                  <a:extLst>
                    <a:ext uri="{FF2B5EF4-FFF2-40B4-BE49-F238E27FC236}">
                      <a16:creationId xmlns:a16="http://schemas.microsoft.com/office/drawing/2014/main" id="{7B01663C-4418-05D1-A797-99C2F44A8949}"/>
                    </a:ext>
                  </a:extLst>
                </p:cNvPr>
                <p:cNvSpPr/>
                <p:nvPr/>
              </p:nvSpPr>
              <p:spPr bwMode="gray">
                <a:xfrm>
                  <a:off x="672548" y="2294761"/>
                  <a:ext cx="93561" cy="43270"/>
                </a:xfrm>
                <a:custGeom>
                  <a:avLst/>
                  <a:gdLst>
                    <a:gd name="T0" fmla="*/ 0 w 64"/>
                    <a:gd name="T1" fmla="*/ 0 h 32"/>
                    <a:gd name="T2" fmla="*/ 6 w 64"/>
                    <a:gd name="T3" fmla="*/ 0 h 32"/>
                    <a:gd name="T4" fmla="*/ 14 w 64"/>
                    <a:gd name="T5" fmla="*/ 0 h 32"/>
                    <a:gd name="T6" fmla="*/ 19 w 64"/>
                    <a:gd name="T7" fmla="*/ 6 h 32"/>
                    <a:gd name="T8" fmla="*/ 23 w 64"/>
                    <a:gd name="T9" fmla="*/ 6 h 32"/>
                    <a:gd name="T10" fmla="*/ 23 w 64"/>
                    <a:gd name="T11" fmla="*/ 9 h 32"/>
                    <a:gd name="T12" fmla="*/ 19 w 64"/>
                    <a:gd name="T13" fmla="*/ 9 h 32"/>
                    <a:gd name="T14" fmla="*/ 14 w 64"/>
                    <a:gd name="T15" fmla="*/ 12 h 32"/>
                    <a:gd name="T16" fmla="*/ 8 w 64"/>
                    <a:gd name="T17" fmla="*/ 6 h 32"/>
                    <a:gd name="T18" fmla="*/ 0 w 64"/>
                    <a:gd name="T19" fmla="*/ 6 h 32"/>
                    <a:gd name="T20" fmla="*/ 0 w 64"/>
                    <a:gd name="T21" fmla="*/ 3 h 32"/>
                    <a:gd name="T22" fmla="*/ 0 w 64"/>
                    <a:gd name="T23" fmla="*/ 0 h 3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4"/>
                    <a:gd name="T37" fmla="*/ 0 h 32"/>
                    <a:gd name="T38" fmla="*/ 64 w 64"/>
                    <a:gd name="T39" fmla="*/ 32 h 3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4" h="32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40" y="0"/>
                      </a:lnTo>
                      <a:lnTo>
                        <a:pt x="56" y="16"/>
                      </a:lnTo>
                      <a:lnTo>
                        <a:pt x="64" y="16"/>
                      </a:lnTo>
                      <a:lnTo>
                        <a:pt x="64" y="24"/>
                      </a:lnTo>
                      <a:lnTo>
                        <a:pt x="56" y="24"/>
                      </a:lnTo>
                      <a:lnTo>
                        <a:pt x="40" y="32"/>
                      </a:lnTo>
                      <a:lnTo>
                        <a:pt x="24" y="16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23" name="Freeform 32">
                  <a:extLst>
                    <a:ext uri="{FF2B5EF4-FFF2-40B4-BE49-F238E27FC236}">
                      <a16:creationId xmlns:a16="http://schemas.microsoft.com/office/drawing/2014/main" id="{EDFF393D-4510-B0BF-BFAD-CB72FB82DA4D}"/>
                    </a:ext>
                  </a:extLst>
                </p:cNvPr>
                <p:cNvSpPr/>
                <p:nvPr/>
              </p:nvSpPr>
              <p:spPr bwMode="gray">
                <a:xfrm>
                  <a:off x="2275565" y="1777406"/>
                  <a:ext cx="538498" cy="231399"/>
                </a:xfrm>
                <a:custGeom>
                  <a:avLst/>
                  <a:gdLst>
                    <a:gd name="T0" fmla="*/ 89 w 368"/>
                    <a:gd name="T1" fmla="*/ 3 h 176"/>
                    <a:gd name="T2" fmla="*/ 98 w 368"/>
                    <a:gd name="T3" fmla="*/ 14 h 176"/>
                    <a:gd name="T4" fmla="*/ 103 w 368"/>
                    <a:gd name="T5" fmla="*/ 24 h 176"/>
                    <a:gd name="T6" fmla="*/ 111 w 368"/>
                    <a:gd name="T7" fmla="*/ 36 h 176"/>
                    <a:gd name="T8" fmla="*/ 117 w 368"/>
                    <a:gd name="T9" fmla="*/ 36 h 176"/>
                    <a:gd name="T10" fmla="*/ 128 w 368"/>
                    <a:gd name="T11" fmla="*/ 43 h 176"/>
                    <a:gd name="T12" fmla="*/ 125 w 368"/>
                    <a:gd name="T13" fmla="*/ 46 h 176"/>
                    <a:gd name="T14" fmla="*/ 120 w 368"/>
                    <a:gd name="T15" fmla="*/ 46 h 176"/>
                    <a:gd name="T16" fmla="*/ 111 w 368"/>
                    <a:gd name="T17" fmla="*/ 46 h 176"/>
                    <a:gd name="T18" fmla="*/ 111 w 368"/>
                    <a:gd name="T19" fmla="*/ 52 h 176"/>
                    <a:gd name="T20" fmla="*/ 120 w 368"/>
                    <a:gd name="T21" fmla="*/ 52 h 176"/>
                    <a:gd name="T22" fmla="*/ 115 w 368"/>
                    <a:gd name="T23" fmla="*/ 55 h 176"/>
                    <a:gd name="T24" fmla="*/ 103 w 368"/>
                    <a:gd name="T25" fmla="*/ 57 h 176"/>
                    <a:gd name="T26" fmla="*/ 98 w 368"/>
                    <a:gd name="T27" fmla="*/ 55 h 176"/>
                    <a:gd name="T28" fmla="*/ 89 w 368"/>
                    <a:gd name="T29" fmla="*/ 52 h 176"/>
                    <a:gd name="T30" fmla="*/ 84 w 368"/>
                    <a:gd name="T31" fmla="*/ 55 h 176"/>
                    <a:gd name="T32" fmla="*/ 72 w 368"/>
                    <a:gd name="T33" fmla="*/ 57 h 176"/>
                    <a:gd name="T34" fmla="*/ 58 w 368"/>
                    <a:gd name="T35" fmla="*/ 60 h 176"/>
                    <a:gd name="T36" fmla="*/ 36 w 368"/>
                    <a:gd name="T37" fmla="*/ 57 h 176"/>
                    <a:gd name="T38" fmla="*/ 34 w 368"/>
                    <a:gd name="T39" fmla="*/ 52 h 176"/>
                    <a:gd name="T40" fmla="*/ 17 w 368"/>
                    <a:gd name="T41" fmla="*/ 52 h 176"/>
                    <a:gd name="T42" fmla="*/ 8 w 368"/>
                    <a:gd name="T43" fmla="*/ 43 h 176"/>
                    <a:gd name="T44" fmla="*/ 31 w 368"/>
                    <a:gd name="T45" fmla="*/ 41 h 176"/>
                    <a:gd name="T46" fmla="*/ 48 w 368"/>
                    <a:gd name="T47" fmla="*/ 41 h 176"/>
                    <a:gd name="T48" fmla="*/ 42 w 368"/>
                    <a:gd name="T49" fmla="*/ 36 h 176"/>
                    <a:gd name="T50" fmla="*/ 31 w 368"/>
                    <a:gd name="T51" fmla="*/ 36 h 176"/>
                    <a:gd name="T52" fmla="*/ 14 w 368"/>
                    <a:gd name="T53" fmla="*/ 36 h 176"/>
                    <a:gd name="T54" fmla="*/ 3 w 368"/>
                    <a:gd name="T55" fmla="*/ 30 h 176"/>
                    <a:gd name="T56" fmla="*/ 17 w 368"/>
                    <a:gd name="T57" fmla="*/ 27 h 176"/>
                    <a:gd name="T58" fmla="*/ 19 w 368"/>
                    <a:gd name="T59" fmla="*/ 24 h 176"/>
                    <a:gd name="T60" fmla="*/ 6 w 368"/>
                    <a:gd name="T61" fmla="*/ 27 h 176"/>
                    <a:gd name="T62" fmla="*/ 6 w 368"/>
                    <a:gd name="T63" fmla="*/ 22 h 176"/>
                    <a:gd name="T64" fmla="*/ 0 w 368"/>
                    <a:gd name="T65" fmla="*/ 17 h 176"/>
                    <a:gd name="T66" fmla="*/ 6 w 368"/>
                    <a:gd name="T67" fmla="*/ 14 h 176"/>
                    <a:gd name="T68" fmla="*/ 3 w 368"/>
                    <a:gd name="T69" fmla="*/ 8 h 176"/>
                    <a:gd name="T70" fmla="*/ 11 w 368"/>
                    <a:gd name="T71" fmla="*/ 6 h 176"/>
                    <a:gd name="T72" fmla="*/ 27 w 368"/>
                    <a:gd name="T73" fmla="*/ 0 h 176"/>
                    <a:gd name="T74" fmla="*/ 34 w 368"/>
                    <a:gd name="T75" fmla="*/ 3 h 176"/>
                    <a:gd name="T76" fmla="*/ 31 w 368"/>
                    <a:gd name="T77" fmla="*/ 8 h 176"/>
                    <a:gd name="T78" fmla="*/ 36 w 368"/>
                    <a:gd name="T79" fmla="*/ 8 h 176"/>
                    <a:gd name="T80" fmla="*/ 36 w 368"/>
                    <a:gd name="T81" fmla="*/ 6 h 176"/>
                    <a:gd name="T82" fmla="*/ 50 w 368"/>
                    <a:gd name="T83" fmla="*/ 8 h 176"/>
                    <a:gd name="T84" fmla="*/ 48 w 368"/>
                    <a:gd name="T85" fmla="*/ 14 h 176"/>
                    <a:gd name="T86" fmla="*/ 56 w 368"/>
                    <a:gd name="T87" fmla="*/ 10 h 176"/>
                    <a:gd name="T88" fmla="*/ 61 w 368"/>
                    <a:gd name="T89" fmla="*/ 6 h 176"/>
                    <a:gd name="T90" fmla="*/ 64 w 368"/>
                    <a:gd name="T91" fmla="*/ 6 h 176"/>
                    <a:gd name="T92" fmla="*/ 72 w 368"/>
                    <a:gd name="T93" fmla="*/ 14 h 176"/>
                    <a:gd name="T94" fmla="*/ 75 w 368"/>
                    <a:gd name="T95" fmla="*/ 22 h 176"/>
                    <a:gd name="T96" fmla="*/ 78 w 368"/>
                    <a:gd name="T97" fmla="*/ 17 h 176"/>
                    <a:gd name="T98" fmla="*/ 78 w 368"/>
                    <a:gd name="T99" fmla="*/ 8 h 176"/>
                    <a:gd name="T100" fmla="*/ 75 w 368"/>
                    <a:gd name="T101" fmla="*/ 0 h 176"/>
                    <a:gd name="T102" fmla="*/ 81 w 368"/>
                    <a:gd name="T103" fmla="*/ 0 h 176"/>
                    <a:gd name="T104" fmla="*/ 89 w 368"/>
                    <a:gd name="T105" fmla="*/ 0 h 17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368"/>
                    <a:gd name="T160" fmla="*/ 0 h 176"/>
                    <a:gd name="T161" fmla="*/ 368 w 368"/>
                    <a:gd name="T162" fmla="*/ 176 h 17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368" h="176">
                      <a:moveTo>
                        <a:pt x="256" y="0"/>
                      </a:moveTo>
                      <a:lnTo>
                        <a:pt x="256" y="8"/>
                      </a:lnTo>
                      <a:lnTo>
                        <a:pt x="280" y="16"/>
                      </a:lnTo>
                      <a:lnTo>
                        <a:pt x="280" y="40"/>
                      </a:lnTo>
                      <a:lnTo>
                        <a:pt x="280" y="56"/>
                      </a:lnTo>
                      <a:lnTo>
                        <a:pt x="296" y="72"/>
                      </a:lnTo>
                      <a:lnTo>
                        <a:pt x="296" y="88"/>
                      </a:lnTo>
                      <a:lnTo>
                        <a:pt x="320" y="104"/>
                      </a:lnTo>
                      <a:lnTo>
                        <a:pt x="328" y="96"/>
                      </a:lnTo>
                      <a:lnTo>
                        <a:pt x="336" y="104"/>
                      </a:lnTo>
                      <a:lnTo>
                        <a:pt x="344" y="112"/>
                      </a:lnTo>
                      <a:lnTo>
                        <a:pt x="368" y="128"/>
                      </a:lnTo>
                      <a:lnTo>
                        <a:pt x="368" y="136"/>
                      </a:lnTo>
                      <a:lnTo>
                        <a:pt x="360" y="136"/>
                      </a:lnTo>
                      <a:lnTo>
                        <a:pt x="352" y="136"/>
                      </a:lnTo>
                      <a:lnTo>
                        <a:pt x="344" y="136"/>
                      </a:lnTo>
                      <a:lnTo>
                        <a:pt x="328" y="144"/>
                      </a:lnTo>
                      <a:lnTo>
                        <a:pt x="320" y="136"/>
                      </a:lnTo>
                      <a:lnTo>
                        <a:pt x="312" y="144"/>
                      </a:lnTo>
                      <a:lnTo>
                        <a:pt x="320" y="152"/>
                      </a:lnTo>
                      <a:lnTo>
                        <a:pt x="328" y="144"/>
                      </a:lnTo>
                      <a:lnTo>
                        <a:pt x="344" y="152"/>
                      </a:lnTo>
                      <a:lnTo>
                        <a:pt x="344" y="160"/>
                      </a:lnTo>
                      <a:lnTo>
                        <a:pt x="328" y="160"/>
                      </a:lnTo>
                      <a:lnTo>
                        <a:pt x="312" y="168"/>
                      </a:lnTo>
                      <a:lnTo>
                        <a:pt x="296" y="168"/>
                      </a:lnTo>
                      <a:lnTo>
                        <a:pt x="280" y="168"/>
                      </a:lnTo>
                      <a:lnTo>
                        <a:pt x="280" y="160"/>
                      </a:lnTo>
                      <a:lnTo>
                        <a:pt x="256" y="160"/>
                      </a:lnTo>
                      <a:lnTo>
                        <a:pt x="256" y="152"/>
                      </a:lnTo>
                      <a:lnTo>
                        <a:pt x="248" y="152"/>
                      </a:lnTo>
                      <a:lnTo>
                        <a:pt x="240" y="160"/>
                      </a:lnTo>
                      <a:lnTo>
                        <a:pt x="232" y="168"/>
                      </a:lnTo>
                      <a:lnTo>
                        <a:pt x="208" y="168"/>
                      </a:lnTo>
                      <a:lnTo>
                        <a:pt x="184" y="176"/>
                      </a:lnTo>
                      <a:lnTo>
                        <a:pt x="168" y="176"/>
                      </a:lnTo>
                      <a:lnTo>
                        <a:pt x="120" y="176"/>
                      </a:lnTo>
                      <a:lnTo>
                        <a:pt x="104" y="168"/>
                      </a:lnTo>
                      <a:lnTo>
                        <a:pt x="104" y="160"/>
                      </a:lnTo>
                      <a:lnTo>
                        <a:pt x="96" y="152"/>
                      </a:lnTo>
                      <a:lnTo>
                        <a:pt x="72" y="152"/>
                      </a:lnTo>
                      <a:lnTo>
                        <a:pt x="48" y="152"/>
                      </a:lnTo>
                      <a:lnTo>
                        <a:pt x="24" y="136"/>
                      </a:lnTo>
                      <a:lnTo>
                        <a:pt x="24" y="128"/>
                      </a:lnTo>
                      <a:lnTo>
                        <a:pt x="48" y="120"/>
                      </a:lnTo>
                      <a:lnTo>
                        <a:pt x="88" y="120"/>
                      </a:lnTo>
                      <a:lnTo>
                        <a:pt x="112" y="120"/>
                      </a:lnTo>
                      <a:lnTo>
                        <a:pt x="136" y="120"/>
                      </a:lnTo>
                      <a:lnTo>
                        <a:pt x="144" y="112"/>
                      </a:lnTo>
                      <a:lnTo>
                        <a:pt x="120" y="104"/>
                      </a:lnTo>
                      <a:lnTo>
                        <a:pt x="112" y="104"/>
                      </a:lnTo>
                      <a:lnTo>
                        <a:pt x="88" y="104"/>
                      </a:lnTo>
                      <a:lnTo>
                        <a:pt x="64" y="112"/>
                      </a:lnTo>
                      <a:lnTo>
                        <a:pt x="40" y="104"/>
                      </a:lnTo>
                      <a:lnTo>
                        <a:pt x="24" y="104"/>
                      </a:lnTo>
                      <a:lnTo>
                        <a:pt x="8" y="88"/>
                      </a:lnTo>
                      <a:lnTo>
                        <a:pt x="32" y="80"/>
                      </a:lnTo>
                      <a:lnTo>
                        <a:pt x="48" y="80"/>
                      </a:lnTo>
                      <a:lnTo>
                        <a:pt x="64" y="72"/>
                      </a:lnTo>
                      <a:lnTo>
                        <a:pt x="56" y="72"/>
                      </a:lnTo>
                      <a:lnTo>
                        <a:pt x="24" y="72"/>
                      </a:lnTo>
                      <a:lnTo>
                        <a:pt x="16" y="80"/>
                      </a:lnTo>
                      <a:lnTo>
                        <a:pt x="16" y="72"/>
                      </a:lnTo>
                      <a:lnTo>
                        <a:pt x="16" y="64"/>
                      </a:lnTo>
                      <a:lnTo>
                        <a:pt x="0" y="64"/>
                      </a:lnTo>
                      <a:lnTo>
                        <a:pt x="0" y="48"/>
                      </a:lnTo>
                      <a:lnTo>
                        <a:pt x="16" y="48"/>
                      </a:lnTo>
                      <a:lnTo>
                        <a:pt x="16" y="40"/>
                      </a:lnTo>
                      <a:lnTo>
                        <a:pt x="0" y="32"/>
                      </a:lnTo>
                      <a:lnTo>
                        <a:pt x="8" y="24"/>
                      </a:ln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64" y="0"/>
                      </a:lnTo>
                      <a:lnTo>
                        <a:pt x="80" y="0"/>
                      </a:lnTo>
                      <a:lnTo>
                        <a:pt x="88" y="0"/>
                      </a:lnTo>
                      <a:lnTo>
                        <a:pt x="96" y="8"/>
                      </a:lnTo>
                      <a:lnTo>
                        <a:pt x="80" y="16"/>
                      </a:lnTo>
                      <a:lnTo>
                        <a:pt x="88" y="24"/>
                      </a:lnTo>
                      <a:lnTo>
                        <a:pt x="96" y="24"/>
                      </a:lnTo>
                      <a:lnTo>
                        <a:pt x="104" y="24"/>
                      </a:lnTo>
                      <a:lnTo>
                        <a:pt x="112" y="24"/>
                      </a:lnTo>
                      <a:lnTo>
                        <a:pt x="104" y="16"/>
                      </a:lnTo>
                      <a:lnTo>
                        <a:pt x="112" y="8"/>
                      </a:lnTo>
                      <a:lnTo>
                        <a:pt x="144" y="24"/>
                      </a:lnTo>
                      <a:lnTo>
                        <a:pt x="152" y="32"/>
                      </a:lnTo>
                      <a:lnTo>
                        <a:pt x="136" y="40"/>
                      </a:lnTo>
                      <a:lnTo>
                        <a:pt x="152" y="40"/>
                      </a:lnTo>
                      <a:lnTo>
                        <a:pt x="160" y="32"/>
                      </a:lnTo>
                      <a:lnTo>
                        <a:pt x="176" y="32"/>
                      </a:lnTo>
                      <a:lnTo>
                        <a:pt x="176" y="16"/>
                      </a:lnTo>
                      <a:lnTo>
                        <a:pt x="168" y="16"/>
                      </a:lnTo>
                      <a:lnTo>
                        <a:pt x="184" y="16"/>
                      </a:lnTo>
                      <a:lnTo>
                        <a:pt x="200" y="24"/>
                      </a:lnTo>
                      <a:lnTo>
                        <a:pt x="208" y="40"/>
                      </a:lnTo>
                      <a:lnTo>
                        <a:pt x="208" y="64"/>
                      </a:lnTo>
                      <a:lnTo>
                        <a:pt x="216" y="64"/>
                      </a:lnTo>
                      <a:lnTo>
                        <a:pt x="232" y="56"/>
                      </a:lnTo>
                      <a:lnTo>
                        <a:pt x="224" y="48"/>
                      </a:lnTo>
                      <a:lnTo>
                        <a:pt x="224" y="32"/>
                      </a:lnTo>
                      <a:lnTo>
                        <a:pt x="224" y="24"/>
                      </a:lnTo>
                      <a:lnTo>
                        <a:pt x="216" y="8"/>
                      </a:lnTo>
                      <a:lnTo>
                        <a:pt x="216" y="0"/>
                      </a:lnTo>
                      <a:lnTo>
                        <a:pt x="224" y="0"/>
                      </a:lnTo>
                      <a:lnTo>
                        <a:pt x="232" y="0"/>
                      </a:lnTo>
                      <a:lnTo>
                        <a:pt x="240" y="0"/>
                      </a:lnTo>
                      <a:lnTo>
                        <a:pt x="256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24" name="Freeform 33">
                  <a:extLst>
                    <a:ext uri="{FF2B5EF4-FFF2-40B4-BE49-F238E27FC236}">
                      <a16:creationId xmlns:a16="http://schemas.microsoft.com/office/drawing/2014/main" id="{9F29168E-6D04-8975-77CF-83855B5E0988}"/>
                    </a:ext>
                  </a:extLst>
                </p:cNvPr>
                <p:cNvSpPr/>
                <p:nvPr/>
              </p:nvSpPr>
              <p:spPr bwMode="gray">
                <a:xfrm>
                  <a:off x="2581199" y="1999398"/>
                  <a:ext cx="81087" cy="20694"/>
                </a:xfrm>
                <a:custGeom>
                  <a:avLst/>
                  <a:gdLst>
                    <a:gd name="T0" fmla="*/ 16 w 56"/>
                    <a:gd name="T1" fmla="*/ 0 h 16"/>
                    <a:gd name="T2" fmla="*/ 19 w 56"/>
                    <a:gd name="T3" fmla="*/ 0 h 16"/>
                    <a:gd name="T4" fmla="*/ 19 w 56"/>
                    <a:gd name="T5" fmla="*/ 3 h 16"/>
                    <a:gd name="T6" fmla="*/ 16 w 56"/>
                    <a:gd name="T7" fmla="*/ 3 h 16"/>
                    <a:gd name="T8" fmla="*/ 14 w 56"/>
                    <a:gd name="T9" fmla="*/ 6 h 16"/>
                    <a:gd name="T10" fmla="*/ 6 w 56"/>
                    <a:gd name="T11" fmla="*/ 6 h 16"/>
                    <a:gd name="T12" fmla="*/ 0 w 56"/>
                    <a:gd name="T13" fmla="*/ 6 h 16"/>
                    <a:gd name="T14" fmla="*/ 3 w 56"/>
                    <a:gd name="T15" fmla="*/ 3 h 16"/>
                    <a:gd name="T16" fmla="*/ 10 w 56"/>
                    <a:gd name="T17" fmla="*/ 3 h 16"/>
                    <a:gd name="T18" fmla="*/ 16 w 56"/>
                    <a:gd name="T19" fmla="*/ 0 h 1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6"/>
                    <a:gd name="T31" fmla="*/ 0 h 16"/>
                    <a:gd name="T32" fmla="*/ 56 w 56"/>
                    <a:gd name="T33" fmla="*/ 16 h 1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6" h="16">
                      <a:moveTo>
                        <a:pt x="48" y="0"/>
                      </a:moveTo>
                      <a:lnTo>
                        <a:pt x="56" y="0"/>
                      </a:lnTo>
                      <a:lnTo>
                        <a:pt x="56" y="8"/>
                      </a:lnTo>
                      <a:lnTo>
                        <a:pt x="48" y="8"/>
                      </a:lnTo>
                      <a:lnTo>
                        <a:pt x="40" y="16"/>
                      </a:lnTo>
                      <a:lnTo>
                        <a:pt x="16" y="16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32" y="8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25" name="Freeform 34">
                  <a:extLst>
                    <a:ext uri="{FF2B5EF4-FFF2-40B4-BE49-F238E27FC236}">
                      <a16:creationId xmlns:a16="http://schemas.microsoft.com/office/drawing/2014/main" id="{5BD53AE7-A19D-DEEA-0456-52E01FF7825B}"/>
                    </a:ext>
                  </a:extLst>
                </p:cNvPr>
                <p:cNvSpPr/>
                <p:nvPr/>
              </p:nvSpPr>
              <p:spPr bwMode="gray">
                <a:xfrm>
                  <a:off x="2065572" y="1702154"/>
                  <a:ext cx="303555" cy="191892"/>
                </a:xfrm>
                <a:custGeom>
                  <a:avLst/>
                  <a:gdLst>
                    <a:gd name="T0" fmla="*/ 72 w 208"/>
                    <a:gd name="T1" fmla="*/ 17 h 144"/>
                    <a:gd name="T2" fmla="*/ 69 w 208"/>
                    <a:gd name="T3" fmla="*/ 17 h 144"/>
                    <a:gd name="T4" fmla="*/ 67 w 208"/>
                    <a:gd name="T5" fmla="*/ 20 h 144"/>
                    <a:gd name="T6" fmla="*/ 55 w 208"/>
                    <a:gd name="T7" fmla="*/ 26 h 144"/>
                    <a:gd name="T8" fmla="*/ 53 w 208"/>
                    <a:gd name="T9" fmla="*/ 26 h 144"/>
                    <a:gd name="T10" fmla="*/ 44 w 208"/>
                    <a:gd name="T11" fmla="*/ 31 h 144"/>
                    <a:gd name="T12" fmla="*/ 44 w 208"/>
                    <a:gd name="T13" fmla="*/ 34 h 144"/>
                    <a:gd name="T14" fmla="*/ 41 w 208"/>
                    <a:gd name="T15" fmla="*/ 34 h 144"/>
                    <a:gd name="T16" fmla="*/ 36 w 208"/>
                    <a:gd name="T17" fmla="*/ 37 h 144"/>
                    <a:gd name="T18" fmla="*/ 36 w 208"/>
                    <a:gd name="T19" fmla="*/ 42 h 144"/>
                    <a:gd name="T20" fmla="*/ 31 w 208"/>
                    <a:gd name="T21" fmla="*/ 45 h 144"/>
                    <a:gd name="T22" fmla="*/ 25 w 208"/>
                    <a:gd name="T23" fmla="*/ 48 h 144"/>
                    <a:gd name="T24" fmla="*/ 19 w 208"/>
                    <a:gd name="T25" fmla="*/ 51 h 144"/>
                    <a:gd name="T26" fmla="*/ 17 w 208"/>
                    <a:gd name="T27" fmla="*/ 51 h 144"/>
                    <a:gd name="T28" fmla="*/ 14 w 208"/>
                    <a:gd name="T29" fmla="*/ 45 h 144"/>
                    <a:gd name="T30" fmla="*/ 3 w 208"/>
                    <a:gd name="T31" fmla="*/ 40 h 144"/>
                    <a:gd name="T32" fmla="*/ 0 w 208"/>
                    <a:gd name="T33" fmla="*/ 40 h 144"/>
                    <a:gd name="T34" fmla="*/ 0 w 208"/>
                    <a:gd name="T35" fmla="*/ 34 h 144"/>
                    <a:gd name="T36" fmla="*/ 6 w 208"/>
                    <a:gd name="T37" fmla="*/ 31 h 144"/>
                    <a:gd name="T38" fmla="*/ 6 w 208"/>
                    <a:gd name="T39" fmla="*/ 28 h 144"/>
                    <a:gd name="T40" fmla="*/ 3 w 208"/>
                    <a:gd name="T41" fmla="*/ 28 h 144"/>
                    <a:gd name="T42" fmla="*/ 3 w 208"/>
                    <a:gd name="T43" fmla="*/ 26 h 144"/>
                    <a:gd name="T44" fmla="*/ 6 w 208"/>
                    <a:gd name="T45" fmla="*/ 26 h 144"/>
                    <a:gd name="T46" fmla="*/ 8 w 208"/>
                    <a:gd name="T47" fmla="*/ 23 h 144"/>
                    <a:gd name="T48" fmla="*/ 6 w 208"/>
                    <a:gd name="T49" fmla="*/ 20 h 144"/>
                    <a:gd name="T50" fmla="*/ 6 w 208"/>
                    <a:gd name="T51" fmla="*/ 17 h 144"/>
                    <a:gd name="T52" fmla="*/ 11 w 208"/>
                    <a:gd name="T53" fmla="*/ 14 h 144"/>
                    <a:gd name="T54" fmla="*/ 8 w 208"/>
                    <a:gd name="T55" fmla="*/ 3 h 144"/>
                    <a:gd name="T56" fmla="*/ 22 w 208"/>
                    <a:gd name="T57" fmla="*/ 0 h 144"/>
                    <a:gd name="T58" fmla="*/ 27 w 208"/>
                    <a:gd name="T59" fmla="*/ 0 h 144"/>
                    <a:gd name="T60" fmla="*/ 33 w 208"/>
                    <a:gd name="T61" fmla="*/ 0 h 144"/>
                    <a:gd name="T62" fmla="*/ 41 w 208"/>
                    <a:gd name="T63" fmla="*/ 6 h 144"/>
                    <a:gd name="T64" fmla="*/ 44 w 208"/>
                    <a:gd name="T65" fmla="*/ 6 h 144"/>
                    <a:gd name="T66" fmla="*/ 47 w 208"/>
                    <a:gd name="T67" fmla="*/ 6 h 144"/>
                    <a:gd name="T68" fmla="*/ 47 w 208"/>
                    <a:gd name="T69" fmla="*/ 8 h 144"/>
                    <a:gd name="T70" fmla="*/ 50 w 208"/>
                    <a:gd name="T71" fmla="*/ 6 h 144"/>
                    <a:gd name="T72" fmla="*/ 58 w 208"/>
                    <a:gd name="T73" fmla="*/ 3 h 144"/>
                    <a:gd name="T74" fmla="*/ 72 w 208"/>
                    <a:gd name="T75" fmla="*/ 14 h 144"/>
                    <a:gd name="T76" fmla="*/ 72 w 208"/>
                    <a:gd name="T77" fmla="*/ 17 h 14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08"/>
                    <a:gd name="T118" fmla="*/ 0 h 144"/>
                    <a:gd name="T119" fmla="*/ 208 w 208"/>
                    <a:gd name="T120" fmla="*/ 144 h 14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08" h="144">
                      <a:moveTo>
                        <a:pt x="208" y="48"/>
                      </a:moveTo>
                      <a:lnTo>
                        <a:pt x="200" y="48"/>
                      </a:lnTo>
                      <a:lnTo>
                        <a:pt x="192" y="56"/>
                      </a:lnTo>
                      <a:lnTo>
                        <a:pt x="160" y="72"/>
                      </a:lnTo>
                      <a:lnTo>
                        <a:pt x="152" y="72"/>
                      </a:lnTo>
                      <a:lnTo>
                        <a:pt x="128" y="88"/>
                      </a:lnTo>
                      <a:lnTo>
                        <a:pt x="128" y="96"/>
                      </a:lnTo>
                      <a:lnTo>
                        <a:pt x="120" y="96"/>
                      </a:lnTo>
                      <a:lnTo>
                        <a:pt x="104" y="104"/>
                      </a:lnTo>
                      <a:lnTo>
                        <a:pt x="104" y="120"/>
                      </a:lnTo>
                      <a:lnTo>
                        <a:pt x="88" y="128"/>
                      </a:lnTo>
                      <a:lnTo>
                        <a:pt x="72" y="136"/>
                      </a:lnTo>
                      <a:lnTo>
                        <a:pt x="56" y="144"/>
                      </a:lnTo>
                      <a:lnTo>
                        <a:pt x="48" y="144"/>
                      </a:lnTo>
                      <a:lnTo>
                        <a:pt x="40" y="128"/>
                      </a:lnTo>
                      <a:lnTo>
                        <a:pt x="8" y="112"/>
                      </a:lnTo>
                      <a:lnTo>
                        <a:pt x="0" y="112"/>
                      </a:lnTo>
                      <a:lnTo>
                        <a:pt x="0" y="96"/>
                      </a:lnTo>
                      <a:lnTo>
                        <a:pt x="16" y="88"/>
                      </a:lnTo>
                      <a:lnTo>
                        <a:pt x="16" y="80"/>
                      </a:lnTo>
                      <a:lnTo>
                        <a:pt x="8" y="80"/>
                      </a:lnTo>
                      <a:lnTo>
                        <a:pt x="8" y="72"/>
                      </a:lnTo>
                      <a:lnTo>
                        <a:pt x="16" y="72"/>
                      </a:lnTo>
                      <a:lnTo>
                        <a:pt x="24" y="64"/>
                      </a:lnTo>
                      <a:lnTo>
                        <a:pt x="16" y="56"/>
                      </a:lnTo>
                      <a:lnTo>
                        <a:pt x="16" y="48"/>
                      </a:lnTo>
                      <a:lnTo>
                        <a:pt x="32" y="40"/>
                      </a:lnTo>
                      <a:lnTo>
                        <a:pt x="24" y="8"/>
                      </a:lnTo>
                      <a:lnTo>
                        <a:pt x="64" y="0"/>
                      </a:lnTo>
                      <a:lnTo>
                        <a:pt x="80" y="0"/>
                      </a:lnTo>
                      <a:lnTo>
                        <a:pt x="96" y="0"/>
                      </a:lnTo>
                      <a:lnTo>
                        <a:pt x="120" y="16"/>
                      </a:lnTo>
                      <a:lnTo>
                        <a:pt x="128" y="16"/>
                      </a:lnTo>
                      <a:lnTo>
                        <a:pt x="136" y="16"/>
                      </a:lnTo>
                      <a:lnTo>
                        <a:pt x="136" y="24"/>
                      </a:lnTo>
                      <a:lnTo>
                        <a:pt x="144" y="16"/>
                      </a:lnTo>
                      <a:lnTo>
                        <a:pt x="168" y="8"/>
                      </a:lnTo>
                      <a:lnTo>
                        <a:pt x="208" y="40"/>
                      </a:lnTo>
                      <a:lnTo>
                        <a:pt x="208" y="4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26" name="Freeform 35">
                  <a:extLst>
                    <a:ext uri="{FF2B5EF4-FFF2-40B4-BE49-F238E27FC236}">
                      <a16:creationId xmlns:a16="http://schemas.microsoft.com/office/drawing/2014/main" id="{CD65639D-62BF-7C24-05D1-2A779AABED0B}"/>
                    </a:ext>
                  </a:extLst>
                </p:cNvPr>
                <p:cNvSpPr/>
                <p:nvPr/>
              </p:nvSpPr>
              <p:spPr bwMode="gray">
                <a:xfrm>
                  <a:off x="2768322" y="1745424"/>
                  <a:ext cx="187123" cy="137334"/>
                </a:xfrm>
                <a:custGeom>
                  <a:avLst/>
                  <a:gdLst>
                    <a:gd name="T0" fmla="*/ 34 w 128"/>
                    <a:gd name="T1" fmla="*/ 0 h 104"/>
                    <a:gd name="T2" fmla="*/ 31 w 128"/>
                    <a:gd name="T3" fmla="*/ 0 h 104"/>
                    <a:gd name="T4" fmla="*/ 27 w 128"/>
                    <a:gd name="T5" fmla="*/ 3 h 104"/>
                    <a:gd name="T6" fmla="*/ 23 w 128"/>
                    <a:gd name="T7" fmla="*/ 3 h 104"/>
                    <a:gd name="T8" fmla="*/ 19 w 128"/>
                    <a:gd name="T9" fmla="*/ 0 h 104"/>
                    <a:gd name="T10" fmla="*/ 14 w 128"/>
                    <a:gd name="T11" fmla="*/ 0 h 104"/>
                    <a:gd name="T12" fmla="*/ 11 w 128"/>
                    <a:gd name="T13" fmla="*/ 0 h 104"/>
                    <a:gd name="T14" fmla="*/ 11 w 128"/>
                    <a:gd name="T15" fmla="*/ 3 h 104"/>
                    <a:gd name="T16" fmla="*/ 14 w 128"/>
                    <a:gd name="T17" fmla="*/ 6 h 104"/>
                    <a:gd name="T18" fmla="*/ 11 w 128"/>
                    <a:gd name="T19" fmla="*/ 6 h 104"/>
                    <a:gd name="T20" fmla="*/ 11 w 128"/>
                    <a:gd name="T21" fmla="*/ 8 h 104"/>
                    <a:gd name="T22" fmla="*/ 17 w 128"/>
                    <a:gd name="T23" fmla="*/ 8 h 104"/>
                    <a:gd name="T24" fmla="*/ 17 w 128"/>
                    <a:gd name="T25" fmla="*/ 11 h 104"/>
                    <a:gd name="T26" fmla="*/ 14 w 128"/>
                    <a:gd name="T27" fmla="*/ 11 h 104"/>
                    <a:gd name="T28" fmla="*/ 17 w 128"/>
                    <a:gd name="T29" fmla="*/ 17 h 104"/>
                    <a:gd name="T30" fmla="*/ 14 w 128"/>
                    <a:gd name="T31" fmla="*/ 17 h 104"/>
                    <a:gd name="T32" fmla="*/ 11 w 128"/>
                    <a:gd name="T33" fmla="*/ 17 h 104"/>
                    <a:gd name="T34" fmla="*/ 6 w 128"/>
                    <a:gd name="T35" fmla="*/ 14 h 104"/>
                    <a:gd name="T36" fmla="*/ 0 w 128"/>
                    <a:gd name="T37" fmla="*/ 14 h 104"/>
                    <a:gd name="T38" fmla="*/ 0 w 128"/>
                    <a:gd name="T39" fmla="*/ 17 h 104"/>
                    <a:gd name="T40" fmla="*/ 0 w 128"/>
                    <a:gd name="T41" fmla="*/ 19 h 104"/>
                    <a:gd name="T42" fmla="*/ 6 w 128"/>
                    <a:gd name="T43" fmla="*/ 22 h 104"/>
                    <a:gd name="T44" fmla="*/ 8 w 128"/>
                    <a:gd name="T45" fmla="*/ 25 h 104"/>
                    <a:gd name="T46" fmla="*/ 14 w 128"/>
                    <a:gd name="T47" fmla="*/ 25 h 104"/>
                    <a:gd name="T48" fmla="*/ 14 w 128"/>
                    <a:gd name="T49" fmla="*/ 27 h 104"/>
                    <a:gd name="T50" fmla="*/ 19 w 128"/>
                    <a:gd name="T51" fmla="*/ 27 h 104"/>
                    <a:gd name="T52" fmla="*/ 23 w 128"/>
                    <a:gd name="T53" fmla="*/ 36 h 104"/>
                    <a:gd name="T54" fmla="*/ 31 w 128"/>
                    <a:gd name="T55" fmla="*/ 36 h 104"/>
                    <a:gd name="T56" fmla="*/ 31 w 128"/>
                    <a:gd name="T57" fmla="*/ 33 h 104"/>
                    <a:gd name="T58" fmla="*/ 27 w 128"/>
                    <a:gd name="T59" fmla="*/ 33 h 104"/>
                    <a:gd name="T60" fmla="*/ 27 w 128"/>
                    <a:gd name="T61" fmla="*/ 31 h 104"/>
                    <a:gd name="T62" fmla="*/ 34 w 128"/>
                    <a:gd name="T63" fmla="*/ 33 h 104"/>
                    <a:gd name="T64" fmla="*/ 41 w 128"/>
                    <a:gd name="T65" fmla="*/ 31 h 104"/>
                    <a:gd name="T66" fmla="*/ 41 w 128"/>
                    <a:gd name="T67" fmla="*/ 27 h 104"/>
                    <a:gd name="T68" fmla="*/ 41 w 128"/>
                    <a:gd name="T69" fmla="*/ 22 h 104"/>
                    <a:gd name="T70" fmla="*/ 44 w 128"/>
                    <a:gd name="T71" fmla="*/ 19 h 104"/>
                    <a:gd name="T72" fmla="*/ 41 w 128"/>
                    <a:gd name="T73" fmla="*/ 19 h 104"/>
                    <a:gd name="T74" fmla="*/ 41 w 128"/>
                    <a:gd name="T75" fmla="*/ 17 h 104"/>
                    <a:gd name="T76" fmla="*/ 36 w 128"/>
                    <a:gd name="T77" fmla="*/ 17 h 104"/>
                    <a:gd name="T78" fmla="*/ 36 w 128"/>
                    <a:gd name="T79" fmla="*/ 14 h 104"/>
                    <a:gd name="T80" fmla="*/ 27 w 128"/>
                    <a:gd name="T81" fmla="*/ 14 h 104"/>
                    <a:gd name="T82" fmla="*/ 31 w 128"/>
                    <a:gd name="T83" fmla="*/ 11 h 104"/>
                    <a:gd name="T84" fmla="*/ 36 w 128"/>
                    <a:gd name="T85" fmla="*/ 6 h 104"/>
                    <a:gd name="T86" fmla="*/ 39 w 128"/>
                    <a:gd name="T87" fmla="*/ 3 h 104"/>
                    <a:gd name="T88" fmla="*/ 39 w 128"/>
                    <a:gd name="T89" fmla="*/ 0 h 104"/>
                    <a:gd name="T90" fmla="*/ 34 w 128"/>
                    <a:gd name="T91" fmla="*/ 0 h 104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28"/>
                    <a:gd name="T139" fmla="*/ 0 h 104"/>
                    <a:gd name="T140" fmla="*/ 128 w 128"/>
                    <a:gd name="T141" fmla="*/ 104 h 104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28" h="104">
                      <a:moveTo>
                        <a:pt x="96" y="0"/>
                      </a:moveTo>
                      <a:lnTo>
                        <a:pt x="88" y="0"/>
                      </a:lnTo>
                      <a:lnTo>
                        <a:pt x="80" y="8"/>
                      </a:lnTo>
                      <a:lnTo>
                        <a:pt x="64" y="8"/>
                      </a:lnTo>
                      <a:lnTo>
                        <a:pt x="56" y="0"/>
                      </a:ln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32" y="24"/>
                      </a:lnTo>
                      <a:lnTo>
                        <a:pt x="48" y="24"/>
                      </a:lnTo>
                      <a:lnTo>
                        <a:pt x="48" y="32"/>
                      </a:lnTo>
                      <a:lnTo>
                        <a:pt x="40" y="32"/>
                      </a:lnTo>
                      <a:lnTo>
                        <a:pt x="48" y="48"/>
                      </a:lnTo>
                      <a:lnTo>
                        <a:pt x="40" y="48"/>
                      </a:lnTo>
                      <a:lnTo>
                        <a:pt x="32" y="48"/>
                      </a:lnTo>
                      <a:lnTo>
                        <a:pt x="16" y="40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56"/>
                      </a:lnTo>
                      <a:lnTo>
                        <a:pt x="16" y="64"/>
                      </a:lnTo>
                      <a:lnTo>
                        <a:pt x="24" y="72"/>
                      </a:lnTo>
                      <a:lnTo>
                        <a:pt x="40" y="72"/>
                      </a:lnTo>
                      <a:lnTo>
                        <a:pt x="40" y="80"/>
                      </a:lnTo>
                      <a:lnTo>
                        <a:pt x="56" y="80"/>
                      </a:lnTo>
                      <a:lnTo>
                        <a:pt x="64" y="104"/>
                      </a:lnTo>
                      <a:lnTo>
                        <a:pt x="88" y="104"/>
                      </a:lnTo>
                      <a:lnTo>
                        <a:pt x="88" y="96"/>
                      </a:lnTo>
                      <a:lnTo>
                        <a:pt x="80" y="96"/>
                      </a:lnTo>
                      <a:lnTo>
                        <a:pt x="80" y="88"/>
                      </a:lnTo>
                      <a:lnTo>
                        <a:pt x="96" y="96"/>
                      </a:lnTo>
                      <a:lnTo>
                        <a:pt x="120" y="88"/>
                      </a:lnTo>
                      <a:lnTo>
                        <a:pt x="120" y="80"/>
                      </a:lnTo>
                      <a:lnTo>
                        <a:pt x="120" y="64"/>
                      </a:lnTo>
                      <a:lnTo>
                        <a:pt x="128" y="56"/>
                      </a:lnTo>
                      <a:lnTo>
                        <a:pt x="120" y="56"/>
                      </a:lnTo>
                      <a:lnTo>
                        <a:pt x="120" y="48"/>
                      </a:lnTo>
                      <a:lnTo>
                        <a:pt x="104" y="48"/>
                      </a:lnTo>
                      <a:lnTo>
                        <a:pt x="104" y="40"/>
                      </a:lnTo>
                      <a:lnTo>
                        <a:pt x="80" y="40"/>
                      </a:lnTo>
                      <a:lnTo>
                        <a:pt x="88" y="32"/>
                      </a:lnTo>
                      <a:lnTo>
                        <a:pt x="104" y="16"/>
                      </a:lnTo>
                      <a:lnTo>
                        <a:pt x="112" y="8"/>
                      </a:lnTo>
                      <a:lnTo>
                        <a:pt x="112" y="0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27" name="Freeform 36">
                  <a:extLst>
                    <a:ext uri="{FF2B5EF4-FFF2-40B4-BE49-F238E27FC236}">
                      <a16:creationId xmlns:a16="http://schemas.microsoft.com/office/drawing/2014/main" id="{B0B23A1D-D9ED-A286-D5B0-AD6947D7A0E4}"/>
                    </a:ext>
                  </a:extLst>
                </p:cNvPr>
                <p:cNvSpPr/>
                <p:nvPr/>
              </p:nvSpPr>
              <p:spPr bwMode="gray">
                <a:xfrm>
                  <a:off x="2626940" y="1745424"/>
                  <a:ext cx="70691" cy="41388"/>
                </a:xfrm>
                <a:custGeom>
                  <a:avLst/>
                  <a:gdLst>
                    <a:gd name="T0" fmla="*/ 0 w 48"/>
                    <a:gd name="T1" fmla="*/ 6 h 32"/>
                    <a:gd name="T2" fmla="*/ 6 w 48"/>
                    <a:gd name="T3" fmla="*/ 8 h 32"/>
                    <a:gd name="T4" fmla="*/ 11 w 48"/>
                    <a:gd name="T5" fmla="*/ 10 h 32"/>
                    <a:gd name="T6" fmla="*/ 14 w 48"/>
                    <a:gd name="T7" fmla="*/ 10 h 32"/>
                    <a:gd name="T8" fmla="*/ 17 w 48"/>
                    <a:gd name="T9" fmla="*/ 3 h 32"/>
                    <a:gd name="T10" fmla="*/ 14 w 48"/>
                    <a:gd name="T11" fmla="*/ 3 h 32"/>
                    <a:gd name="T12" fmla="*/ 11 w 48"/>
                    <a:gd name="T13" fmla="*/ 0 h 32"/>
                    <a:gd name="T14" fmla="*/ 3 w 48"/>
                    <a:gd name="T15" fmla="*/ 3 h 32"/>
                    <a:gd name="T16" fmla="*/ 0 w 48"/>
                    <a:gd name="T17" fmla="*/ 6 h 3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8"/>
                    <a:gd name="T28" fmla="*/ 0 h 32"/>
                    <a:gd name="T29" fmla="*/ 48 w 48"/>
                    <a:gd name="T30" fmla="*/ 32 h 3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8" h="32">
                      <a:moveTo>
                        <a:pt x="0" y="16"/>
                      </a:moveTo>
                      <a:lnTo>
                        <a:pt x="16" y="24"/>
                      </a:lnTo>
                      <a:lnTo>
                        <a:pt x="32" y="32"/>
                      </a:lnTo>
                      <a:lnTo>
                        <a:pt x="40" y="32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32" y="0"/>
                      </a:lnTo>
                      <a:lnTo>
                        <a:pt x="8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28" name="Freeform 37">
                  <a:extLst>
                    <a:ext uri="{FF2B5EF4-FFF2-40B4-BE49-F238E27FC236}">
                      <a16:creationId xmlns:a16="http://schemas.microsoft.com/office/drawing/2014/main" id="{3C15552F-C7D4-9239-ACAD-9C005E1A0658}"/>
                    </a:ext>
                  </a:extLst>
                </p:cNvPr>
                <p:cNvSpPr/>
                <p:nvPr/>
              </p:nvSpPr>
              <p:spPr bwMode="gray">
                <a:xfrm>
                  <a:off x="2965840" y="1724730"/>
                  <a:ext cx="164252" cy="126047"/>
                </a:xfrm>
                <a:custGeom>
                  <a:avLst/>
                  <a:gdLst>
                    <a:gd name="T0" fmla="*/ 6 w 112"/>
                    <a:gd name="T1" fmla="*/ 33 h 96"/>
                    <a:gd name="T2" fmla="*/ 6 w 112"/>
                    <a:gd name="T3" fmla="*/ 30 h 96"/>
                    <a:gd name="T4" fmla="*/ 11 w 112"/>
                    <a:gd name="T5" fmla="*/ 33 h 96"/>
                    <a:gd name="T6" fmla="*/ 17 w 112"/>
                    <a:gd name="T7" fmla="*/ 24 h 96"/>
                    <a:gd name="T8" fmla="*/ 11 w 112"/>
                    <a:gd name="T9" fmla="*/ 22 h 96"/>
                    <a:gd name="T10" fmla="*/ 14 w 112"/>
                    <a:gd name="T11" fmla="*/ 19 h 96"/>
                    <a:gd name="T12" fmla="*/ 17 w 112"/>
                    <a:gd name="T13" fmla="*/ 22 h 96"/>
                    <a:gd name="T14" fmla="*/ 23 w 112"/>
                    <a:gd name="T15" fmla="*/ 22 h 96"/>
                    <a:gd name="T16" fmla="*/ 25 w 112"/>
                    <a:gd name="T17" fmla="*/ 22 h 96"/>
                    <a:gd name="T18" fmla="*/ 40 w 112"/>
                    <a:gd name="T19" fmla="*/ 6 h 96"/>
                    <a:gd name="T20" fmla="*/ 40 w 112"/>
                    <a:gd name="T21" fmla="*/ 3 h 96"/>
                    <a:gd name="T22" fmla="*/ 28 w 112"/>
                    <a:gd name="T23" fmla="*/ 3 h 96"/>
                    <a:gd name="T24" fmla="*/ 25 w 112"/>
                    <a:gd name="T25" fmla="*/ 3 h 96"/>
                    <a:gd name="T26" fmla="*/ 20 w 112"/>
                    <a:gd name="T27" fmla="*/ 0 h 96"/>
                    <a:gd name="T28" fmla="*/ 14 w 112"/>
                    <a:gd name="T29" fmla="*/ 0 h 96"/>
                    <a:gd name="T30" fmla="*/ 8 w 112"/>
                    <a:gd name="T31" fmla="*/ 0 h 96"/>
                    <a:gd name="T32" fmla="*/ 3 w 112"/>
                    <a:gd name="T33" fmla="*/ 3 h 96"/>
                    <a:gd name="T34" fmla="*/ 6 w 112"/>
                    <a:gd name="T35" fmla="*/ 6 h 96"/>
                    <a:gd name="T36" fmla="*/ 3 w 112"/>
                    <a:gd name="T37" fmla="*/ 6 h 96"/>
                    <a:gd name="T38" fmla="*/ 0 w 112"/>
                    <a:gd name="T39" fmla="*/ 6 h 96"/>
                    <a:gd name="T40" fmla="*/ 3 w 112"/>
                    <a:gd name="T41" fmla="*/ 19 h 96"/>
                    <a:gd name="T42" fmla="*/ 0 w 112"/>
                    <a:gd name="T43" fmla="*/ 19 h 96"/>
                    <a:gd name="T44" fmla="*/ 3 w 112"/>
                    <a:gd name="T45" fmla="*/ 24 h 96"/>
                    <a:gd name="T46" fmla="*/ 6 w 112"/>
                    <a:gd name="T47" fmla="*/ 33 h 9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12"/>
                    <a:gd name="T73" fmla="*/ 0 h 96"/>
                    <a:gd name="T74" fmla="*/ 112 w 112"/>
                    <a:gd name="T75" fmla="*/ 96 h 9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12" h="96">
                      <a:moveTo>
                        <a:pt x="16" y="96"/>
                      </a:moveTo>
                      <a:lnTo>
                        <a:pt x="16" y="88"/>
                      </a:lnTo>
                      <a:lnTo>
                        <a:pt x="32" y="96"/>
                      </a:lnTo>
                      <a:lnTo>
                        <a:pt x="48" y="72"/>
                      </a:lnTo>
                      <a:lnTo>
                        <a:pt x="32" y="64"/>
                      </a:lnTo>
                      <a:lnTo>
                        <a:pt x="40" y="56"/>
                      </a:lnTo>
                      <a:lnTo>
                        <a:pt x="48" y="64"/>
                      </a:lnTo>
                      <a:lnTo>
                        <a:pt x="64" y="64"/>
                      </a:lnTo>
                      <a:lnTo>
                        <a:pt x="72" y="64"/>
                      </a:lnTo>
                      <a:lnTo>
                        <a:pt x="112" y="16"/>
                      </a:lnTo>
                      <a:lnTo>
                        <a:pt x="112" y="8"/>
                      </a:lnTo>
                      <a:lnTo>
                        <a:pt x="80" y="8"/>
                      </a:lnTo>
                      <a:lnTo>
                        <a:pt x="72" y="8"/>
                      </a:lnTo>
                      <a:lnTo>
                        <a:pt x="56" y="0"/>
                      </a:lnTo>
                      <a:lnTo>
                        <a:pt x="40" y="0"/>
                      </a:lnTo>
                      <a:lnTo>
                        <a:pt x="24" y="0"/>
                      </a:lnTo>
                      <a:lnTo>
                        <a:pt x="8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8" y="56"/>
                      </a:lnTo>
                      <a:lnTo>
                        <a:pt x="0" y="56"/>
                      </a:lnTo>
                      <a:lnTo>
                        <a:pt x="8" y="72"/>
                      </a:lnTo>
                      <a:lnTo>
                        <a:pt x="16" y="9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29" name="Freeform 38">
                  <a:extLst>
                    <a:ext uri="{FF2B5EF4-FFF2-40B4-BE49-F238E27FC236}">
                      <a16:creationId xmlns:a16="http://schemas.microsoft.com/office/drawing/2014/main" id="{3674ECE7-BF0E-A62C-9ECE-090115BDB0CF}"/>
                    </a:ext>
                  </a:extLst>
                </p:cNvPr>
                <p:cNvSpPr/>
                <p:nvPr/>
              </p:nvSpPr>
              <p:spPr bwMode="gray">
                <a:xfrm>
                  <a:off x="2872279" y="1734136"/>
                  <a:ext cx="35345" cy="11288"/>
                </a:xfrm>
                <a:custGeom>
                  <a:avLst/>
                  <a:gdLst>
                    <a:gd name="T0" fmla="*/ 0 w 24"/>
                    <a:gd name="T1" fmla="*/ 4 h 8"/>
                    <a:gd name="T2" fmla="*/ 3 w 24"/>
                    <a:gd name="T3" fmla="*/ 4 h 8"/>
                    <a:gd name="T4" fmla="*/ 6 w 24"/>
                    <a:gd name="T5" fmla="*/ 4 h 8"/>
                    <a:gd name="T6" fmla="*/ 9 w 24"/>
                    <a:gd name="T7" fmla="*/ 0 h 8"/>
                    <a:gd name="T8" fmla="*/ 3 w 24"/>
                    <a:gd name="T9" fmla="*/ 0 h 8"/>
                    <a:gd name="T10" fmla="*/ 0 w 24"/>
                    <a:gd name="T11" fmla="*/ 0 h 8"/>
                    <a:gd name="T12" fmla="*/ 0 w 24"/>
                    <a:gd name="T13" fmla="*/ 4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8"/>
                    <a:gd name="T23" fmla="*/ 24 w 24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30" name="Freeform 39">
                  <a:extLst>
                    <a:ext uri="{FF2B5EF4-FFF2-40B4-BE49-F238E27FC236}">
                      <a16:creationId xmlns:a16="http://schemas.microsoft.com/office/drawing/2014/main" id="{49CE5D10-95E4-97A0-379D-D3C5F8C36AB8}"/>
                    </a:ext>
                  </a:extLst>
                </p:cNvPr>
                <p:cNvSpPr/>
                <p:nvPr/>
              </p:nvSpPr>
              <p:spPr bwMode="gray">
                <a:xfrm>
                  <a:off x="3142567" y="1745424"/>
                  <a:ext cx="842052" cy="645283"/>
                </a:xfrm>
                <a:custGeom>
                  <a:avLst/>
                  <a:gdLst>
                    <a:gd name="T0" fmla="*/ 11 w 576"/>
                    <a:gd name="T1" fmla="*/ 6 h 488"/>
                    <a:gd name="T2" fmla="*/ 0 w 576"/>
                    <a:gd name="T3" fmla="*/ 25 h 488"/>
                    <a:gd name="T4" fmla="*/ 17 w 576"/>
                    <a:gd name="T5" fmla="*/ 39 h 488"/>
                    <a:gd name="T6" fmla="*/ 3 w 576"/>
                    <a:gd name="T7" fmla="*/ 39 h 488"/>
                    <a:gd name="T8" fmla="*/ 19 w 576"/>
                    <a:gd name="T9" fmla="*/ 50 h 488"/>
                    <a:gd name="T10" fmla="*/ 36 w 576"/>
                    <a:gd name="T11" fmla="*/ 50 h 488"/>
                    <a:gd name="T12" fmla="*/ 56 w 576"/>
                    <a:gd name="T13" fmla="*/ 56 h 488"/>
                    <a:gd name="T14" fmla="*/ 56 w 576"/>
                    <a:gd name="T15" fmla="*/ 50 h 488"/>
                    <a:gd name="T16" fmla="*/ 67 w 576"/>
                    <a:gd name="T17" fmla="*/ 50 h 488"/>
                    <a:gd name="T18" fmla="*/ 72 w 576"/>
                    <a:gd name="T19" fmla="*/ 44 h 488"/>
                    <a:gd name="T20" fmla="*/ 86 w 576"/>
                    <a:gd name="T21" fmla="*/ 53 h 488"/>
                    <a:gd name="T22" fmla="*/ 92 w 576"/>
                    <a:gd name="T23" fmla="*/ 67 h 488"/>
                    <a:gd name="T24" fmla="*/ 105 w 576"/>
                    <a:gd name="T25" fmla="*/ 67 h 488"/>
                    <a:gd name="T26" fmla="*/ 120 w 576"/>
                    <a:gd name="T27" fmla="*/ 77 h 488"/>
                    <a:gd name="T28" fmla="*/ 117 w 576"/>
                    <a:gd name="T29" fmla="*/ 92 h 488"/>
                    <a:gd name="T30" fmla="*/ 108 w 576"/>
                    <a:gd name="T31" fmla="*/ 111 h 488"/>
                    <a:gd name="T32" fmla="*/ 86 w 576"/>
                    <a:gd name="T33" fmla="*/ 114 h 488"/>
                    <a:gd name="T34" fmla="*/ 94 w 576"/>
                    <a:gd name="T35" fmla="*/ 134 h 488"/>
                    <a:gd name="T36" fmla="*/ 108 w 576"/>
                    <a:gd name="T37" fmla="*/ 125 h 488"/>
                    <a:gd name="T38" fmla="*/ 122 w 576"/>
                    <a:gd name="T39" fmla="*/ 139 h 488"/>
                    <a:gd name="T40" fmla="*/ 131 w 576"/>
                    <a:gd name="T41" fmla="*/ 150 h 488"/>
                    <a:gd name="T42" fmla="*/ 148 w 576"/>
                    <a:gd name="T43" fmla="*/ 167 h 488"/>
                    <a:gd name="T44" fmla="*/ 159 w 576"/>
                    <a:gd name="T45" fmla="*/ 159 h 488"/>
                    <a:gd name="T46" fmla="*/ 153 w 576"/>
                    <a:gd name="T47" fmla="*/ 144 h 488"/>
                    <a:gd name="T48" fmla="*/ 172 w 576"/>
                    <a:gd name="T49" fmla="*/ 159 h 488"/>
                    <a:gd name="T50" fmla="*/ 175 w 576"/>
                    <a:gd name="T51" fmla="*/ 144 h 488"/>
                    <a:gd name="T52" fmla="*/ 175 w 576"/>
                    <a:gd name="T53" fmla="*/ 131 h 488"/>
                    <a:gd name="T54" fmla="*/ 155 w 576"/>
                    <a:gd name="T55" fmla="*/ 111 h 488"/>
                    <a:gd name="T56" fmla="*/ 159 w 576"/>
                    <a:gd name="T57" fmla="*/ 100 h 488"/>
                    <a:gd name="T58" fmla="*/ 175 w 576"/>
                    <a:gd name="T59" fmla="*/ 100 h 488"/>
                    <a:gd name="T60" fmla="*/ 181 w 576"/>
                    <a:gd name="T61" fmla="*/ 117 h 488"/>
                    <a:gd name="T62" fmla="*/ 189 w 576"/>
                    <a:gd name="T63" fmla="*/ 111 h 488"/>
                    <a:gd name="T64" fmla="*/ 198 w 576"/>
                    <a:gd name="T65" fmla="*/ 89 h 488"/>
                    <a:gd name="T66" fmla="*/ 186 w 576"/>
                    <a:gd name="T67" fmla="*/ 84 h 488"/>
                    <a:gd name="T68" fmla="*/ 175 w 576"/>
                    <a:gd name="T69" fmla="*/ 75 h 488"/>
                    <a:gd name="T70" fmla="*/ 145 w 576"/>
                    <a:gd name="T71" fmla="*/ 67 h 488"/>
                    <a:gd name="T72" fmla="*/ 161 w 576"/>
                    <a:gd name="T73" fmla="*/ 61 h 488"/>
                    <a:gd name="T74" fmla="*/ 150 w 576"/>
                    <a:gd name="T75" fmla="*/ 53 h 488"/>
                    <a:gd name="T76" fmla="*/ 142 w 576"/>
                    <a:gd name="T77" fmla="*/ 41 h 488"/>
                    <a:gd name="T78" fmla="*/ 134 w 576"/>
                    <a:gd name="T79" fmla="*/ 41 h 488"/>
                    <a:gd name="T80" fmla="*/ 128 w 576"/>
                    <a:gd name="T81" fmla="*/ 31 h 488"/>
                    <a:gd name="T82" fmla="*/ 114 w 576"/>
                    <a:gd name="T83" fmla="*/ 36 h 488"/>
                    <a:gd name="T84" fmla="*/ 105 w 576"/>
                    <a:gd name="T85" fmla="*/ 33 h 488"/>
                    <a:gd name="T86" fmla="*/ 103 w 576"/>
                    <a:gd name="T87" fmla="*/ 25 h 488"/>
                    <a:gd name="T88" fmla="*/ 84 w 576"/>
                    <a:gd name="T89" fmla="*/ 17 h 488"/>
                    <a:gd name="T90" fmla="*/ 78 w 576"/>
                    <a:gd name="T91" fmla="*/ 27 h 488"/>
                    <a:gd name="T92" fmla="*/ 67 w 576"/>
                    <a:gd name="T93" fmla="*/ 25 h 488"/>
                    <a:gd name="T94" fmla="*/ 64 w 576"/>
                    <a:gd name="T95" fmla="*/ 11 h 488"/>
                    <a:gd name="T96" fmla="*/ 56 w 576"/>
                    <a:gd name="T97" fmla="*/ 0 h 488"/>
                    <a:gd name="T98" fmla="*/ 39 w 576"/>
                    <a:gd name="T99" fmla="*/ 8 h 488"/>
                    <a:gd name="T100" fmla="*/ 36 w 576"/>
                    <a:gd name="T101" fmla="*/ 22 h 488"/>
                    <a:gd name="T102" fmla="*/ 34 w 576"/>
                    <a:gd name="T103" fmla="*/ 36 h 488"/>
                    <a:gd name="T104" fmla="*/ 34 w 576"/>
                    <a:gd name="T105" fmla="*/ 8 h 48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76"/>
                    <a:gd name="T160" fmla="*/ 0 h 488"/>
                    <a:gd name="T161" fmla="*/ 576 w 576"/>
                    <a:gd name="T162" fmla="*/ 488 h 48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76" h="488">
                      <a:moveTo>
                        <a:pt x="96" y="0"/>
                      </a:moveTo>
                      <a:lnTo>
                        <a:pt x="88" y="0"/>
                      </a:lnTo>
                      <a:lnTo>
                        <a:pt x="80" y="0"/>
                      </a:lnTo>
                      <a:lnTo>
                        <a:pt x="64" y="0"/>
                      </a:lnTo>
                      <a:lnTo>
                        <a:pt x="32" y="16"/>
                      </a:lnTo>
                      <a:lnTo>
                        <a:pt x="16" y="32"/>
                      </a:lnTo>
                      <a:lnTo>
                        <a:pt x="16" y="48"/>
                      </a:lnTo>
                      <a:lnTo>
                        <a:pt x="0" y="56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0" y="80"/>
                      </a:lnTo>
                      <a:lnTo>
                        <a:pt x="0" y="88"/>
                      </a:lnTo>
                      <a:lnTo>
                        <a:pt x="8" y="104"/>
                      </a:lnTo>
                      <a:lnTo>
                        <a:pt x="32" y="104"/>
                      </a:lnTo>
                      <a:lnTo>
                        <a:pt x="48" y="112"/>
                      </a:lnTo>
                      <a:lnTo>
                        <a:pt x="56" y="112"/>
                      </a:lnTo>
                      <a:lnTo>
                        <a:pt x="40" y="112"/>
                      </a:lnTo>
                      <a:lnTo>
                        <a:pt x="32" y="112"/>
                      </a:lnTo>
                      <a:lnTo>
                        <a:pt x="16" y="112"/>
                      </a:lnTo>
                      <a:lnTo>
                        <a:pt x="8" y="112"/>
                      </a:lnTo>
                      <a:lnTo>
                        <a:pt x="16" y="120"/>
                      </a:lnTo>
                      <a:lnTo>
                        <a:pt x="24" y="128"/>
                      </a:lnTo>
                      <a:lnTo>
                        <a:pt x="32" y="136"/>
                      </a:lnTo>
                      <a:lnTo>
                        <a:pt x="48" y="144"/>
                      </a:lnTo>
                      <a:lnTo>
                        <a:pt x="56" y="144"/>
                      </a:lnTo>
                      <a:lnTo>
                        <a:pt x="64" y="136"/>
                      </a:lnTo>
                      <a:lnTo>
                        <a:pt x="72" y="136"/>
                      </a:lnTo>
                      <a:lnTo>
                        <a:pt x="80" y="144"/>
                      </a:lnTo>
                      <a:lnTo>
                        <a:pt x="88" y="152"/>
                      </a:lnTo>
                      <a:lnTo>
                        <a:pt x="104" y="144"/>
                      </a:lnTo>
                      <a:lnTo>
                        <a:pt x="112" y="144"/>
                      </a:lnTo>
                      <a:lnTo>
                        <a:pt x="128" y="152"/>
                      </a:lnTo>
                      <a:lnTo>
                        <a:pt x="136" y="152"/>
                      </a:lnTo>
                      <a:lnTo>
                        <a:pt x="144" y="152"/>
                      </a:lnTo>
                      <a:lnTo>
                        <a:pt x="160" y="160"/>
                      </a:lnTo>
                      <a:lnTo>
                        <a:pt x="160" y="152"/>
                      </a:lnTo>
                      <a:lnTo>
                        <a:pt x="152" y="152"/>
                      </a:lnTo>
                      <a:lnTo>
                        <a:pt x="144" y="144"/>
                      </a:lnTo>
                      <a:lnTo>
                        <a:pt x="152" y="144"/>
                      </a:lnTo>
                      <a:lnTo>
                        <a:pt x="160" y="144"/>
                      </a:lnTo>
                      <a:lnTo>
                        <a:pt x="168" y="152"/>
                      </a:lnTo>
                      <a:lnTo>
                        <a:pt x="176" y="160"/>
                      </a:lnTo>
                      <a:lnTo>
                        <a:pt x="184" y="152"/>
                      </a:lnTo>
                      <a:lnTo>
                        <a:pt x="176" y="152"/>
                      </a:lnTo>
                      <a:lnTo>
                        <a:pt x="192" y="144"/>
                      </a:lnTo>
                      <a:lnTo>
                        <a:pt x="208" y="152"/>
                      </a:lnTo>
                      <a:lnTo>
                        <a:pt x="224" y="152"/>
                      </a:lnTo>
                      <a:lnTo>
                        <a:pt x="232" y="144"/>
                      </a:lnTo>
                      <a:lnTo>
                        <a:pt x="208" y="136"/>
                      </a:lnTo>
                      <a:lnTo>
                        <a:pt x="208" y="128"/>
                      </a:lnTo>
                      <a:lnTo>
                        <a:pt x="224" y="128"/>
                      </a:lnTo>
                      <a:lnTo>
                        <a:pt x="232" y="136"/>
                      </a:lnTo>
                      <a:lnTo>
                        <a:pt x="240" y="136"/>
                      </a:lnTo>
                      <a:lnTo>
                        <a:pt x="248" y="144"/>
                      </a:lnTo>
                      <a:lnTo>
                        <a:pt x="248" y="152"/>
                      </a:lnTo>
                      <a:lnTo>
                        <a:pt x="256" y="160"/>
                      </a:lnTo>
                      <a:lnTo>
                        <a:pt x="264" y="168"/>
                      </a:lnTo>
                      <a:lnTo>
                        <a:pt x="288" y="176"/>
                      </a:lnTo>
                      <a:lnTo>
                        <a:pt x="288" y="184"/>
                      </a:lnTo>
                      <a:lnTo>
                        <a:pt x="264" y="192"/>
                      </a:lnTo>
                      <a:lnTo>
                        <a:pt x="280" y="200"/>
                      </a:lnTo>
                      <a:lnTo>
                        <a:pt x="288" y="192"/>
                      </a:lnTo>
                      <a:lnTo>
                        <a:pt x="296" y="184"/>
                      </a:lnTo>
                      <a:lnTo>
                        <a:pt x="312" y="184"/>
                      </a:lnTo>
                      <a:lnTo>
                        <a:pt x="304" y="192"/>
                      </a:lnTo>
                      <a:lnTo>
                        <a:pt x="312" y="200"/>
                      </a:lnTo>
                      <a:lnTo>
                        <a:pt x="328" y="200"/>
                      </a:lnTo>
                      <a:lnTo>
                        <a:pt x="328" y="208"/>
                      </a:lnTo>
                      <a:lnTo>
                        <a:pt x="344" y="216"/>
                      </a:lnTo>
                      <a:lnTo>
                        <a:pt x="344" y="224"/>
                      </a:lnTo>
                      <a:lnTo>
                        <a:pt x="344" y="232"/>
                      </a:lnTo>
                      <a:lnTo>
                        <a:pt x="352" y="232"/>
                      </a:lnTo>
                      <a:lnTo>
                        <a:pt x="352" y="256"/>
                      </a:lnTo>
                      <a:lnTo>
                        <a:pt x="344" y="256"/>
                      </a:lnTo>
                      <a:lnTo>
                        <a:pt x="336" y="264"/>
                      </a:lnTo>
                      <a:lnTo>
                        <a:pt x="312" y="288"/>
                      </a:lnTo>
                      <a:lnTo>
                        <a:pt x="312" y="304"/>
                      </a:lnTo>
                      <a:lnTo>
                        <a:pt x="328" y="312"/>
                      </a:lnTo>
                      <a:lnTo>
                        <a:pt x="328" y="328"/>
                      </a:lnTo>
                      <a:lnTo>
                        <a:pt x="312" y="320"/>
                      </a:lnTo>
                      <a:lnTo>
                        <a:pt x="296" y="328"/>
                      </a:lnTo>
                      <a:lnTo>
                        <a:pt x="272" y="336"/>
                      </a:lnTo>
                      <a:lnTo>
                        <a:pt x="264" y="328"/>
                      </a:lnTo>
                      <a:lnTo>
                        <a:pt x="256" y="320"/>
                      </a:lnTo>
                      <a:lnTo>
                        <a:pt x="248" y="328"/>
                      </a:lnTo>
                      <a:lnTo>
                        <a:pt x="248" y="336"/>
                      </a:lnTo>
                      <a:lnTo>
                        <a:pt x="232" y="352"/>
                      </a:lnTo>
                      <a:lnTo>
                        <a:pt x="232" y="368"/>
                      </a:lnTo>
                      <a:lnTo>
                        <a:pt x="248" y="376"/>
                      </a:lnTo>
                      <a:lnTo>
                        <a:pt x="272" y="384"/>
                      </a:lnTo>
                      <a:lnTo>
                        <a:pt x="280" y="360"/>
                      </a:lnTo>
                      <a:lnTo>
                        <a:pt x="288" y="360"/>
                      </a:lnTo>
                      <a:lnTo>
                        <a:pt x="304" y="376"/>
                      </a:lnTo>
                      <a:lnTo>
                        <a:pt x="312" y="376"/>
                      </a:lnTo>
                      <a:lnTo>
                        <a:pt x="312" y="360"/>
                      </a:lnTo>
                      <a:lnTo>
                        <a:pt x="320" y="360"/>
                      </a:lnTo>
                      <a:lnTo>
                        <a:pt x="320" y="368"/>
                      </a:lnTo>
                      <a:lnTo>
                        <a:pt x="336" y="368"/>
                      </a:lnTo>
                      <a:lnTo>
                        <a:pt x="336" y="392"/>
                      </a:lnTo>
                      <a:lnTo>
                        <a:pt x="352" y="400"/>
                      </a:lnTo>
                      <a:lnTo>
                        <a:pt x="368" y="408"/>
                      </a:lnTo>
                      <a:lnTo>
                        <a:pt x="368" y="416"/>
                      </a:lnTo>
                      <a:lnTo>
                        <a:pt x="360" y="416"/>
                      </a:lnTo>
                      <a:lnTo>
                        <a:pt x="368" y="432"/>
                      </a:lnTo>
                      <a:lnTo>
                        <a:pt x="376" y="432"/>
                      </a:lnTo>
                      <a:lnTo>
                        <a:pt x="392" y="448"/>
                      </a:lnTo>
                      <a:lnTo>
                        <a:pt x="400" y="448"/>
                      </a:lnTo>
                      <a:lnTo>
                        <a:pt x="408" y="448"/>
                      </a:lnTo>
                      <a:lnTo>
                        <a:pt x="408" y="464"/>
                      </a:lnTo>
                      <a:lnTo>
                        <a:pt x="424" y="480"/>
                      </a:lnTo>
                      <a:lnTo>
                        <a:pt x="440" y="480"/>
                      </a:lnTo>
                      <a:lnTo>
                        <a:pt x="472" y="488"/>
                      </a:lnTo>
                      <a:lnTo>
                        <a:pt x="480" y="480"/>
                      </a:lnTo>
                      <a:lnTo>
                        <a:pt x="472" y="464"/>
                      </a:lnTo>
                      <a:lnTo>
                        <a:pt x="456" y="456"/>
                      </a:lnTo>
                      <a:lnTo>
                        <a:pt x="440" y="440"/>
                      </a:lnTo>
                      <a:lnTo>
                        <a:pt x="424" y="408"/>
                      </a:lnTo>
                      <a:lnTo>
                        <a:pt x="424" y="400"/>
                      </a:lnTo>
                      <a:lnTo>
                        <a:pt x="432" y="400"/>
                      </a:lnTo>
                      <a:lnTo>
                        <a:pt x="440" y="416"/>
                      </a:lnTo>
                      <a:lnTo>
                        <a:pt x="448" y="408"/>
                      </a:lnTo>
                      <a:lnTo>
                        <a:pt x="456" y="424"/>
                      </a:lnTo>
                      <a:lnTo>
                        <a:pt x="472" y="416"/>
                      </a:lnTo>
                      <a:lnTo>
                        <a:pt x="480" y="440"/>
                      </a:lnTo>
                      <a:lnTo>
                        <a:pt x="496" y="456"/>
                      </a:lnTo>
                      <a:lnTo>
                        <a:pt x="504" y="456"/>
                      </a:lnTo>
                      <a:lnTo>
                        <a:pt x="504" y="440"/>
                      </a:lnTo>
                      <a:lnTo>
                        <a:pt x="512" y="432"/>
                      </a:lnTo>
                      <a:lnTo>
                        <a:pt x="504" y="424"/>
                      </a:lnTo>
                      <a:lnTo>
                        <a:pt x="504" y="416"/>
                      </a:lnTo>
                      <a:lnTo>
                        <a:pt x="520" y="416"/>
                      </a:lnTo>
                      <a:lnTo>
                        <a:pt x="520" y="408"/>
                      </a:lnTo>
                      <a:lnTo>
                        <a:pt x="504" y="392"/>
                      </a:lnTo>
                      <a:lnTo>
                        <a:pt x="504" y="384"/>
                      </a:lnTo>
                      <a:lnTo>
                        <a:pt x="504" y="376"/>
                      </a:lnTo>
                      <a:lnTo>
                        <a:pt x="488" y="352"/>
                      </a:lnTo>
                      <a:lnTo>
                        <a:pt x="472" y="352"/>
                      </a:lnTo>
                      <a:lnTo>
                        <a:pt x="456" y="336"/>
                      </a:lnTo>
                      <a:lnTo>
                        <a:pt x="456" y="328"/>
                      </a:lnTo>
                      <a:lnTo>
                        <a:pt x="448" y="320"/>
                      </a:lnTo>
                      <a:lnTo>
                        <a:pt x="432" y="304"/>
                      </a:lnTo>
                      <a:lnTo>
                        <a:pt x="440" y="288"/>
                      </a:lnTo>
                      <a:lnTo>
                        <a:pt x="448" y="304"/>
                      </a:lnTo>
                      <a:lnTo>
                        <a:pt x="456" y="296"/>
                      </a:lnTo>
                      <a:lnTo>
                        <a:pt x="456" y="288"/>
                      </a:lnTo>
                      <a:lnTo>
                        <a:pt x="448" y="272"/>
                      </a:lnTo>
                      <a:lnTo>
                        <a:pt x="464" y="264"/>
                      </a:lnTo>
                      <a:lnTo>
                        <a:pt x="480" y="280"/>
                      </a:lnTo>
                      <a:lnTo>
                        <a:pt x="480" y="288"/>
                      </a:lnTo>
                      <a:lnTo>
                        <a:pt x="504" y="288"/>
                      </a:lnTo>
                      <a:lnTo>
                        <a:pt x="504" y="296"/>
                      </a:lnTo>
                      <a:lnTo>
                        <a:pt x="496" y="312"/>
                      </a:lnTo>
                      <a:lnTo>
                        <a:pt x="504" y="328"/>
                      </a:lnTo>
                      <a:lnTo>
                        <a:pt x="512" y="336"/>
                      </a:lnTo>
                      <a:lnTo>
                        <a:pt x="520" y="336"/>
                      </a:lnTo>
                      <a:lnTo>
                        <a:pt x="536" y="352"/>
                      </a:lnTo>
                      <a:lnTo>
                        <a:pt x="536" y="336"/>
                      </a:lnTo>
                      <a:lnTo>
                        <a:pt x="536" y="320"/>
                      </a:lnTo>
                      <a:lnTo>
                        <a:pt x="536" y="312"/>
                      </a:lnTo>
                      <a:lnTo>
                        <a:pt x="544" y="320"/>
                      </a:lnTo>
                      <a:lnTo>
                        <a:pt x="560" y="312"/>
                      </a:lnTo>
                      <a:lnTo>
                        <a:pt x="552" y="280"/>
                      </a:lnTo>
                      <a:lnTo>
                        <a:pt x="576" y="280"/>
                      </a:lnTo>
                      <a:lnTo>
                        <a:pt x="576" y="256"/>
                      </a:lnTo>
                      <a:lnTo>
                        <a:pt x="568" y="256"/>
                      </a:lnTo>
                      <a:lnTo>
                        <a:pt x="568" y="248"/>
                      </a:lnTo>
                      <a:lnTo>
                        <a:pt x="560" y="248"/>
                      </a:lnTo>
                      <a:lnTo>
                        <a:pt x="536" y="256"/>
                      </a:lnTo>
                      <a:lnTo>
                        <a:pt x="544" y="248"/>
                      </a:lnTo>
                      <a:lnTo>
                        <a:pt x="536" y="240"/>
                      </a:lnTo>
                      <a:lnTo>
                        <a:pt x="512" y="248"/>
                      </a:lnTo>
                      <a:lnTo>
                        <a:pt x="520" y="232"/>
                      </a:lnTo>
                      <a:lnTo>
                        <a:pt x="512" y="232"/>
                      </a:lnTo>
                      <a:lnTo>
                        <a:pt x="504" y="224"/>
                      </a:lnTo>
                      <a:lnTo>
                        <a:pt x="504" y="216"/>
                      </a:lnTo>
                      <a:lnTo>
                        <a:pt x="488" y="224"/>
                      </a:lnTo>
                      <a:lnTo>
                        <a:pt x="472" y="224"/>
                      </a:lnTo>
                      <a:lnTo>
                        <a:pt x="464" y="208"/>
                      </a:lnTo>
                      <a:lnTo>
                        <a:pt x="440" y="200"/>
                      </a:lnTo>
                      <a:lnTo>
                        <a:pt x="416" y="192"/>
                      </a:lnTo>
                      <a:lnTo>
                        <a:pt x="440" y="192"/>
                      </a:lnTo>
                      <a:lnTo>
                        <a:pt x="448" y="184"/>
                      </a:lnTo>
                      <a:lnTo>
                        <a:pt x="440" y="184"/>
                      </a:lnTo>
                      <a:lnTo>
                        <a:pt x="472" y="176"/>
                      </a:lnTo>
                      <a:lnTo>
                        <a:pt x="464" y="176"/>
                      </a:lnTo>
                      <a:lnTo>
                        <a:pt x="440" y="168"/>
                      </a:lnTo>
                      <a:lnTo>
                        <a:pt x="448" y="160"/>
                      </a:lnTo>
                      <a:lnTo>
                        <a:pt x="456" y="160"/>
                      </a:lnTo>
                      <a:lnTo>
                        <a:pt x="440" y="144"/>
                      </a:lnTo>
                      <a:lnTo>
                        <a:pt x="432" y="152"/>
                      </a:lnTo>
                      <a:lnTo>
                        <a:pt x="416" y="152"/>
                      </a:lnTo>
                      <a:lnTo>
                        <a:pt x="400" y="144"/>
                      </a:lnTo>
                      <a:lnTo>
                        <a:pt x="416" y="144"/>
                      </a:lnTo>
                      <a:lnTo>
                        <a:pt x="432" y="128"/>
                      </a:lnTo>
                      <a:lnTo>
                        <a:pt x="408" y="120"/>
                      </a:lnTo>
                      <a:lnTo>
                        <a:pt x="392" y="120"/>
                      </a:lnTo>
                      <a:lnTo>
                        <a:pt x="384" y="136"/>
                      </a:lnTo>
                      <a:lnTo>
                        <a:pt x="376" y="136"/>
                      </a:lnTo>
                      <a:lnTo>
                        <a:pt x="376" y="128"/>
                      </a:lnTo>
                      <a:lnTo>
                        <a:pt x="384" y="120"/>
                      </a:lnTo>
                      <a:lnTo>
                        <a:pt x="368" y="128"/>
                      </a:lnTo>
                      <a:lnTo>
                        <a:pt x="360" y="120"/>
                      </a:lnTo>
                      <a:lnTo>
                        <a:pt x="384" y="112"/>
                      </a:lnTo>
                      <a:lnTo>
                        <a:pt x="376" y="96"/>
                      </a:lnTo>
                      <a:lnTo>
                        <a:pt x="368" y="88"/>
                      </a:lnTo>
                      <a:lnTo>
                        <a:pt x="352" y="88"/>
                      </a:lnTo>
                      <a:lnTo>
                        <a:pt x="344" y="96"/>
                      </a:lnTo>
                      <a:lnTo>
                        <a:pt x="336" y="104"/>
                      </a:lnTo>
                      <a:lnTo>
                        <a:pt x="336" y="96"/>
                      </a:lnTo>
                      <a:lnTo>
                        <a:pt x="328" y="104"/>
                      </a:lnTo>
                      <a:lnTo>
                        <a:pt x="320" y="96"/>
                      </a:lnTo>
                      <a:lnTo>
                        <a:pt x="328" y="88"/>
                      </a:lnTo>
                      <a:lnTo>
                        <a:pt x="320" y="88"/>
                      </a:lnTo>
                      <a:lnTo>
                        <a:pt x="312" y="96"/>
                      </a:lnTo>
                      <a:lnTo>
                        <a:pt x="304" y="96"/>
                      </a:lnTo>
                      <a:lnTo>
                        <a:pt x="304" y="88"/>
                      </a:lnTo>
                      <a:lnTo>
                        <a:pt x="320" y="72"/>
                      </a:lnTo>
                      <a:lnTo>
                        <a:pt x="312" y="72"/>
                      </a:lnTo>
                      <a:lnTo>
                        <a:pt x="304" y="80"/>
                      </a:lnTo>
                      <a:lnTo>
                        <a:pt x="296" y="72"/>
                      </a:lnTo>
                      <a:lnTo>
                        <a:pt x="304" y="56"/>
                      </a:lnTo>
                      <a:lnTo>
                        <a:pt x="280" y="48"/>
                      </a:lnTo>
                      <a:lnTo>
                        <a:pt x="272" y="48"/>
                      </a:lnTo>
                      <a:lnTo>
                        <a:pt x="264" y="48"/>
                      </a:lnTo>
                      <a:lnTo>
                        <a:pt x="240" y="48"/>
                      </a:lnTo>
                      <a:lnTo>
                        <a:pt x="232" y="56"/>
                      </a:lnTo>
                      <a:lnTo>
                        <a:pt x="248" y="64"/>
                      </a:lnTo>
                      <a:lnTo>
                        <a:pt x="240" y="64"/>
                      </a:lnTo>
                      <a:lnTo>
                        <a:pt x="232" y="80"/>
                      </a:lnTo>
                      <a:lnTo>
                        <a:pt x="224" y="80"/>
                      </a:lnTo>
                      <a:lnTo>
                        <a:pt x="216" y="72"/>
                      </a:lnTo>
                      <a:lnTo>
                        <a:pt x="216" y="64"/>
                      </a:lnTo>
                      <a:lnTo>
                        <a:pt x="200" y="64"/>
                      </a:lnTo>
                      <a:lnTo>
                        <a:pt x="192" y="64"/>
                      </a:lnTo>
                      <a:lnTo>
                        <a:pt x="192" y="72"/>
                      </a:lnTo>
                      <a:lnTo>
                        <a:pt x="184" y="72"/>
                      </a:lnTo>
                      <a:lnTo>
                        <a:pt x="184" y="56"/>
                      </a:lnTo>
                      <a:lnTo>
                        <a:pt x="192" y="48"/>
                      </a:lnTo>
                      <a:lnTo>
                        <a:pt x="192" y="40"/>
                      </a:lnTo>
                      <a:lnTo>
                        <a:pt x="184" y="32"/>
                      </a:lnTo>
                      <a:lnTo>
                        <a:pt x="184" y="24"/>
                      </a:lnTo>
                      <a:lnTo>
                        <a:pt x="176" y="16"/>
                      </a:lnTo>
                      <a:lnTo>
                        <a:pt x="176" y="8"/>
                      </a:lnTo>
                      <a:lnTo>
                        <a:pt x="168" y="0"/>
                      </a:lnTo>
                      <a:lnTo>
                        <a:pt x="160" y="0"/>
                      </a:lnTo>
                      <a:lnTo>
                        <a:pt x="128" y="8"/>
                      </a:lnTo>
                      <a:lnTo>
                        <a:pt x="128" y="16"/>
                      </a:lnTo>
                      <a:lnTo>
                        <a:pt x="120" y="16"/>
                      </a:lnTo>
                      <a:lnTo>
                        <a:pt x="104" y="24"/>
                      </a:lnTo>
                      <a:lnTo>
                        <a:pt x="112" y="24"/>
                      </a:lnTo>
                      <a:lnTo>
                        <a:pt x="96" y="32"/>
                      </a:lnTo>
                      <a:lnTo>
                        <a:pt x="96" y="56"/>
                      </a:lnTo>
                      <a:lnTo>
                        <a:pt x="120" y="64"/>
                      </a:lnTo>
                      <a:lnTo>
                        <a:pt x="112" y="64"/>
                      </a:lnTo>
                      <a:lnTo>
                        <a:pt x="104" y="64"/>
                      </a:lnTo>
                      <a:lnTo>
                        <a:pt x="88" y="64"/>
                      </a:lnTo>
                      <a:lnTo>
                        <a:pt x="96" y="80"/>
                      </a:lnTo>
                      <a:lnTo>
                        <a:pt x="104" y="96"/>
                      </a:lnTo>
                      <a:lnTo>
                        <a:pt x="104" y="104"/>
                      </a:lnTo>
                      <a:lnTo>
                        <a:pt x="96" y="104"/>
                      </a:lnTo>
                      <a:lnTo>
                        <a:pt x="96" y="88"/>
                      </a:lnTo>
                      <a:lnTo>
                        <a:pt x="72" y="80"/>
                      </a:lnTo>
                      <a:lnTo>
                        <a:pt x="72" y="48"/>
                      </a:lnTo>
                      <a:lnTo>
                        <a:pt x="72" y="40"/>
                      </a:lnTo>
                      <a:lnTo>
                        <a:pt x="96" y="24"/>
                      </a:lnTo>
                      <a:lnTo>
                        <a:pt x="96" y="16"/>
                      </a:lnTo>
                      <a:lnTo>
                        <a:pt x="104" y="8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31" name="Freeform 40">
                  <a:extLst>
                    <a:ext uri="{FF2B5EF4-FFF2-40B4-BE49-F238E27FC236}">
                      <a16:creationId xmlns:a16="http://schemas.microsoft.com/office/drawing/2014/main" id="{A9543D96-08F1-6468-B528-23C4E32E2613}"/>
                    </a:ext>
                  </a:extLst>
                </p:cNvPr>
                <p:cNvSpPr/>
                <p:nvPr/>
              </p:nvSpPr>
              <p:spPr bwMode="gray">
                <a:xfrm>
                  <a:off x="3423251" y="1754830"/>
                  <a:ext cx="139302" cy="54557"/>
                </a:xfrm>
                <a:custGeom>
                  <a:avLst/>
                  <a:gdLst>
                    <a:gd name="T0" fmla="*/ 0 w 96"/>
                    <a:gd name="T1" fmla="*/ 0 h 40"/>
                    <a:gd name="T2" fmla="*/ 0 w 96"/>
                    <a:gd name="T3" fmla="*/ 3 h 40"/>
                    <a:gd name="T4" fmla="*/ 3 w 96"/>
                    <a:gd name="T5" fmla="*/ 7 h 40"/>
                    <a:gd name="T6" fmla="*/ 3 w 96"/>
                    <a:gd name="T7" fmla="*/ 15 h 40"/>
                    <a:gd name="T8" fmla="*/ 6 w 96"/>
                    <a:gd name="T9" fmla="*/ 15 h 40"/>
                    <a:gd name="T10" fmla="*/ 10 w 96"/>
                    <a:gd name="T11" fmla="*/ 15 h 40"/>
                    <a:gd name="T12" fmla="*/ 10 w 96"/>
                    <a:gd name="T13" fmla="*/ 12 h 40"/>
                    <a:gd name="T14" fmla="*/ 22 w 96"/>
                    <a:gd name="T15" fmla="*/ 12 h 40"/>
                    <a:gd name="T16" fmla="*/ 30 w 96"/>
                    <a:gd name="T17" fmla="*/ 15 h 40"/>
                    <a:gd name="T18" fmla="*/ 33 w 96"/>
                    <a:gd name="T19" fmla="*/ 12 h 40"/>
                    <a:gd name="T20" fmla="*/ 27 w 96"/>
                    <a:gd name="T21" fmla="*/ 9 h 40"/>
                    <a:gd name="T22" fmla="*/ 27 w 96"/>
                    <a:gd name="T23" fmla="*/ 7 h 40"/>
                    <a:gd name="T24" fmla="*/ 24 w 96"/>
                    <a:gd name="T25" fmla="*/ 3 h 40"/>
                    <a:gd name="T26" fmla="*/ 22 w 96"/>
                    <a:gd name="T27" fmla="*/ 3 h 40"/>
                    <a:gd name="T28" fmla="*/ 14 w 96"/>
                    <a:gd name="T29" fmla="*/ 0 h 40"/>
                    <a:gd name="T30" fmla="*/ 6 w 96"/>
                    <a:gd name="T31" fmla="*/ 0 h 40"/>
                    <a:gd name="T32" fmla="*/ 3 w 96"/>
                    <a:gd name="T33" fmla="*/ 0 h 40"/>
                    <a:gd name="T34" fmla="*/ 0 w 96"/>
                    <a:gd name="T35" fmla="*/ 0 h 4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96"/>
                    <a:gd name="T55" fmla="*/ 0 h 40"/>
                    <a:gd name="T56" fmla="*/ 96 w 96"/>
                    <a:gd name="T57" fmla="*/ 40 h 4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96" h="40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8" y="40"/>
                      </a:lnTo>
                      <a:lnTo>
                        <a:pt x="16" y="40"/>
                      </a:lnTo>
                      <a:lnTo>
                        <a:pt x="32" y="40"/>
                      </a:lnTo>
                      <a:lnTo>
                        <a:pt x="32" y="32"/>
                      </a:lnTo>
                      <a:lnTo>
                        <a:pt x="64" y="32"/>
                      </a:lnTo>
                      <a:lnTo>
                        <a:pt x="88" y="40"/>
                      </a:lnTo>
                      <a:lnTo>
                        <a:pt x="96" y="32"/>
                      </a:lnTo>
                      <a:lnTo>
                        <a:pt x="80" y="24"/>
                      </a:lnTo>
                      <a:lnTo>
                        <a:pt x="80" y="16"/>
                      </a:lnTo>
                      <a:lnTo>
                        <a:pt x="72" y="8"/>
                      </a:lnTo>
                      <a:lnTo>
                        <a:pt x="64" y="8"/>
                      </a:lnTo>
                      <a:lnTo>
                        <a:pt x="40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32" name="Freeform 41">
                  <a:extLst>
                    <a:ext uri="{FF2B5EF4-FFF2-40B4-BE49-F238E27FC236}">
                      <a16:creationId xmlns:a16="http://schemas.microsoft.com/office/drawing/2014/main" id="{2AF883F1-2560-EEE5-CF9B-66B783C0C527}"/>
                    </a:ext>
                  </a:extLst>
                </p:cNvPr>
                <p:cNvSpPr/>
                <p:nvPr/>
              </p:nvSpPr>
              <p:spPr bwMode="gray">
                <a:xfrm>
                  <a:off x="3223654" y="2148020"/>
                  <a:ext cx="199598" cy="169316"/>
                </a:xfrm>
                <a:custGeom>
                  <a:avLst/>
                  <a:gdLst>
                    <a:gd name="T0" fmla="*/ 8 w 136"/>
                    <a:gd name="T1" fmla="*/ 3 h 128"/>
                    <a:gd name="T2" fmla="*/ 11 w 136"/>
                    <a:gd name="T3" fmla="*/ 0 h 128"/>
                    <a:gd name="T4" fmla="*/ 14 w 136"/>
                    <a:gd name="T5" fmla="*/ 0 h 128"/>
                    <a:gd name="T6" fmla="*/ 14 w 136"/>
                    <a:gd name="T7" fmla="*/ 6 h 128"/>
                    <a:gd name="T8" fmla="*/ 17 w 136"/>
                    <a:gd name="T9" fmla="*/ 11 h 128"/>
                    <a:gd name="T10" fmla="*/ 20 w 136"/>
                    <a:gd name="T11" fmla="*/ 8 h 128"/>
                    <a:gd name="T12" fmla="*/ 25 w 136"/>
                    <a:gd name="T13" fmla="*/ 11 h 128"/>
                    <a:gd name="T14" fmla="*/ 28 w 136"/>
                    <a:gd name="T15" fmla="*/ 14 h 128"/>
                    <a:gd name="T16" fmla="*/ 37 w 136"/>
                    <a:gd name="T17" fmla="*/ 19 h 128"/>
                    <a:gd name="T18" fmla="*/ 40 w 136"/>
                    <a:gd name="T19" fmla="*/ 25 h 128"/>
                    <a:gd name="T20" fmla="*/ 37 w 136"/>
                    <a:gd name="T21" fmla="*/ 31 h 128"/>
                    <a:gd name="T22" fmla="*/ 48 w 136"/>
                    <a:gd name="T23" fmla="*/ 31 h 128"/>
                    <a:gd name="T24" fmla="*/ 48 w 136"/>
                    <a:gd name="T25" fmla="*/ 34 h 128"/>
                    <a:gd name="T26" fmla="*/ 48 w 136"/>
                    <a:gd name="T27" fmla="*/ 39 h 128"/>
                    <a:gd name="T28" fmla="*/ 37 w 136"/>
                    <a:gd name="T29" fmla="*/ 36 h 128"/>
                    <a:gd name="T30" fmla="*/ 34 w 136"/>
                    <a:gd name="T31" fmla="*/ 36 h 128"/>
                    <a:gd name="T32" fmla="*/ 34 w 136"/>
                    <a:gd name="T33" fmla="*/ 31 h 128"/>
                    <a:gd name="T34" fmla="*/ 31 w 136"/>
                    <a:gd name="T35" fmla="*/ 31 h 128"/>
                    <a:gd name="T36" fmla="*/ 28 w 136"/>
                    <a:gd name="T37" fmla="*/ 31 h 128"/>
                    <a:gd name="T38" fmla="*/ 25 w 136"/>
                    <a:gd name="T39" fmla="*/ 36 h 128"/>
                    <a:gd name="T40" fmla="*/ 20 w 136"/>
                    <a:gd name="T41" fmla="*/ 36 h 128"/>
                    <a:gd name="T42" fmla="*/ 17 w 136"/>
                    <a:gd name="T43" fmla="*/ 41 h 128"/>
                    <a:gd name="T44" fmla="*/ 11 w 136"/>
                    <a:gd name="T45" fmla="*/ 44 h 128"/>
                    <a:gd name="T46" fmla="*/ 11 w 136"/>
                    <a:gd name="T47" fmla="*/ 36 h 128"/>
                    <a:gd name="T48" fmla="*/ 3 w 136"/>
                    <a:gd name="T49" fmla="*/ 36 h 128"/>
                    <a:gd name="T50" fmla="*/ 0 w 136"/>
                    <a:gd name="T51" fmla="*/ 34 h 128"/>
                    <a:gd name="T52" fmla="*/ 8 w 136"/>
                    <a:gd name="T53" fmla="*/ 19 h 128"/>
                    <a:gd name="T54" fmla="*/ 8 w 136"/>
                    <a:gd name="T55" fmla="*/ 6 h 128"/>
                    <a:gd name="T56" fmla="*/ 8 w 136"/>
                    <a:gd name="T57" fmla="*/ 3 h 12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"/>
                    <a:gd name="T88" fmla="*/ 0 h 128"/>
                    <a:gd name="T89" fmla="*/ 136 w 136"/>
                    <a:gd name="T90" fmla="*/ 128 h 12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" h="128">
                      <a:moveTo>
                        <a:pt x="24" y="8"/>
                      </a:moveTo>
                      <a:lnTo>
                        <a:pt x="32" y="0"/>
                      </a:lnTo>
                      <a:lnTo>
                        <a:pt x="40" y="0"/>
                      </a:lnTo>
                      <a:lnTo>
                        <a:pt x="40" y="16"/>
                      </a:lnTo>
                      <a:lnTo>
                        <a:pt x="48" y="32"/>
                      </a:lnTo>
                      <a:lnTo>
                        <a:pt x="56" y="24"/>
                      </a:lnTo>
                      <a:lnTo>
                        <a:pt x="72" y="32"/>
                      </a:lnTo>
                      <a:lnTo>
                        <a:pt x="80" y="40"/>
                      </a:lnTo>
                      <a:lnTo>
                        <a:pt x="104" y="56"/>
                      </a:lnTo>
                      <a:lnTo>
                        <a:pt x="112" y="72"/>
                      </a:lnTo>
                      <a:lnTo>
                        <a:pt x="104" y="88"/>
                      </a:lnTo>
                      <a:lnTo>
                        <a:pt x="136" y="88"/>
                      </a:lnTo>
                      <a:lnTo>
                        <a:pt x="136" y="96"/>
                      </a:lnTo>
                      <a:lnTo>
                        <a:pt x="136" y="112"/>
                      </a:lnTo>
                      <a:lnTo>
                        <a:pt x="104" y="104"/>
                      </a:lnTo>
                      <a:lnTo>
                        <a:pt x="96" y="104"/>
                      </a:lnTo>
                      <a:lnTo>
                        <a:pt x="96" y="88"/>
                      </a:lnTo>
                      <a:lnTo>
                        <a:pt x="88" y="88"/>
                      </a:lnTo>
                      <a:lnTo>
                        <a:pt x="80" y="88"/>
                      </a:lnTo>
                      <a:lnTo>
                        <a:pt x="72" y="104"/>
                      </a:lnTo>
                      <a:lnTo>
                        <a:pt x="56" y="104"/>
                      </a:lnTo>
                      <a:lnTo>
                        <a:pt x="48" y="120"/>
                      </a:lnTo>
                      <a:lnTo>
                        <a:pt x="32" y="128"/>
                      </a:lnTo>
                      <a:lnTo>
                        <a:pt x="32" y="104"/>
                      </a:lnTo>
                      <a:lnTo>
                        <a:pt x="8" y="104"/>
                      </a:lnTo>
                      <a:lnTo>
                        <a:pt x="0" y="96"/>
                      </a:lnTo>
                      <a:lnTo>
                        <a:pt x="24" y="56"/>
                      </a:lnTo>
                      <a:lnTo>
                        <a:pt x="24" y="16"/>
                      </a:lnTo>
                      <a:lnTo>
                        <a:pt x="24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33" name="Freeform 42">
                  <a:extLst>
                    <a:ext uri="{FF2B5EF4-FFF2-40B4-BE49-F238E27FC236}">
                      <a16:creationId xmlns:a16="http://schemas.microsoft.com/office/drawing/2014/main" id="{ED06FA5B-4E8F-C532-F7DD-3C7AA934CDC3}"/>
                    </a:ext>
                  </a:extLst>
                </p:cNvPr>
                <p:cNvSpPr/>
                <p:nvPr/>
              </p:nvSpPr>
              <p:spPr bwMode="gray">
                <a:xfrm>
                  <a:off x="2146659" y="1544126"/>
                  <a:ext cx="222468" cy="95946"/>
                </a:xfrm>
                <a:custGeom>
                  <a:avLst/>
                  <a:gdLst>
                    <a:gd name="T0" fmla="*/ 11 w 152"/>
                    <a:gd name="T1" fmla="*/ 23 h 72"/>
                    <a:gd name="T2" fmla="*/ 6 w 152"/>
                    <a:gd name="T3" fmla="*/ 23 h 72"/>
                    <a:gd name="T4" fmla="*/ 3 w 152"/>
                    <a:gd name="T5" fmla="*/ 23 h 72"/>
                    <a:gd name="T6" fmla="*/ 3 w 152"/>
                    <a:gd name="T7" fmla="*/ 20 h 72"/>
                    <a:gd name="T8" fmla="*/ 0 w 152"/>
                    <a:gd name="T9" fmla="*/ 20 h 72"/>
                    <a:gd name="T10" fmla="*/ 3 w 152"/>
                    <a:gd name="T11" fmla="*/ 17 h 72"/>
                    <a:gd name="T12" fmla="*/ 6 w 152"/>
                    <a:gd name="T13" fmla="*/ 17 h 72"/>
                    <a:gd name="T14" fmla="*/ 11 w 152"/>
                    <a:gd name="T15" fmla="*/ 14 h 72"/>
                    <a:gd name="T16" fmla="*/ 11 w 152"/>
                    <a:gd name="T17" fmla="*/ 11 h 72"/>
                    <a:gd name="T18" fmla="*/ 14 w 152"/>
                    <a:gd name="T19" fmla="*/ 11 h 72"/>
                    <a:gd name="T20" fmla="*/ 17 w 152"/>
                    <a:gd name="T21" fmla="*/ 11 h 72"/>
                    <a:gd name="T22" fmla="*/ 23 w 152"/>
                    <a:gd name="T23" fmla="*/ 8 h 72"/>
                    <a:gd name="T24" fmla="*/ 23 w 152"/>
                    <a:gd name="T25" fmla="*/ 6 h 72"/>
                    <a:gd name="T26" fmla="*/ 27 w 152"/>
                    <a:gd name="T27" fmla="*/ 3 h 72"/>
                    <a:gd name="T28" fmla="*/ 36 w 152"/>
                    <a:gd name="T29" fmla="*/ 3 h 72"/>
                    <a:gd name="T30" fmla="*/ 39 w 152"/>
                    <a:gd name="T31" fmla="*/ 3 h 72"/>
                    <a:gd name="T32" fmla="*/ 42 w 152"/>
                    <a:gd name="T33" fmla="*/ 3 h 72"/>
                    <a:gd name="T34" fmla="*/ 44 w 152"/>
                    <a:gd name="T35" fmla="*/ 3 h 72"/>
                    <a:gd name="T36" fmla="*/ 42 w 152"/>
                    <a:gd name="T37" fmla="*/ 3 h 72"/>
                    <a:gd name="T38" fmla="*/ 42 w 152"/>
                    <a:gd name="T39" fmla="*/ 0 h 72"/>
                    <a:gd name="T40" fmla="*/ 48 w 152"/>
                    <a:gd name="T41" fmla="*/ 0 h 72"/>
                    <a:gd name="T42" fmla="*/ 53 w 152"/>
                    <a:gd name="T43" fmla="*/ 3 h 72"/>
                    <a:gd name="T44" fmla="*/ 50 w 152"/>
                    <a:gd name="T45" fmla="*/ 6 h 72"/>
                    <a:gd name="T46" fmla="*/ 48 w 152"/>
                    <a:gd name="T47" fmla="*/ 6 h 72"/>
                    <a:gd name="T48" fmla="*/ 50 w 152"/>
                    <a:gd name="T49" fmla="*/ 8 h 72"/>
                    <a:gd name="T50" fmla="*/ 48 w 152"/>
                    <a:gd name="T51" fmla="*/ 11 h 72"/>
                    <a:gd name="T52" fmla="*/ 50 w 152"/>
                    <a:gd name="T53" fmla="*/ 14 h 72"/>
                    <a:gd name="T54" fmla="*/ 42 w 152"/>
                    <a:gd name="T55" fmla="*/ 14 h 72"/>
                    <a:gd name="T56" fmla="*/ 42 w 152"/>
                    <a:gd name="T57" fmla="*/ 17 h 72"/>
                    <a:gd name="T58" fmla="*/ 34 w 152"/>
                    <a:gd name="T59" fmla="*/ 14 h 72"/>
                    <a:gd name="T60" fmla="*/ 36 w 152"/>
                    <a:gd name="T61" fmla="*/ 11 h 72"/>
                    <a:gd name="T62" fmla="*/ 31 w 152"/>
                    <a:gd name="T63" fmla="*/ 11 h 72"/>
                    <a:gd name="T64" fmla="*/ 31 w 152"/>
                    <a:gd name="T65" fmla="*/ 17 h 72"/>
                    <a:gd name="T66" fmla="*/ 27 w 152"/>
                    <a:gd name="T67" fmla="*/ 20 h 72"/>
                    <a:gd name="T68" fmla="*/ 25 w 152"/>
                    <a:gd name="T69" fmla="*/ 17 h 72"/>
                    <a:gd name="T70" fmla="*/ 23 w 152"/>
                    <a:gd name="T71" fmla="*/ 17 h 72"/>
                    <a:gd name="T72" fmla="*/ 23 w 152"/>
                    <a:gd name="T73" fmla="*/ 23 h 72"/>
                    <a:gd name="T74" fmla="*/ 17 w 152"/>
                    <a:gd name="T75" fmla="*/ 23 h 72"/>
                    <a:gd name="T76" fmla="*/ 17 w 152"/>
                    <a:gd name="T77" fmla="*/ 20 h 72"/>
                    <a:gd name="T78" fmla="*/ 14 w 152"/>
                    <a:gd name="T79" fmla="*/ 20 h 72"/>
                    <a:gd name="T80" fmla="*/ 14 w 152"/>
                    <a:gd name="T81" fmla="*/ 26 h 72"/>
                    <a:gd name="T82" fmla="*/ 11 w 152"/>
                    <a:gd name="T83" fmla="*/ 26 h 72"/>
                    <a:gd name="T84" fmla="*/ 11 w 152"/>
                    <a:gd name="T85" fmla="*/ 23 h 72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52"/>
                    <a:gd name="T130" fmla="*/ 0 h 72"/>
                    <a:gd name="T131" fmla="*/ 152 w 152"/>
                    <a:gd name="T132" fmla="*/ 72 h 72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52" h="72">
                      <a:moveTo>
                        <a:pt x="32" y="64"/>
                      </a:moveTo>
                      <a:lnTo>
                        <a:pt x="16" y="64"/>
                      </a:lnTo>
                      <a:lnTo>
                        <a:pt x="8" y="64"/>
                      </a:lnTo>
                      <a:lnTo>
                        <a:pt x="8" y="56"/>
                      </a:lnTo>
                      <a:lnTo>
                        <a:pt x="0" y="56"/>
                      </a:lnTo>
                      <a:lnTo>
                        <a:pt x="8" y="48"/>
                      </a:lnTo>
                      <a:lnTo>
                        <a:pt x="16" y="48"/>
                      </a:lnTo>
                      <a:lnTo>
                        <a:pt x="32" y="40"/>
                      </a:lnTo>
                      <a:lnTo>
                        <a:pt x="32" y="32"/>
                      </a:lnTo>
                      <a:lnTo>
                        <a:pt x="40" y="32"/>
                      </a:lnTo>
                      <a:lnTo>
                        <a:pt x="48" y="32"/>
                      </a:lnTo>
                      <a:lnTo>
                        <a:pt x="64" y="24"/>
                      </a:lnTo>
                      <a:lnTo>
                        <a:pt x="64" y="16"/>
                      </a:lnTo>
                      <a:lnTo>
                        <a:pt x="80" y="8"/>
                      </a:lnTo>
                      <a:lnTo>
                        <a:pt x="104" y="8"/>
                      </a:lnTo>
                      <a:lnTo>
                        <a:pt x="112" y="8"/>
                      </a:lnTo>
                      <a:lnTo>
                        <a:pt x="120" y="8"/>
                      </a:lnTo>
                      <a:lnTo>
                        <a:pt x="128" y="8"/>
                      </a:lnTo>
                      <a:lnTo>
                        <a:pt x="120" y="8"/>
                      </a:lnTo>
                      <a:lnTo>
                        <a:pt x="120" y="0"/>
                      </a:lnTo>
                      <a:lnTo>
                        <a:pt x="136" y="0"/>
                      </a:lnTo>
                      <a:lnTo>
                        <a:pt x="152" y="8"/>
                      </a:lnTo>
                      <a:lnTo>
                        <a:pt x="144" y="16"/>
                      </a:lnTo>
                      <a:lnTo>
                        <a:pt x="136" y="16"/>
                      </a:lnTo>
                      <a:lnTo>
                        <a:pt x="144" y="24"/>
                      </a:lnTo>
                      <a:lnTo>
                        <a:pt x="136" y="32"/>
                      </a:lnTo>
                      <a:lnTo>
                        <a:pt x="144" y="40"/>
                      </a:lnTo>
                      <a:lnTo>
                        <a:pt x="120" y="40"/>
                      </a:lnTo>
                      <a:lnTo>
                        <a:pt x="120" y="48"/>
                      </a:lnTo>
                      <a:lnTo>
                        <a:pt x="96" y="40"/>
                      </a:lnTo>
                      <a:lnTo>
                        <a:pt x="104" y="32"/>
                      </a:lnTo>
                      <a:lnTo>
                        <a:pt x="88" y="32"/>
                      </a:lnTo>
                      <a:lnTo>
                        <a:pt x="88" y="48"/>
                      </a:lnTo>
                      <a:lnTo>
                        <a:pt x="80" y="56"/>
                      </a:lnTo>
                      <a:lnTo>
                        <a:pt x="72" y="48"/>
                      </a:lnTo>
                      <a:lnTo>
                        <a:pt x="64" y="48"/>
                      </a:lnTo>
                      <a:lnTo>
                        <a:pt x="64" y="64"/>
                      </a:lnTo>
                      <a:lnTo>
                        <a:pt x="48" y="64"/>
                      </a:lnTo>
                      <a:lnTo>
                        <a:pt x="48" y="56"/>
                      </a:lnTo>
                      <a:lnTo>
                        <a:pt x="40" y="56"/>
                      </a:lnTo>
                      <a:lnTo>
                        <a:pt x="40" y="72"/>
                      </a:lnTo>
                      <a:lnTo>
                        <a:pt x="32" y="72"/>
                      </a:lnTo>
                      <a:lnTo>
                        <a:pt x="32" y="64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34" name="Freeform 43">
                  <a:extLst>
                    <a:ext uri="{FF2B5EF4-FFF2-40B4-BE49-F238E27FC236}">
                      <a16:creationId xmlns:a16="http://schemas.microsoft.com/office/drawing/2014/main" id="{5E2FC005-AFB3-FAA6-5A15-1DAD81BF51B7}"/>
                    </a:ext>
                  </a:extLst>
                </p:cNvPr>
                <p:cNvSpPr/>
                <p:nvPr/>
              </p:nvSpPr>
              <p:spPr bwMode="gray">
                <a:xfrm>
                  <a:off x="2439818" y="1480162"/>
                  <a:ext cx="106036" cy="20694"/>
                </a:xfrm>
                <a:custGeom>
                  <a:avLst/>
                  <a:gdLst>
                    <a:gd name="T0" fmla="*/ 17 w 72"/>
                    <a:gd name="T1" fmla="*/ 0 h 16"/>
                    <a:gd name="T2" fmla="*/ 23 w 72"/>
                    <a:gd name="T3" fmla="*/ 3 h 16"/>
                    <a:gd name="T4" fmla="*/ 26 w 72"/>
                    <a:gd name="T5" fmla="*/ 3 h 16"/>
                    <a:gd name="T6" fmla="*/ 26 w 72"/>
                    <a:gd name="T7" fmla="*/ 6 h 16"/>
                    <a:gd name="T8" fmla="*/ 17 w 72"/>
                    <a:gd name="T9" fmla="*/ 6 h 16"/>
                    <a:gd name="T10" fmla="*/ 14 w 72"/>
                    <a:gd name="T11" fmla="*/ 6 h 16"/>
                    <a:gd name="T12" fmla="*/ 11 w 72"/>
                    <a:gd name="T13" fmla="*/ 6 h 16"/>
                    <a:gd name="T14" fmla="*/ 8 w 72"/>
                    <a:gd name="T15" fmla="*/ 6 h 16"/>
                    <a:gd name="T16" fmla="*/ 6 w 72"/>
                    <a:gd name="T17" fmla="*/ 6 h 16"/>
                    <a:gd name="T18" fmla="*/ 0 w 72"/>
                    <a:gd name="T19" fmla="*/ 6 h 16"/>
                    <a:gd name="T20" fmla="*/ 0 w 72"/>
                    <a:gd name="T21" fmla="*/ 3 h 16"/>
                    <a:gd name="T22" fmla="*/ 3 w 72"/>
                    <a:gd name="T23" fmla="*/ 3 h 16"/>
                    <a:gd name="T24" fmla="*/ 11 w 72"/>
                    <a:gd name="T25" fmla="*/ 3 h 16"/>
                    <a:gd name="T26" fmla="*/ 14 w 72"/>
                    <a:gd name="T27" fmla="*/ 0 h 16"/>
                    <a:gd name="T28" fmla="*/ 17 w 72"/>
                    <a:gd name="T29" fmla="*/ 0 h 1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2"/>
                    <a:gd name="T46" fmla="*/ 0 h 16"/>
                    <a:gd name="T47" fmla="*/ 72 w 72"/>
                    <a:gd name="T48" fmla="*/ 16 h 1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2" h="16">
                      <a:moveTo>
                        <a:pt x="48" y="0"/>
                      </a:moveTo>
                      <a:lnTo>
                        <a:pt x="64" y="8"/>
                      </a:lnTo>
                      <a:lnTo>
                        <a:pt x="72" y="8"/>
                      </a:lnTo>
                      <a:lnTo>
                        <a:pt x="72" y="16"/>
                      </a:lnTo>
                      <a:lnTo>
                        <a:pt x="48" y="16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16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32" y="8"/>
                      </a:lnTo>
                      <a:lnTo>
                        <a:pt x="40" y="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35" name="Freeform 44">
                  <a:extLst>
                    <a:ext uri="{FF2B5EF4-FFF2-40B4-BE49-F238E27FC236}">
                      <a16:creationId xmlns:a16="http://schemas.microsoft.com/office/drawing/2014/main" id="{292C4BD7-F7B5-0003-2701-F356379E376F}"/>
                    </a:ext>
                  </a:extLst>
                </p:cNvPr>
                <p:cNvSpPr/>
                <p:nvPr/>
              </p:nvSpPr>
              <p:spPr bwMode="gray">
                <a:xfrm>
                  <a:off x="2662286" y="1438773"/>
                  <a:ext cx="199598" cy="84658"/>
                </a:xfrm>
                <a:custGeom>
                  <a:avLst/>
                  <a:gdLst>
                    <a:gd name="T0" fmla="*/ 0 w 136"/>
                    <a:gd name="T1" fmla="*/ 0 h 64"/>
                    <a:gd name="T2" fmla="*/ 8 w 136"/>
                    <a:gd name="T3" fmla="*/ 0 h 64"/>
                    <a:gd name="T4" fmla="*/ 14 w 136"/>
                    <a:gd name="T5" fmla="*/ 0 h 64"/>
                    <a:gd name="T6" fmla="*/ 20 w 136"/>
                    <a:gd name="T7" fmla="*/ 3 h 64"/>
                    <a:gd name="T8" fmla="*/ 23 w 136"/>
                    <a:gd name="T9" fmla="*/ 8 h 64"/>
                    <a:gd name="T10" fmla="*/ 23 w 136"/>
                    <a:gd name="T11" fmla="*/ 6 h 64"/>
                    <a:gd name="T12" fmla="*/ 28 w 136"/>
                    <a:gd name="T13" fmla="*/ 6 h 64"/>
                    <a:gd name="T14" fmla="*/ 34 w 136"/>
                    <a:gd name="T15" fmla="*/ 6 h 64"/>
                    <a:gd name="T16" fmla="*/ 34 w 136"/>
                    <a:gd name="T17" fmla="*/ 8 h 64"/>
                    <a:gd name="T18" fmla="*/ 40 w 136"/>
                    <a:gd name="T19" fmla="*/ 11 h 64"/>
                    <a:gd name="T20" fmla="*/ 40 w 136"/>
                    <a:gd name="T21" fmla="*/ 14 h 64"/>
                    <a:gd name="T22" fmla="*/ 48 w 136"/>
                    <a:gd name="T23" fmla="*/ 19 h 64"/>
                    <a:gd name="T24" fmla="*/ 45 w 136"/>
                    <a:gd name="T25" fmla="*/ 23 h 64"/>
                    <a:gd name="T26" fmla="*/ 40 w 136"/>
                    <a:gd name="T27" fmla="*/ 23 h 64"/>
                    <a:gd name="T28" fmla="*/ 34 w 136"/>
                    <a:gd name="T29" fmla="*/ 19 h 64"/>
                    <a:gd name="T30" fmla="*/ 28 w 136"/>
                    <a:gd name="T31" fmla="*/ 19 h 64"/>
                    <a:gd name="T32" fmla="*/ 25 w 136"/>
                    <a:gd name="T33" fmla="*/ 17 h 64"/>
                    <a:gd name="T34" fmla="*/ 20 w 136"/>
                    <a:gd name="T35" fmla="*/ 17 h 64"/>
                    <a:gd name="T36" fmla="*/ 17 w 136"/>
                    <a:gd name="T37" fmla="*/ 17 h 64"/>
                    <a:gd name="T38" fmla="*/ 8 w 136"/>
                    <a:gd name="T39" fmla="*/ 17 h 64"/>
                    <a:gd name="T40" fmla="*/ 6 w 136"/>
                    <a:gd name="T41" fmla="*/ 14 h 64"/>
                    <a:gd name="T42" fmla="*/ 17 w 136"/>
                    <a:gd name="T43" fmla="*/ 14 h 64"/>
                    <a:gd name="T44" fmla="*/ 14 w 136"/>
                    <a:gd name="T45" fmla="*/ 11 h 64"/>
                    <a:gd name="T46" fmla="*/ 14 w 136"/>
                    <a:gd name="T47" fmla="*/ 8 h 64"/>
                    <a:gd name="T48" fmla="*/ 11 w 136"/>
                    <a:gd name="T49" fmla="*/ 8 h 64"/>
                    <a:gd name="T50" fmla="*/ 11 w 136"/>
                    <a:gd name="T51" fmla="*/ 6 h 64"/>
                    <a:gd name="T52" fmla="*/ 11 w 136"/>
                    <a:gd name="T53" fmla="*/ 8 h 64"/>
                    <a:gd name="T54" fmla="*/ 8 w 136"/>
                    <a:gd name="T55" fmla="*/ 8 h 64"/>
                    <a:gd name="T56" fmla="*/ 6 w 136"/>
                    <a:gd name="T57" fmla="*/ 8 h 64"/>
                    <a:gd name="T58" fmla="*/ 6 w 136"/>
                    <a:gd name="T59" fmla="*/ 6 h 64"/>
                    <a:gd name="T60" fmla="*/ 0 w 136"/>
                    <a:gd name="T61" fmla="*/ 6 h 64"/>
                    <a:gd name="T62" fmla="*/ 0 w 136"/>
                    <a:gd name="T63" fmla="*/ 0 h 6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6"/>
                    <a:gd name="T97" fmla="*/ 0 h 64"/>
                    <a:gd name="T98" fmla="*/ 136 w 136"/>
                    <a:gd name="T99" fmla="*/ 64 h 6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6" h="64">
                      <a:moveTo>
                        <a:pt x="0" y="0"/>
                      </a:move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56" y="8"/>
                      </a:lnTo>
                      <a:lnTo>
                        <a:pt x="64" y="24"/>
                      </a:lnTo>
                      <a:lnTo>
                        <a:pt x="64" y="16"/>
                      </a:lnTo>
                      <a:lnTo>
                        <a:pt x="80" y="16"/>
                      </a:lnTo>
                      <a:lnTo>
                        <a:pt x="96" y="16"/>
                      </a:lnTo>
                      <a:lnTo>
                        <a:pt x="96" y="24"/>
                      </a:lnTo>
                      <a:lnTo>
                        <a:pt x="112" y="32"/>
                      </a:lnTo>
                      <a:lnTo>
                        <a:pt x="112" y="40"/>
                      </a:lnTo>
                      <a:lnTo>
                        <a:pt x="136" y="56"/>
                      </a:lnTo>
                      <a:lnTo>
                        <a:pt x="128" y="64"/>
                      </a:lnTo>
                      <a:lnTo>
                        <a:pt x="112" y="64"/>
                      </a:lnTo>
                      <a:lnTo>
                        <a:pt x="96" y="56"/>
                      </a:lnTo>
                      <a:lnTo>
                        <a:pt x="80" y="56"/>
                      </a:lnTo>
                      <a:lnTo>
                        <a:pt x="72" y="48"/>
                      </a:lnTo>
                      <a:lnTo>
                        <a:pt x="56" y="48"/>
                      </a:lnTo>
                      <a:lnTo>
                        <a:pt x="48" y="48"/>
                      </a:lnTo>
                      <a:lnTo>
                        <a:pt x="24" y="48"/>
                      </a:lnTo>
                      <a:lnTo>
                        <a:pt x="16" y="40"/>
                      </a:lnTo>
                      <a:lnTo>
                        <a:pt x="48" y="40"/>
                      </a:lnTo>
                      <a:lnTo>
                        <a:pt x="40" y="32"/>
                      </a:lnTo>
                      <a:lnTo>
                        <a:pt x="40" y="24"/>
                      </a:lnTo>
                      <a:lnTo>
                        <a:pt x="32" y="24"/>
                      </a:lnTo>
                      <a:lnTo>
                        <a:pt x="32" y="16"/>
                      </a:lnTo>
                      <a:lnTo>
                        <a:pt x="32" y="24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36" name="Freeform 45">
                  <a:extLst>
                    <a:ext uri="{FF2B5EF4-FFF2-40B4-BE49-F238E27FC236}">
                      <a16:creationId xmlns:a16="http://schemas.microsoft.com/office/drawing/2014/main" id="{502C265C-A17C-9654-1DFF-ADDE6C8D6829}"/>
                    </a:ext>
                  </a:extLst>
                </p:cNvPr>
                <p:cNvSpPr/>
                <p:nvPr/>
              </p:nvSpPr>
              <p:spPr bwMode="gray">
                <a:xfrm>
                  <a:off x="2300515" y="1585514"/>
                  <a:ext cx="374245" cy="116640"/>
                </a:xfrm>
                <a:custGeom>
                  <a:avLst/>
                  <a:gdLst>
                    <a:gd name="T0" fmla="*/ 61 w 256"/>
                    <a:gd name="T1" fmla="*/ 0 h 88"/>
                    <a:gd name="T2" fmla="*/ 67 w 256"/>
                    <a:gd name="T3" fmla="*/ 3 h 88"/>
                    <a:gd name="T4" fmla="*/ 67 w 256"/>
                    <a:gd name="T5" fmla="*/ 8 h 88"/>
                    <a:gd name="T6" fmla="*/ 72 w 256"/>
                    <a:gd name="T7" fmla="*/ 11 h 88"/>
                    <a:gd name="T8" fmla="*/ 78 w 256"/>
                    <a:gd name="T9" fmla="*/ 11 h 88"/>
                    <a:gd name="T10" fmla="*/ 81 w 256"/>
                    <a:gd name="T11" fmla="*/ 14 h 88"/>
                    <a:gd name="T12" fmla="*/ 84 w 256"/>
                    <a:gd name="T13" fmla="*/ 8 h 88"/>
                    <a:gd name="T14" fmla="*/ 86 w 256"/>
                    <a:gd name="T15" fmla="*/ 17 h 88"/>
                    <a:gd name="T16" fmla="*/ 75 w 256"/>
                    <a:gd name="T17" fmla="*/ 23 h 88"/>
                    <a:gd name="T18" fmla="*/ 70 w 256"/>
                    <a:gd name="T19" fmla="*/ 23 h 88"/>
                    <a:gd name="T20" fmla="*/ 61 w 256"/>
                    <a:gd name="T21" fmla="*/ 23 h 88"/>
                    <a:gd name="T22" fmla="*/ 48 w 256"/>
                    <a:gd name="T23" fmla="*/ 31 h 88"/>
                    <a:gd name="T24" fmla="*/ 31 w 256"/>
                    <a:gd name="T25" fmla="*/ 31 h 88"/>
                    <a:gd name="T26" fmla="*/ 31 w 256"/>
                    <a:gd name="T27" fmla="*/ 25 h 88"/>
                    <a:gd name="T28" fmla="*/ 36 w 256"/>
                    <a:gd name="T29" fmla="*/ 25 h 88"/>
                    <a:gd name="T30" fmla="*/ 48 w 256"/>
                    <a:gd name="T31" fmla="*/ 23 h 88"/>
                    <a:gd name="T32" fmla="*/ 41 w 256"/>
                    <a:gd name="T33" fmla="*/ 19 h 88"/>
                    <a:gd name="T34" fmla="*/ 36 w 256"/>
                    <a:gd name="T35" fmla="*/ 19 h 88"/>
                    <a:gd name="T36" fmla="*/ 27 w 256"/>
                    <a:gd name="T37" fmla="*/ 23 h 88"/>
                    <a:gd name="T38" fmla="*/ 31 w 256"/>
                    <a:gd name="T39" fmla="*/ 19 h 88"/>
                    <a:gd name="T40" fmla="*/ 23 w 256"/>
                    <a:gd name="T41" fmla="*/ 19 h 88"/>
                    <a:gd name="T42" fmla="*/ 19 w 256"/>
                    <a:gd name="T43" fmla="*/ 23 h 88"/>
                    <a:gd name="T44" fmla="*/ 11 w 256"/>
                    <a:gd name="T45" fmla="*/ 23 h 88"/>
                    <a:gd name="T46" fmla="*/ 6 w 256"/>
                    <a:gd name="T47" fmla="*/ 19 h 88"/>
                    <a:gd name="T48" fmla="*/ 3 w 256"/>
                    <a:gd name="T49" fmla="*/ 17 h 88"/>
                    <a:gd name="T50" fmla="*/ 17 w 256"/>
                    <a:gd name="T51" fmla="*/ 14 h 88"/>
                    <a:gd name="T52" fmla="*/ 6 w 256"/>
                    <a:gd name="T53" fmla="*/ 14 h 88"/>
                    <a:gd name="T54" fmla="*/ 14 w 256"/>
                    <a:gd name="T55" fmla="*/ 11 h 88"/>
                    <a:gd name="T56" fmla="*/ 11 w 256"/>
                    <a:gd name="T57" fmla="*/ 11 h 88"/>
                    <a:gd name="T58" fmla="*/ 11 w 256"/>
                    <a:gd name="T59" fmla="*/ 6 h 88"/>
                    <a:gd name="T60" fmla="*/ 19 w 256"/>
                    <a:gd name="T61" fmla="*/ 8 h 88"/>
                    <a:gd name="T62" fmla="*/ 17 w 256"/>
                    <a:gd name="T63" fmla="*/ 6 h 88"/>
                    <a:gd name="T64" fmla="*/ 25 w 256"/>
                    <a:gd name="T65" fmla="*/ 3 h 88"/>
                    <a:gd name="T66" fmla="*/ 36 w 256"/>
                    <a:gd name="T67" fmla="*/ 6 h 88"/>
                    <a:gd name="T68" fmla="*/ 44 w 256"/>
                    <a:gd name="T69" fmla="*/ 14 h 88"/>
                    <a:gd name="T70" fmla="*/ 61 w 256"/>
                    <a:gd name="T71" fmla="*/ 17 h 88"/>
                    <a:gd name="T72" fmla="*/ 64 w 256"/>
                    <a:gd name="T73" fmla="*/ 14 h 88"/>
                    <a:gd name="T74" fmla="*/ 56 w 256"/>
                    <a:gd name="T75" fmla="*/ 11 h 88"/>
                    <a:gd name="T76" fmla="*/ 53 w 256"/>
                    <a:gd name="T77" fmla="*/ 6 h 88"/>
                    <a:gd name="T78" fmla="*/ 58 w 256"/>
                    <a:gd name="T79" fmla="*/ 0 h 88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56"/>
                    <a:gd name="T121" fmla="*/ 0 h 88"/>
                    <a:gd name="T122" fmla="*/ 256 w 256"/>
                    <a:gd name="T123" fmla="*/ 88 h 88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56" h="88">
                      <a:moveTo>
                        <a:pt x="168" y="0"/>
                      </a:moveTo>
                      <a:lnTo>
                        <a:pt x="176" y="0"/>
                      </a:lnTo>
                      <a:lnTo>
                        <a:pt x="192" y="0"/>
                      </a:lnTo>
                      <a:lnTo>
                        <a:pt x="192" y="8"/>
                      </a:lnTo>
                      <a:lnTo>
                        <a:pt x="200" y="16"/>
                      </a:lnTo>
                      <a:lnTo>
                        <a:pt x="192" y="24"/>
                      </a:lnTo>
                      <a:lnTo>
                        <a:pt x="208" y="24"/>
                      </a:lnTo>
                      <a:lnTo>
                        <a:pt x="208" y="32"/>
                      </a:lnTo>
                      <a:lnTo>
                        <a:pt x="216" y="32"/>
                      </a:lnTo>
                      <a:lnTo>
                        <a:pt x="224" y="32"/>
                      </a:lnTo>
                      <a:lnTo>
                        <a:pt x="224" y="40"/>
                      </a:lnTo>
                      <a:lnTo>
                        <a:pt x="232" y="40"/>
                      </a:lnTo>
                      <a:lnTo>
                        <a:pt x="224" y="24"/>
                      </a:lnTo>
                      <a:lnTo>
                        <a:pt x="240" y="24"/>
                      </a:lnTo>
                      <a:lnTo>
                        <a:pt x="256" y="32"/>
                      </a:lnTo>
                      <a:lnTo>
                        <a:pt x="248" y="48"/>
                      </a:lnTo>
                      <a:lnTo>
                        <a:pt x="240" y="64"/>
                      </a:lnTo>
                      <a:lnTo>
                        <a:pt x="216" y="64"/>
                      </a:lnTo>
                      <a:lnTo>
                        <a:pt x="208" y="64"/>
                      </a:lnTo>
                      <a:lnTo>
                        <a:pt x="200" y="64"/>
                      </a:lnTo>
                      <a:lnTo>
                        <a:pt x="192" y="64"/>
                      </a:lnTo>
                      <a:lnTo>
                        <a:pt x="176" y="64"/>
                      </a:lnTo>
                      <a:lnTo>
                        <a:pt x="144" y="80"/>
                      </a:lnTo>
                      <a:lnTo>
                        <a:pt x="136" y="88"/>
                      </a:lnTo>
                      <a:lnTo>
                        <a:pt x="104" y="88"/>
                      </a:lnTo>
                      <a:lnTo>
                        <a:pt x="88" y="88"/>
                      </a:lnTo>
                      <a:lnTo>
                        <a:pt x="72" y="80"/>
                      </a:lnTo>
                      <a:lnTo>
                        <a:pt x="88" y="72"/>
                      </a:lnTo>
                      <a:lnTo>
                        <a:pt x="96" y="72"/>
                      </a:lnTo>
                      <a:lnTo>
                        <a:pt x="104" y="72"/>
                      </a:lnTo>
                      <a:lnTo>
                        <a:pt x="128" y="64"/>
                      </a:lnTo>
                      <a:lnTo>
                        <a:pt x="136" y="64"/>
                      </a:lnTo>
                      <a:lnTo>
                        <a:pt x="136" y="56"/>
                      </a:lnTo>
                      <a:lnTo>
                        <a:pt x="120" y="56"/>
                      </a:lnTo>
                      <a:lnTo>
                        <a:pt x="112" y="64"/>
                      </a:lnTo>
                      <a:lnTo>
                        <a:pt x="104" y="56"/>
                      </a:lnTo>
                      <a:lnTo>
                        <a:pt x="88" y="64"/>
                      </a:lnTo>
                      <a:lnTo>
                        <a:pt x="80" y="64"/>
                      </a:lnTo>
                      <a:lnTo>
                        <a:pt x="80" y="56"/>
                      </a:lnTo>
                      <a:lnTo>
                        <a:pt x="88" y="56"/>
                      </a:lnTo>
                      <a:lnTo>
                        <a:pt x="80" y="48"/>
                      </a:lnTo>
                      <a:lnTo>
                        <a:pt x="64" y="56"/>
                      </a:lnTo>
                      <a:lnTo>
                        <a:pt x="72" y="64"/>
                      </a:lnTo>
                      <a:lnTo>
                        <a:pt x="56" y="64"/>
                      </a:lnTo>
                      <a:lnTo>
                        <a:pt x="48" y="64"/>
                      </a:lnTo>
                      <a:lnTo>
                        <a:pt x="32" y="64"/>
                      </a:lnTo>
                      <a:lnTo>
                        <a:pt x="32" y="56"/>
                      </a:lnTo>
                      <a:lnTo>
                        <a:pt x="16" y="56"/>
                      </a:lnTo>
                      <a:lnTo>
                        <a:pt x="0" y="56"/>
                      </a:lnTo>
                      <a:lnTo>
                        <a:pt x="8" y="48"/>
                      </a:lnTo>
                      <a:lnTo>
                        <a:pt x="32" y="48"/>
                      </a:lnTo>
                      <a:lnTo>
                        <a:pt x="48" y="40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32" y="32"/>
                      </a:lnTo>
                      <a:lnTo>
                        <a:pt x="40" y="32"/>
                      </a:lnTo>
                      <a:lnTo>
                        <a:pt x="48" y="32"/>
                      </a:lnTo>
                      <a:lnTo>
                        <a:pt x="32" y="32"/>
                      </a:lnTo>
                      <a:lnTo>
                        <a:pt x="24" y="24"/>
                      </a:lnTo>
                      <a:lnTo>
                        <a:pt x="32" y="16"/>
                      </a:lnTo>
                      <a:lnTo>
                        <a:pt x="40" y="16"/>
                      </a:lnTo>
                      <a:lnTo>
                        <a:pt x="56" y="24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56" y="8"/>
                      </a:lnTo>
                      <a:lnTo>
                        <a:pt x="72" y="8"/>
                      </a:lnTo>
                      <a:lnTo>
                        <a:pt x="80" y="16"/>
                      </a:lnTo>
                      <a:lnTo>
                        <a:pt x="104" y="16"/>
                      </a:lnTo>
                      <a:lnTo>
                        <a:pt x="128" y="32"/>
                      </a:lnTo>
                      <a:lnTo>
                        <a:pt x="128" y="40"/>
                      </a:lnTo>
                      <a:lnTo>
                        <a:pt x="152" y="40"/>
                      </a:lnTo>
                      <a:lnTo>
                        <a:pt x="176" y="48"/>
                      </a:lnTo>
                      <a:lnTo>
                        <a:pt x="184" y="48"/>
                      </a:lnTo>
                      <a:lnTo>
                        <a:pt x="184" y="40"/>
                      </a:lnTo>
                      <a:lnTo>
                        <a:pt x="160" y="40"/>
                      </a:lnTo>
                      <a:lnTo>
                        <a:pt x="160" y="32"/>
                      </a:lnTo>
                      <a:lnTo>
                        <a:pt x="176" y="24"/>
                      </a:lnTo>
                      <a:lnTo>
                        <a:pt x="152" y="16"/>
                      </a:lnTo>
                      <a:lnTo>
                        <a:pt x="168" y="8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37" name="Freeform 46">
                  <a:extLst>
                    <a:ext uri="{FF2B5EF4-FFF2-40B4-BE49-F238E27FC236}">
                      <a16:creationId xmlns:a16="http://schemas.microsoft.com/office/drawing/2014/main" id="{712F49EB-A258-B795-76A2-C64262CB8A20}"/>
                    </a:ext>
                  </a:extLst>
                </p:cNvPr>
                <p:cNvSpPr/>
                <p:nvPr/>
              </p:nvSpPr>
              <p:spPr bwMode="gray">
                <a:xfrm>
                  <a:off x="2755847" y="1585514"/>
                  <a:ext cx="164252" cy="84658"/>
                </a:xfrm>
                <a:custGeom>
                  <a:avLst/>
                  <a:gdLst>
                    <a:gd name="T0" fmla="*/ 8 w 112"/>
                    <a:gd name="T1" fmla="*/ 11 h 64"/>
                    <a:gd name="T2" fmla="*/ 8 w 112"/>
                    <a:gd name="T3" fmla="*/ 14 h 64"/>
                    <a:gd name="T4" fmla="*/ 0 w 112"/>
                    <a:gd name="T5" fmla="*/ 14 h 64"/>
                    <a:gd name="T6" fmla="*/ 6 w 112"/>
                    <a:gd name="T7" fmla="*/ 14 h 64"/>
                    <a:gd name="T8" fmla="*/ 17 w 112"/>
                    <a:gd name="T9" fmla="*/ 14 h 64"/>
                    <a:gd name="T10" fmla="*/ 20 w 112"/>
                    <a:gd name="T11" fmla="*/ 14 h 64"/>
                    <a:gd name="T12" fmla="*/ 23 w 112"/>
                    <a:gd name="T13" fmla="*/ 14 h 64"/>
                    <a:gd name="T14" fmla="*/ 17 w 112"/>
                    <a:gd name="T15" fmla="*/ 17 h 64"/>
                    <a:gd name="T16" fmla="*/ 14 w 112"/>
                    <a:gd name="T17" fmla="*/ 17 h 64"/>
                    <a:gd name="T18" fmla="*/ 17 w 112"/>
                    <a:gd name="T19" fmla="*/ 19 h 64"/>
                    <a:gd name="T20" fmla="*/ 17 w 112"/>
                    <a:gd name="T21" fmla="*/ 23 h 64"/>
                    <a:gd name="T22" fmla="*/ 34 w 112"/>
                    <a:gd name="T23" fmla="*/ 19 h 64"/>
                    <a:gd name="T24" fmla="*/ 34 w 112"/>
                    <a:gd name="T25" fmla="*/ 17 h 64"/>
                    <a:gd name="T26" fmla="*/ 34 w 112"/>
                    <a:gd name="T27" fmla="*/ 14 h 64"/>
                    <a:gd name="T28" fmla="*/ 40 w 112"/>
                    <a:gd name="T29" fmla="*/ 17 h 64"/>
                    <a:gd name="T30" fmla="*/ 36 w 112"/>
                    <a:gd name="T31" fmla="*/ 14 h 64"/>
                    <a:gd name="T32" fmla="*/ 36 w 112"/>
                    <a:gd name="T33" fmla="*/ 11 h 64"/>
                    <a:gd name="T34" fmla="*/ 34 w 112"/>
                    <a:gd name="T35" fmla="*/ 3 h 64"/>
                    <a:gd name="T36" fmla="*/ 34 w 112"/>
                    <a:gd name="T37" fmla="*/ 0 h 64"/>
                    <a:gd name="T38" fmla="*/ 28 w 112"/>
                    <a:gd name="T39" fmla="*/ 0 h 64"/>
                    <a:gd name="T40" fmla="*/ 31 w 112"/>
                    <a:gd name="T41" fmla="*/ 3 h 64"/>
                    <a:gd name="T42" fmla="*/ 28 w 112"/>
                    <a:gd name="T43" fmla="*/ 3 h 64"/>
                    <a:gd name="T44" fmla="*/ 23 w 112"/>
                    <a:gd name="T45" fmla="*/ 0 h 64"/>
                    <a:gd name="T46" fmla="*/ 11 w 112"/>
                    <a:gd name="T47" fmla="*/ 3 h 64"/>
                    <a:gd name="T48" fmla="*/ 17 w 112"/>
                    <a:gd name="T49" fmla="*/ 6 h 64"/>
                    <a:gd name="T50" fmla="*/ 20 w 112"/>
                    <a:gd name="T51" fmla="*/ 6 h 64"/>
                    <a:gd name="T52" fmla="*/ 20 w 112"/>
                    <a:gd name="T53" fmla="*/ 8 h 64"/>
                    <a:gd name="T54" fmla="*/ 23 w 112"/>
                    <a:gd name="T55" fmla="*/ 11 h 64"/>
                    <a:gd name="T56" fmla="*/ 17 w 112"/>
                    <a:gd name="T57" fmla="*/ 8 h 64"/>
                    <a:gd name="T58" fmla="*/ 11 w 112"/>
                    <a:gd name="T59" fmla="*/ 6 h 64"/>
                    <a:gd name="T60" fmla="*/ 8 w 112"/>
                    <a:gd name="T61" fmla="*/ 6 h 64"/>
                    <a:gd name="T62" fmla="*/ 6 w 112"/>
                    <a:gd name="T63" fmla="*/ 6 h 64"/>
                    <a:gd name="T64" fmla="*/ 6 w 112"/>
                    <a:gd name="T65" fmla="*/ 8 h 64"/>
                    <a:gd name="T66" fmla="*/ 6 w 112"/>
                    <a:gd name="T67" fmla="*/ 11 h 64"/>
                    <a:gd name="T68" fmla="*/ 8 w 112"/>
                    <a:gd name="T69" fmla="*/ 11 h 64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12"/>
                    <a:gd name="T106" fmla="*/ 0 h 64"/>
                    <a:gd name="T107" fmla="*/ 112 w 112"/>
                    <a:gd name="T108" fmla="*/ 64 h 64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12" h="64">
                      <a:moveTo>
                        <a:pt x="24" y="32"/>
                      </a:moveTo>
                      <a:lnTo>
                        <a:pt x="24" y="40"/>
                      </a:lnTo>
                      <a:lnTo>
                        <a:pt x="0" y="40"/>
                      </a:lnTo>
                      <a:lnTo>
                        <a:pt x="16" y="40"/>
                      </a:lnTo>
                      <a:lnTo>
                        <a:pt x="48" y="40"/>
                      </a:lnTo>
                      <a:lnTo>
                        <a:pt x="56" y="40"/>
                      </a:lnTo>
                      <a:lnTo>
                        <a:pt x="64" y="40"/>
                      </a:lnTo>
                      <a:lnTo>
                        <a:pt x="48" y="48"/>
                      </a:lnTo>
                      <a:lnTo>
                        <a:pt x="40" y="48"/>
                      </a:lnTo>
                      <a:lnTo>
                        <a:pt x="48" y="56"/>
                      </a:lnTo>
                      <a:lnTo>
                        <a:pt x="48" y="64"/>
                      </a:lnTo>
                      <a:lnTo>
                        <a:pt x="96" y="56"/>
                      </a:lnTo>
                      <a:lnTo>
                        <a:pt x="96" y="48"/>
                      </a:lnTo>
                      <a:lnTo>
                        <a:pt x="96" y="40"/>
                      </a:lnTo>
                      <a:lnTo>
                        <a:pt x="112" y="48"/>
                      </a:lnTo>
                      <a:lnTo>
                        <a:pt x="104" y="40"/>
                      </a:lnTo>
                      <a:lnTo>
                        <a:pt x="104" y="32"/>
                      </a:lnTo>
                      <a:lnTo>
                        <a:pt x="96" y="8"/>
                      </a:lnTo>
                      <a:lnTo>
                        <a:pt x="96" y="0"/>
                      </a:lnTo>
                      <a:lnTo>
                        <a:pt x="80" y="0"/>
                      </a:lnTo>
                      <a:lnTo>
                        <a:pt x="88" y="8"/>
                      </a:lnTo>
                      <a:lnTo>
                        <a:pt x="80" y="8"/>
                      </a:lnTo>
                      <a:lnTo>
                        <a:pt x="64" y="0"/>
                      </a:lnTo>
                      <a:lnTo>
                        <a:pt x="32" y="8"/>
                      </a:lnTo>
                      <a:lnTo>
                        <a:pt x="48" y="16"/>
                      </a:lnTo>
                      <a:lnTo>
                        <a:pt x="56" y="16"/>
                      </a:lnTo>
                      <a:lnTo>
                        <a:pt x="56" y="24"/>
                      </a:lnTo>
                      <a:lnTo>
                        <a:pt x="64" y="32"/>
                      </a:lnTo>
                      <a:lnTo>
                        <a:pt x="48" y="24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16"/>
                      </a:lnTo>
                      <a:lnTo>
                        <a:pt x="16" y="24"/>
                      </a:lnTo>
                      <a:lnTo>
                        <a:pt x="16" y="32"/>
                      </a:lnTo>
                      <a:lnTo>
                        <a:pt x="24" y="32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38" name="Freeform 47">
                  <a:extLst>
                    <a:ext uri="{FF2B5EF4-FFF2-40B4-BE49-F238E27FC236}">
                      <a16:creationId xmlns:a16="http://schemas.microsoft.com/office/drawing/2014/main" id="{E2BC04C0-4A27-38FB-7E7B-E3E440887216}"/>
                    </a:ext>
                  </a:extLst>
                </p:cNvPr>
                <p:cNvSpPr/>
                <p:nvPr/>
              </p:nvSpPr>
              <p:spPr bwMode="gray">
                <a:xfrm>
                  <a:off x="2942970" y="1640071"/>
                  <a:ext cx="93561" cy="52676"/>
                </a:xfrm>
                <a:custGeom>
                  <a:avLst/>
                  <a:gdLst>
                    <a:gd name="T0" fmla="*/ 17 w 64"/>
                    <a:gd name="T1" fmla="*/ 0 h 40"/>
                    <a:gd name="T2" fmla="*/ 11 w 64"/>
                    <a:gd name="T3" fmla="*/ 0 h 40"/>
                    <a:gd name="T4" fmla="*/ 8 w 64"/>
                    <a:gd name="T5" fmla="*/ 0 h 40"/>
                    <a:gd name="T6" fmla="*/ 6 w 64"/>
                    <a:gd name="T7" fmla="*/ 3 h 40"/>
                    <a:gd name="T8" fmla="*/ 3 w 64"/>
                    <a:gd name="T9" fmla="*/ 3 h 40"/>
                    <a:gd name="T10" fmla="*/ 0 w 64"/>
                    <a:gd name="T11" fmla="*/ 6 h 40"/>
                    <a:gd name="T12" fmla="*/ 3 w 64"/>
                    <a:gd name="T13" fmla="*/ 10 h 40"/>
                    <a:gd name="T14" fmla="*/ 8 w 64"/>
                    <a:gd name="T15" fmla="*/ 10 h 40"/>
                    <a:gd name="T16" fmla="*/ 14 w 64"/>
                    <a:gd name="T17" fmla="*/ 14 h 40"/>
                    <a:gd name="T18" fmla="*/ 19 w 64"/>
                    <a:gd name="T19" fmla="*/ 14 h 40"/>
                    <a:gd name="T20" fmla="*/ 23 w 64"/>
                    <a:gd name="T21" fmla="*/ 10 h 40"/>
                    <a:gd name="T22" fmla="*/ 23 w 64"/>
                    <a:gd name="T23" fmla="*/ 8 h 40"/>
                    <a:gd name="T24" fmla="*/ 19 w 64"/>
                    <a:gd name="T25" fmla="*/ 6 h 40"/>
                    <a:gd name="T26" fmla="*/ 17 w 64"/>
                    <a:gd name="T27" fmla="*/ 3 h 40"/>
                    <a:gd name="T28" fmla="*/ 17 w 64"/>
                    <a:gd name="T29" fmla="*/ 0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4"/>
                    <a:gd name="T46" fmla="*/ 0 h 40"/>
                    <a:gd name="T47" fmla="*/ 64 w 64"/>
                    <a:gd name="T48" fmla="*/ 40 h 4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4" h="40">
                      <a:moveTo>
                        <a:pt x="48" y="0"/>
                      </a:move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8" y="32"/>
                      </a:lnTo>
                      <a:lnTo>
                        <a:pt x="24" y="32"/>
                      </a:lnTo>
                      <a:lnTo>
                        <a:pt x="40" y="40"/>
                      </a:lnTo>
                      <a:lnTo>
                        <a:pt x="56" y="40"/>
                      </a:lnTo>
                      <a:lnTo>
                        <a:pt x="64" y="32"/>
                      </a:lnTo>
                      <a:lnTo>
                        <a:pt x="64" y="24"/>
                      </a:lnTo>
                      <a:lnTo>
                        <a:pt x="56" y="16"/>
                      </a:lnTo>
                      <a:lnTo>
                        <a:pt x="48" y="8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39" name="Freeform 48">
                  <a:extLst>
                    <a:ext uri="{FF2B5EF4-FFF2-40B4-BE49-F238E27FC236}">
                      <a16:creationId xmlns:a16="http://schemas.microsoft.com/office/drawing/2014/main" id="{4EAEA7C2-CED7-F4C3-FFC6-C1359F32E318}"/>
                    </a:ext>
                  </a:extLst>
                </p:cNvPr>
                <p:cNvSpPr/>
                <p:nvPr/>
              </p:nvSpPr>
              <p:spPr bwMode="gray">
                <a:xfrm>
                  <a:off x="2930495" y="1564820"/>
                  <a:ext cx="528102" cy="137334"/>
                </a:xfrm>
                <a:custGeom>
                  <a:avLst/>
                  <a:gdLst>
                    <a:gd name="T0" fmla="*/ 87 w 360"/>
                    <a:gd name="T1" fmla="*/ 19 h 104"/>
                    <a:gd name="T2" fmla="*/ 99 w 360"/>
                    <a:gd name="T3" fmla="*/ 17 h 104"/>
                    <a:gd name="T4" fmla="*/ 109 w 360"/>
                    <a:gd name="T5" fmla="*/ 17 h 104"/>
                    <a:gd name="T6" fmla="*/ 115 w 360"/>
                    <a:gd name="T7" fmla="*/ 19 h 104"/>
                    <a:gd name="T8" fmla="*/ 123 w 360"/>
                    <a:gd name="T9" fmla="*/ 22 h 104"/>
                    <a:gd name="T10" fmla="*/ 121 w 360"/>
                    <a:gd name="T11" fmla="*/ 25 h 104"/>
                    <a:gd name="T12" fmla="*/ 123 w 360"/>
                    <a:gd name="T13" fmla="*/ 27 h 104"/>
                    <a:gd name="T14" fmla="*/ 121 w 360"/>
                    <a:gd name="T15" fmla="*/ 31 h 104"/>
                    <a:gd name="T16" fmla="*/ 118 w 360"/>
                    <a:gd name="T17" fmla="*/ 31 h 104"/>
                    <a:gd name="T18" fmla="*/ 118 w 360"/>
                    <a:gd name="T19" fmla="*/ 36 h 104"/>
                    <a:gd name="T20" fmla="*/ 109 w 360"/>
                    <a:gd name="T21" fmla="*/ 36 h 104"/>
                    <a:gd name="T22" fmla="*/ 101 w 360"/>
                    <a:gd name="T23" fmla="*/ 31 h 104"/>
                    <a:gd name="T24" fmla="*/ 95 w 360"/>
                    <a:gd name="T25" fmla="*/ 36 h 104"/>
                    <a:gd name="T26" fmla="*/ 87 w 360"/>
                    <a:gd name="T27" fmla="*/ 33 h 104"/>
                    <a:gd name="T28" fmla="*/ 82 w 360"/>
                    <a:gd name="T29" fmla="*/ 36 h 104"/>
                    <a:gd name="T30" fmla="*/ 61 w 360"/>
                    <a:gd name="T31" fmla="*/ 36 h 104"/>
                    <a:gd name="T32" fmla="*/ 59 w 360"/>
                    <a:gd name="T33" fmla="*/ 31 h 104"/>
                    <a:gd name="T34" fmla="*/ 45 w 360"/>
                    <a:gd name="T35" fmla="*/ 33 h 104"/>
                    <a:gd name="T36" fmla="*/ 37 w 360"/>
                    <a:gd name="T37" fmla="*/ 31 h 104"/>
                    <a:gd name="T38" fmla="*/ 37 w 360"/>
                    <a:gd name="T39" fmla="*/ 25 h 104"/>
                    <a:gd name="T40" fmla="*/ 37 w 360"/>
                    <a:gd name="T41" fmla="*/ 19 h 104"/>
                    <a:gd name="T42" fmla="*/ 28 w 360"/>
                    <a:gd name="T43" fmla="*/ 11 h 104"/>
                    <a:gd name="T44" fmla="*/ 20 w 360"/>
                    <a:gd name="T45" fmla="*/ 11 h 104"/>
                    <a:gd name="T46" fmla="*/ 11 w 360"/>
                    <a:gd name="T47" fmla="*/ 8 h 104"/>
                    <a:gd name="T48" fmla="*/ 6 w 360"/>
                    <a:gd name="T49" fmla="*/ 6 h 104"/>
                    <a:gd name="T50" fmla="*/ 3 w 360"/>
                    <a:gd name="T51" fmla="*/ 0 h 104"/>
                    <a:gd name="T52" fmla="*/ 20 w 360"/>
                    <a:gd name="T53" fmla="*/ 3 h 104"/>
                    <a:gd name="T54" fmla="*/ 23 w 360"/>
                    <a:gd name="T55" fmla="*/ 8 h 104"/>
                    <a:gd name="T56" fmla="*/ 31 w 360"/>
                    <a:gd name="T57" fmla="*/ 6 h 104"/>
                    <a:gd name="T58" fmla="*/ 42 w 360"/>
                    <a:gd name="T59" fmla="*/ 6 h 104"/>
                    <a:gd name="T60" fmla="*/ 45 w 360"/>
                    <a:gd name="T61" fmla="*/ 8 h 104"/>
                    <a:gd name="T62" fmla="*/ 40 w 360"/>
                    <a:gd name="T63" fmla="*/ 8 h 104"/>
                    <a:gd name="T64" fmla="*/ 45 w 360"/>
                    <a:gd name="T65" fmla="*/ 8 h 104"/>
                    <a:gd name="T66" fmla="*/ 56 w 360"/>
                    <a:gd name="T67" fmla="*/ 11 h 104"/>
                    <a:gd name="T68" fmla="*/ 48 w 360"/>
                    <a:gd name="T69" fmla="*/ 14 h 104"/>
                    <a:gd name="T70" fmla="*/ 40 w 360"/>
                    <a:gd name="T71" fmla="*/ 11 h 104"/>
                    <a:gd name="T72" fmla="*/ 40 w 360"/>
                    <a:gd name="T73" fmla="*/ 17 h 104"/>
                    <a:gd name="T74" fmla="*/ 48 w 360"/>
                    <a:gd name="T75" fmla="*/ 17 h 104"/>
                    <a:gd name="T76" fmla="*/ 53 w 360"/>
                    <a:gd name="T77" fmla="*/ 19 h 104"/>
                    <a:gd name="T78" fmla="*/ 59 w 360"/>
                    <a:gd name="T79" fmla="*/ 22 h 104"/>
                    <a:gd name="T80" fmla="*/ 61 w 360"/>
                    <a:gd name="T81" fmla="*/ 19 h 104"/>
                    <a:gd name="T82" fmla="*/ 67 w 360"/>
                    <a:gd name="T83" fmla="*/ 22 h 104"/>
                    <a:gd name="T84" fmla="*/ 70 w 360"/>
                    <a:gd name="T85" fmla="*/ 19 h 104"/>
                    <a:gd name="T86" fmla="*/ 75 w 360"/>
                    <a:gd name="T87" fmla="*/ 22 h 104"/>
                    <a:gd name="T88" fmla="*/ 75 w 360"/>
                    <a:gd name="T89" fmla="*/ 19 h 104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360"/>
                    <a:gd name="T136" fmla="*/ 0 h 104"/>
                    <a:gd name="T137" fmla="*/ 360 w 360"/>
                    <a:gd name="T138" fmla="*/ 104 h 104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360" h="104">
                      <a:moveTo>
                        <a:pt x="240" y="56"/>
                      </a:moveTo>
                      <a:lnTo>
                        <a:pt x="248" y="56"/>
                      </a:lnTo>
                      <a:lnTo>
                        <a:pt x="272" y="48"/>
                      </a:lnTo>
                      <a:lnTo>
                        <a:pt x="280" y="48"/>
                      </a:lnTo>
                      <a:lnTo>
                        <a:pt x="296" y="48"/>
                      </a:lnTo>
                      <a:lnTo>
                        <a:pt x="312" y="48"/>
                      </a:lnTo>
                      <a:lnTo>
                        <a:pt x="328" y="48"/>
                      </a:lnTo>
                      <a:lnTo>
                        <a:pt x="328" y="56"/>
                      </a:lnTo>
                      <a:lnTo>
                        <a:pt x="344" y="56"/>
                      </a:lnTo>
                      <a:lnTo>
                        <a:pt x="352" y="64"/>
                      </a:lnTo>
                      <a:lnTo>
                        <a:pt x="352" y="72"/>
                      </a:lnTo>
                      <a:lnTo>
                        <a:pt x="344" y="72"/>
                      </a:lnTo>
                      <a:lnTo>
                        <a:pt x="344" y="80"/>
                      </a:lnTo>
                      <a:lnTo>
                        <a:pt x="352" y="80"/>
                      </a:lnTo>
                      <a:lnTo>
                        <a:pt x="360" y="88"/>
                      </a:lnTo>
                      <a:lnTo>
                        <a:pt x="344" y="88"/>
                      </a:lnTo>
                      <a:lnTo>
                        <a:pt x="344" y="80"/>
                      </a:lnTo>
                      <a:lnTo>
                        <a:pt x="336" y="88"/>
                      </a:lnTo>
                      <a:lnTo>
                        <a:pt x="344" y="96"/>
                      </a:lnTo>
                      <a:lnTo>
                        <a:pt x="336" y="104"/>
                      </a:lnTo>
                      <a:lnTo>
                        <a:pt x="320" y="104"/>
                      </a:lnTo>
                      <a:lnTo>
                        <a:pt x="312" y="104"/>
                      </a:lnTo>
                      <a:lnTo>
                        <a:pt x="288" y="104"/>
                      </a:lnTo>
                      <a:lnTo>
                        <a:pt x="288" y="88"/>
                      </a:lnTo>
                      <a:lnTo>
                        <a:pt x="272" y="88"/>
                      </a:lnTo>
                      <a:lnTo>
                        <a:pt x="272" y="104"/>
                      </a:lnTo>
                      <a:lnTo>
                        <a:pt x="248" y="104"/>
                      </a:lnTo>
                      <a:lnTo>
                        <a:pt x="248" y="96"/>
                      </a:lnTo>
                      <a:lnTo>
                        <a:pt x="240" y="88"/>
                      </a:lnTo>
                      <a:lnTo>
                        <a:pt x="232" y="104"/>
                      </a:lnTo>
                      <a:lnTo>
                        <a:pt x="216" y="104"/>
                      </a:lnTo>
                      <a:lnTo>
                        <a:pt x="176" y="104"/>
                      </a:lnTo>
                      <a:lnTo>
                        <a:pt x="176" y="96"/>
                      </a:lnTo>
                      <a:lnTo>
                        <a:pt x="168" y="88"/>
                      </a:lnTo>
                      <a:lnTo>
                        <a:pt x="144" y="96"/>
                      </a:lnTo>
                      <a:lnTo>
                        <a:pt x="128" y="96"/>
                      </a:lnTo>
                      <a:lnTo>
                        <a:pt x="112" y="96"/>
                      </a:lnTo>
                      <a:lnTo>
                        <a:pt x="104" y="88"/>
                      </a:lnTo>
                      <a:lnTo>
                        <a:pt x="96" y="80"/>
                      </a:lnTo>
                      <a:lnTo>
                        <a:pt x="104" y="72"/>
                      </a:lnTo>
                      <a:lnTo>
                        <a:pt x="96" y="64"/>
                      </a:lnTo>
                      <a:lnTo>
                        <a:pt x="104" y="56"/>
                      </a:lnTo>
                      <a:lnTo>
                        <a:pt x="88" y="48"/>
                      </a:lnTo>
                      <a:lnTo>
                        <a:pt x="80" y="32"/>
                      </a:lnTo>
                      <a:lnTo>
                        <a:pt x="64" y="32"/>
                      </a:lnTo>
                      <a:lnTo>
                        <a:pt x="56" y="32"/>
                      </a:lnTo>
                      <a:lnTo>
                        <a:pt x="40" y="32"/>
                      </a:lnTo>
                      <a:lnTo>
                        <a:pt x="32" y="24"/>
                      </a:lnTo>
                      <a:lnTo>
                        <a:pt x="24" y="24"/>
                      </a:lnTo>
                      <a:lnTo>
                        <a:pt x="16" y="16"/>
                      </a:lnTo>
                      <a:lnTo>
                        <a:pt x="0" y="16"/>
                      </a:lnTo>
                      <a:lnTo>
                        <a:pt x="8" y="0"/>
                      </a:lnTo>
                      <a:lnTo>
                        <a:pt x="24" y="0"/>
                      </a:lnTo>
                      <a:lnTo>
                        <a:pt x="56" y="8"/>
                      </a:lnTo>
                      <a:lnTo>
                        <a:pt x="72" y="8"/>
                      </a:lnTo>
                      <a:lnTo>
                        <a:pt x="64" y="24"/>
                      </a:lnTo>
                      <a:lnTo>
                        <a:pt x="72" y="24"/>
                      </a:lnTo>
                      <a:lnTo>
                        <a:pt x="88" y="16"/>
                      </a:lnTo>
                      <a:lnTo>
                        <a:pt x="104" y="24"/>
                      </a:lnTo>
                      <a:lnTo>
                        <a:pt x="120" y="16"/>
                      </a:lnTo>
                      <a:lnTo>
                        <a:pt x="128" y="16"/>
                      </a:lnTo>
                      <a:lnTo>
                        <a:pt x="128" y="24"/>
                      </a:lnTo>
                      <a:lnTo>
                        <a:pt x="120" y="24"/>
                      </a:lnTo>
                      <a:lnTo>
                        <a:pt x="112" y="24"/>
                      </a:lnTo>
                      <a:lnTo>
                        <a:pt x="120" y="24"/>
                      </a:lnTo>
                      <a:lnTo>
                        <a:pt x="128" y="24"/>
                      </a:lnTo>
                      <a:lnTo>
                        <a:pt x="136" y="32"/>
                      </a:lnTo>
                      <a:lnTo>
                        <a:pt x="160" y="32"/>
                      </a:lnTo>
                      <a:lnTo>
                        <a:pt x="160" y="40"/>
                      </a:lnTo>
                      <a:lnTo>
                        <a:pt x="136" y="40"/>
                      </a:lnTo>
                      <a:lnTo>
                        <a:pt x="128" y="32"/>
                      </a:lnTo>
                      <a:lnTo>
                        <a:pt x="112" y="32"/>
                      </a:lnTo>
                      <a:lnTo>
                        <a:pt x="120" y="40"/>
                      </a:lnTo>
                      <a:lnTo>
                        <a:pt x="112" y="48"/>
                      </a:lnTo>
                      <a:lnTo>
                        <a:pt x="120" y="48"/>
                      </a:lnTo>
                      <a:lnTo>
                        <a:pt x="136" y="48"/>
                      </a:lnTo>
                      <a:lnTo>
                        <a:pt x="144" y="48"/>
                      </a:lnTo>
                      <a:lnTo>
                        <a:pt x="152" y="56"/>
                      </a:lnTo>
                      <a:lnTo>
                        <a:pt x="160" y="64"/>
                      </a:lnTo>
                      <a:lnTo>
                        <a:pt x="168" y="64"/>
                      </a:lnTo>
                      <a:lnTo>
                        <a:pt x="160" y="56"/>
                      </a:lnTo>
                      <a:lnTo>
                        <a:pt x="176" y="56"/>
                      </a:lnTo>
                      <a:lnTo>
                        <a:pt x="176" y="64"/>
                      </a:lnTo>
                      <a:lnTo>
                        <a:pt x="192" y="64"/>
                      </a:lnTo>
                      <a:lnTo>
                        <a:pt x="192" y="56"/>
                      </a:lnTo>
                      <a:lnTo>
                        <a:pt x="200" y="56"/>
                      </a:lnTo>
                      <a:lnTo>
                        <a:pt x="208" y="64"/>
                      </a:lnTo>
                      <a:lnTo>
                        <a:pt x="216" y="64"/>
                      </a:lnTo>
                      <a:lnTo>
                        <a:pt x="224" y="64"/>
                      </a:lnTo>
                      <a:lnTo>
                        <a:pt x="216" y="56"/>
                      </a:lnTo>
                      <a:lnTo>
                        <a:pt x="240" y="5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40" name="Freeform 49">
                  <a:extLst>
                    <a:ext uri="{FF2B5EF4-FFF2-40B4-BE49-F238E27FC236}">
                      <a16:creationId xmlns:a16="http://schemas.microsoft.com/office/drawing/2014/main" id="{8375C59C-F530-F0D0-673D-5292E7E5779A}"/>
                    </a:ext>
                  </a:extLst>
                </p:cNvPr>
                <p:cNvSpPr/>
                <p:nvPr/>
              </p:nvSpPr>
              <p:spPr bwMode="gray">
                <a:xfrm>
                  <a:off x="2897229" y="1470755"/>
                  <a:ext cx="103957" cy="62083"/>
                </a:xfrm>
                <a:custGeom>
                  <a:avLst/>
                  <a:gdLst>
                    <a:gd name="T0" fmla="*/ 8 w 72"/>
                    <a:gd name="T1" fmla="*/ 0 h 48"/>
                    <a:gd name="T2" fmla="*/ 10 w 72"/>
                    <a:gd name="T3" fmla="*/ 3 h 48"/>
                    <a:gd name="T4" fmla="*/ 22 w 72"/>
                    <a:gd name="T5" fmla="*/ 6 h 48"/>
                    <a:gd name="T6" fmla="*/ 24 w 72"/>
                    <a:gd name="T7" fmla="*/ 6 h 48"/>
                    <a:gd name="T8" fmla="*/ 24 w 72"/>
                    <a:gd name="T9" fmla="*/ 8 h 48"/>
                    <a:gd name="T10" fmla="*/ 19 w 72"/>
                    <a:gd name="T11" fmla="*/ 8 h 48"/>
                    <a:gd name="T12" fmla="*/ 24 w 72"/>
                    <a:gd name="T13" fmla="*/ 10 h 48"/>
                    <a:gd name="T14" fmla="*/ 22 w 72"/>
                    <a:gd name="T15" fmla="*/ 13 h 48"/>
                    <a:gd name="T16" fmla="*/ 16 w 72"/>
                    <a:gd name="T17" fmla="*/ 13 h 48"/>
                    <a:gd name="T18" fmla="*/ 10 w 72"/>
                    <a:gd name="T19" fmla="*/ 13 h 48"/>
                    <a:gd name="T20" fmla="*/ 8 w 72"/>
                    <a:gd name="T21" fmla="*/ 16 h 48"/>
                    <a:gd name="T22" fmla="*/ 6 w 72"/>
                    <a:gd name="T23" fmla="*/ 13 h 48"/>
                    <a:gd name="T24" fmla="*/ 3 w 72"/>
                    <a:gd name="T25" fmla="*/ 10 h 48"/>
                    <a:gd name="T26" fmla="*/ 6 w 72"/>
                    <a:gd name="T27" fmla="*/ 10 h 48"/>
                    <a:gd name="T28" fmla="*/ 8 w 72"/>
                    <a:gd name="T29" fmla="*/ 10 h 48"/>
                    <a:gd name="T30" fmla="*/ 6 w 72"/>
                    <a:gd name="T31" fmla="*/ 8 h 48"/>
                    <a:gd name="T32" fmla="*/ 3 w 72"/>
                    <a:gd name="T33" fmla="*/ 8 h 48"/>
                    <a:gd name="T34" fmla="*/ 0 w 72"/>
                    <a:gd name="T35" fmla="*/ 3 h 48"/>
                    <a:gd name="T36" fmla="*/ 0 w 72"/>
                    <a:gd name="T37" fmla="*/ 0 h 48"/>
                    <a:gd name="T38" fmla="*/ 3 w 72"/>
                    <a:gd name="T39" fmla="*/ 0 h 48"/>
                    <a:gd name="T40" fmla="*/ 8 w 72"/>
                    <a:gd name="T41" fmla="*/ 0 h 4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2"/>
                    <a:gd name="T64" fmla="*/ 0 h 48"/>
                    <a:gd name="T65" fmla="*/ 72 w 72"/>
                    <a:gd name="T66" fmla="*/ 48 h 4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2" h="48">
                      <a:moveTo>
                        <a:pt x="24" y="0"/>
                      </a:moveTo>
                      <a:lnTo>
                        <a:pt x="32" y="8"/>
                      </a:lnTo>
                      <a:lnTo>
                        <a:pt x="64" y="16"/>
                      </a:lnTo>
                      <a:lnTo>
                        <a:pt x="72" y="16"/>
                      </a:lnTo>
                      <a:lnTo>
                        <a:pt x="72" y="24"/>
                      </a:lnTo>
                      <a:lnTo>
                        <a:pt x="56" y="24"/>
                      </a:lnTo>
                      <a:lnTo>
                        <a:pt x="72" y="32"/>
                      </a:lnTo>
                      <a:lnTo>
                        <a:pt x="64" y="40"/>
                      </a:lnTo>
                      <a:lnTo>
                        <a:pt x="48" y="40"/>
                      </a:lnTo>
                      <a:lnTo>
                        <a:pt x="32" y="40"/>
                      </a:lnTo>
                      <a:lnTo>
                        <a:pt x="24" y="48"/>
                      </a:lnTo>
                      <a:lnTo>
                        <a:pt x="16" y="40"/>
                      </a:lnTo>
                      <a:lnTo>
                        <a:pt x="8" y="32"/>
                      </a:lnTo>
                      <a:lnTo>
                        <a:pt x="16" y="32"/>
                      </a:lnTo>
                      <a:lnTo>
                        <a:pt x="24" y="32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41" name="Freeform 50">
                  <a:extLst>
                    <a:ext uri="{FF2B5EF4-FFF2-40B4-BE49-F238E27FC236}">
                      <a16:creationId xmlns:a16="http://schemas.microsoft.com/office/drawing/2014/main" id="{77154EC5-DD4D-BECA-1FA5-892A2CBE6E3C}"/>
                    </a:ext>
                  </a:extLst>
                </p:cNvPr>
                <p:cNvSpPr/>
                <p:nvPr/>
              </p:nvSpPr>
              <p:spPr bwMode="gray">
                <a:xfrm>
                  <a:off x="3084351" y="1141529"/>
                  <a:ext cx="923139" cy="475967"/>
                </a:xfrm>
                <a:custGeom>
                  <a:avLst/>
                  <a:gdLst>
                    <a:gd name="T0" fmla="*/ 17 w 632"/>
                    <a:gd name="T1" fmla="*/ 114 h 360"/>
                    <a:gd name="T2" fmla="*/ 36 w 632"/>
                    <a:gd name="T3" fmla="*/ 119 h 360"/>
                    <a:gd name="T4" fmla="*/ 53 w 632"/>
                    <a:gd name="T5" fmla="*/ 119 h 360"/>
                    <a:gd name="T6" fmla="*/ 70 w 632"/>
                    <a:gd name="T7" fmla="*/ 119 h 360"/>
                    <a:gd name="T8" fmla="*/ 81 w 632"/>
                    <a:gd name="T9" fmla="*/ 125 h 360"/>
                    <a:gd name="T10" fmla="*/ 91 w 632"/>
                    <a:gd name="T11" fmla="*/ 114 h 360"/>
                    <a:gd name="T12" fmla="*/ 72 w 632"/>
                    <a:gd name="T13" fmla="*/ 111 h 360"/>
                    <a:gd name="T14" fmla="*/ 100 w 632"/>
                    <a:gd name="T15" fmla="*/ 105 h 360"/>
                    <a:gd name="T16" fmla="*/ 105 w 632"/>
                    <a:gd name="T17" fmla="*/ 97 h 360"/>
                    <a:gd name="T18" fmla="*/ 117 w 632"/>
                    <a:gd name="T19" fmla="*/ 92 h 360"/>
                    <a:gd name="T20" fmla="*/ 108 w 632"/>
                    <a:gd name="T21" fmla="*/ 84 h 360"/>
                    <a:gd name="T22" fmla="*/ 111 w 632"/>
                    <a:gd name="T23" fmla="*/ 81 h 360"/>
                    <a:gd name="T24" fmla="*/ 111 w 632"/>
                    <a:gd name="T25" fmla="*/ 75 h 360"/>
                    <a:gd name="T26" fmla="*/ 130 w 632"/>
                    <a:gd name="T27" fmla="*/ 72 h 360"/>
                    <a:gd name="T28" fmla="*/ 144 w 632"/>
                    <a:gd name="T29" fmla="*/ 67 h 360"/>
                    <a:gd name="T30" fmla="*/ 144 w 632"/>
                    <a:gd name="T31" fmla="*/ 64 h 360"/>
                    <a:gd name="T32" fmla="*/ 161 w 632"/>
                    <a:gd name="T33" fmla="*/ 58 h 360"/>
                    <a:gd name="T34" fmla="*/ 188 w 632"/>
                    <a:gd name="T35" fmla="*/ 41 h 360"/>
                    <a:gd name="T36" fmla="*/ 166 w 632"/>
                    <a:gd name="T37" fmla="*/ 41 h 360"/>
                    <a:gd name="T38" fmla="*/ 164 w 632"/>
                    <a:gd name="T39" fmla="*/ 41 h 360"/>
                    <a:gd name="T40" fmla="*/ 161 w 632"/>
                    <a:gd name="T41" fmla="*/ 33 h 360"/>
                    <a:gd name="T42" fmla="*/ 194 w 632"/>
                    <a:gd name="T43" fmla="*/ 33 h 360"/>
                    <a:gd name="T44" fmla="*/ 219 w 632"/>
                    <a:gd name="T45" fmla="*/ 22 h 360"/>
                    <a:gd name="T46" fmla="*/ 200 w 632"/>
                    <a:gd name="T47" fmla="*/ 6 h 360"/>
                    <a:gd name="T48" fmla="*/ 178 w 632"/>
                    <a:gd name="T49" fmla="*/ 6 h 360"/>
                    <a:gd name="T50" fmla="*/ 155 w 632"/>
                    <a:gd name="T51" fmla="*/ 3 h 360"/>
                    <a:gd name="T52" fmla="*/ 142 w 632"/>
                    <a:gd name="T53" fmla="*/ 6 h 360"/>
                    <a:gd name="T54" fmla="*/ 133 w 632"/>
                    <a:gd name="T55" fmla="*/ 8 h 360"/>
                    <a:gd name="T56" fmla="*/ 100 w 632"/>
                    <a:gd name="T57" fmla="*/ 3 h 360"/>
                    <a:gd name="T58" fmla="*/ 105 w 632"/>
                    <a:gd name="T59" fmla="*/ 11 h 360"/>
                    <a:gd name="T60" fmla="*/ 81 w 632"/>
                    <a:gd name="T61" fmla="*/ 8 h 360"/>
                    <a:gd name="T62" fmla="*/ 77 w 632"/>
                    <a:gd name="T63" fmla="*/ 11 h 360"/>
                    <a:gd name="T64" fmla="*/ 70 w 632"/>
                    <a:gd name="T65" fmla="*/ 14 h 360"/>
                    <a:gd name="T66" fmla="*/ 77 w 632"/>
                    <a:gd name="T67" fmla="*/ 27 h 360"/>
                    <a:gd name="T68" fmla="*/ 50 w 632"/>
                    <a:gd name="T69" fmla="*/ 19 h 360"/>
                    <a:gd name="T70" fmla="*/ 47 w 632"/>
                    <a:gd name="T71" fmla="*/ 25 h 360"/>
                    <a:gd name="T72" fmla="*/ 31 w 632"/>
                    <a:gd name="T73" fmla="*/ 27 h 360"/>
                    <a:gd name="T74" fmla="*/ 0 w 632"/>
                    <a:gd name="T75" fmla="*/ 33 h 360"/>
                    <a:gd name="T76" fmla="*/ 25 w 632"/>
                    <a:gd name="T77" fmla="*/ 36 h 360"/>
                    <a:gd name="T78" fmla="*/ 27 w 632"/>
                    <a:gd name="T79" fmla="*/ 47 h 360"/>
                    <a:gd name="T80" fmla="*/ 19 w 632"/>
                    <a:gd name="T81" fmla="*/ 50 h 360"/>
                    <a:gd name="T82" fmla="*/ 53 w 632"/>
                    <a:gd name="T83" fmla="*/ 47 h 360"/>
                    <a:gd name="T84" fmla="*/ 53 w 632"/>
                    <a:gd name="T85" fmla="*/ 56 h 360"/>
                    <a:gd name="T86" fmla="*/ 64 w 632"/>
                    <a:gd name="T87" fmla="*/ 56 h 360"/>
                    <a:gd name="T88" fmla="*/ 94 w 632"/>
                    <a:gd name="T89" fmla="*/ 39 h 360"/>
                    <a:gd name="T90" fmla="*/ 103 w 632"/>
                    <a:gd name="T91" fmla="*/ 53 h 360"/>
                    <a:gd name="T92" fmla="*/ 72 w 632"/>
                    <a:gd name="T93" fmla="*/ 58 h 360"/>
                    <a:gd name="T94" fmla="*/ 84 w 632"/>
                    <a:gd name="T95" fmla="*/ 72 h 360"/>
                    <a:gd name="T96" fmla="*/ 39 w 632"/>
                    <a:gd name="T97" fmla="*/ 61 h 360"/>
                    <a:gd name="T98" fmla="*/ 53 w 632"/>
                    <a:gd name="T99" fmla="*/ 77 h 360"/>
                    <a:gd name="T100" fmla="*/ 75 w 632"/>
                    <a:gd name="T101" fmla="*/ 84 h 360"/>
                    <a:gd name="T102" fmla="*/ 41 w 632"/>
                    <a:gd name="T103" fmla="*/ 86 h 360"/>
                    <a:gd name="T104" fmla="*/ 41 w 632"/>
                    <a:gd name="T105" fmla="*/ 97 h 360"/>
                    <a:gd name="T106" fmla="*/ 50 w 632"/>
                    <a:gd name="T107" fmla="*/ 100 h 360"/>
                    <a:gd name="T108" fmla="*/ 70 w 632"/>
                    <a:gd name="T109" fmla="*/ 100 h 360"/>
                    <a:gd name="T110" fmla="*/ 33 w 632"/>
                    <a:gd name="T111" fmla="*/ 100 h 360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632"/>
                    <a:gd name="T169" fmla="*/ 0 h 360"/>
                    <a:gd name="T170" fmla="*/ 632 w 632"/>
                    <a:gd name="T171" fmla="*/ 360 h 360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632" h="360">
                      <a:moveTo>
                        <a:pt x="104" y="312"/>
                      </a:moveTo>
                      <a:lnTo>
                        <a:pt x="104" y="320"/>
                      </a:lnTo>
                      <a:lnTo>
                        <a:pt x="96" y="320"/>
                      </a:lnTo>
                      <a:lnTo>
                        <a:pt x="80" y="320"/>
                      </a:lnTo>
                      <a:lnTo>
                        <a:pt x="72" y="320"/>
                      </a:lnTo>
                      <a:lnTo>
                        <a:pt x="56" y="328"/>
                      </a:lnTo>
                      <a:lnTo>
                        <a:pt x="48" y="328"/>
                      </a:lnTo>
                      <a:lnTo>
                        <a:pt x="48" y="344"/>
                      </a:lnTo>
                      <a:lnTo>
                        <a:pt x="64" y="344"/>
                      </a:lnTo>
                      <a:lnTo>
                        <a:pt x="72" y="344"/>
                      </a:lnTo>
                      <a:lnTo>
                        <a:pt x="80" y="352"/>
                      </a:lnTo>
                      <a:lnTo>
                        <a:pt x="88" y="344"/>
                      </a:lnTo>
                      <a:lnTo>
                        <a:pt x="96" y="344"/>
                      </a:lnTo>
                      <a:lnTo>
                        <a:pt x="104" y="344"/>
                      </a:lnTo>
                      <a:lnTo>
                        <a:pt x="112" y="344"/>
                      </a:lnTo>
                      <a:lnTo>
                        <a:pt x="112" y="352"/>
                      </a:lnTo>
                      <a:lnTo>
                        <a:pt x="128" y="352"/>
                      </a:lnTo>
                      <a:lnTo>
                        <a:pt x="144" y="352"/>
                      </a:lnTo>
                      <a:lnTo>
                        <a:pt x="136" y="344"/>
                      </a:lnTo>
                      <a:lnTo>
                        <a:pt x="144" y="344"/>
                      </a:lnTo>
                      <a:lnTo>
                        <a:pt x="152" y="344"/>
                      </a:lnTo>
                      <a:lnTo>
                        <a:pt x="160" y="344"/>
                      </a:lnTo>
                      <a:lnTo>
                        <a:pt x="152" y="344"/>
                      </a:lnTo>
                      <a:lnTo>
                        <a:pt x="168" y="344"/>
                      </a:lnTo>
                      <a:lnTo>
                        <a:pt x="176" y="344"/>
                      </a:lnTo>
                      <a:lnTo>
                        <a:pt x="184" y="344"/>
                      </a:lnTo>
                      <a:lnTo>
                        <a:pt x="192" y="352"/>
                      </a:lnTo>
                      <a:lnTo>
                        <a:pt x="200" y="344"/>
                      </a:lnTo>
                      <a:lnTo>
                        <a:pt x="200" y="336"/>
                      </a:lnTo>
                      <a:lnTo>
                        <a:pt x="216" y="336"/>
                      </a:lnTo>
                      <a:lnTo>
                        <a:pt x="216" y="344"/>
                      </a:lnTo>
                      <a:lnTo>
                        <a:pt x="232" y="344"/>
                      </a:lnTo>
                      <a:lnTo>
                        <a:pt x="232" y="352"/>
                      </a:lnTo>
                      <a:lnTo>
                        <a:pt x="224" y="352"/>
                      </a:lnTo>
                      <a:lnTo>
                        <a:pt x="232" y="360"/>
                      </a:lnTo>
                      <a:lnTo>
                        <a:pt x="264" y="352"/>
                      </a:lnTo>
                      <a:lnTo>
                        <a:pt x="264" y="344"/>
                      </a:lnTo>
                      <a:lnTo>
                        <a:pt x="280" y="344"/>
                      </a:lnTo>
                      <a:lnTo>
                        <a:pt x="288" y="336"/>
                      </a:lnTo>
                      <a:lnTo>
                        <a:pt x="280" y="328"/>
                      </a:lnTo>
                      <a:lnTo>
                        <a:pt x="272" y="328"/>
                      </a:lnTo>
                      <a:lnTo>
                        <a:pt x="264" y="328"/>
                      </a:lnTo>
                      <a:lnTo>
                        <a:pt x="256" y="328"/>
                      </a:lnTo>
                      <a:lnTo>
                        <a:pt x="256" y="320"/>
                      </a:lnTo>
                      <a:lnTo>
                        <a:pt x="264" y="320"/>
                      </a:lnTo>
                      <a:lnTo>
                        <a:pt x="256" y="312"/>
                      </a:lnTo>
                      <a:lnTo>
                        <a:pt x="248" y="312"/>
                      </a:lnTo>
                      <a:lnTo>
                        <a:pt x="240" y="320"/>
                      </a:lnTo>
                      <a:lnTo>
                        <a:pt x="208" y="320"/>
                      </a:lnTo>
                      <a:lnTo>
                        <a:pt x="208" y="312"/>
                      </a:lnTo>
                      <a:lnTo>
                        <a:pt x="216" y="312"/>
                      </a:lnTo>
                      <a:lnTo>
                        <a:pt x="208" y="304"/>
                      </a:lnTo>
                      <a:lnTo>
                        <a:pt x="216" y="304"/>
                      </a:lnTo>
                      <a:lnTo>
                        <a:pt x="232" y="312"/>
                      </a:lnTo>
                      <a:lnTo>
                        <a:pt x="264" y="312"/>
                      </a:lnTo>
                      <a:lnTo>
                        <a:pt x="288" y="304"/>
                      </a:lnTo>
                      <a:lnTo>
                        <a:pt x="280" y="296"/>
                      </a:lnTo>
                      <a:lnTo>
                        <a:pt x="272" y="288"/>
                      </a:lnTo>
                      <a:lnTo>
                        <a:pt x="280" y="288"/>
                      </a:lnTo>
                      <a:lnTo>
                        <a:pt x="304" y="288"/>
                      </a:lnTo>
                      <a:lnTo>
                        <a:pt x="328" y="280"/>
                      </a:lnTo>
                      <a:lnTo>
                        <a:pt x="320" y="280"/>
                      </a:lnTo>
                      <a:lnTo>
                        <a:pt x="304" y="280"/>
                      </a:lnTo>
                      <a:lnTo>
                        <a:pt x="312" y="272"/>
                      </a:lnTo>
                      <a:lnTo>
                        <a:pt x="336" y="272"/>
                      </a:lnTo>
                      <a:lnTo>
                        <a:pt x="344" y="272"/>
                      </a:lnTo>
                      <a:lnTo>
                        <a:pt x="336" y="264"/>
                      </a:lnTo>
                      <a:lnTo>
                        <a:pt x="320" y="264"/>
                      </a:lnTo>
                      <a:lnTo>
                        <a:pt x="320" y="256"/>
                      </a:lnTo>
                      <a:lnTo>
                        <a:pt x="336" y="264"/>
                      </a:lnTo>
                      <a:lnTo>
                        <a:pt x="352" y="256"/>
                      </a:lnTo>
                      <a:lnTo>
                        <a:pt x="336" y="248"/>
                      </a:lnTo>
                      <a:lnTo>
                        <a:pt x="320" y="248"/>
                      </a:lnTo>
                      <a:lnTo>
                        <a:pt x="312" y="240"/>
                      </a:lnTo>
                      <a:lnTo>
                        <a:pt x="288" y="240"/>
                      </a:lnTo>
                      <a:lnTo>
                        <a:pt x="296" y="240"/>
                      </a:lnTo>
                      <a:lnTo>
                        <a:pt x="312" y="240"/>
                      </a:lnTo>
                      <a:lnTo>
                        <a:pt x="288" y="232"/>
                      </a:lnTo>
                      <a:lnTo>
                        <a:pt x="304" y="232"/>
                      </a:lnTo>
                      <a:lnTo>
                        <a:pt x="320" y="232"/>
                      </a:lnTo>
                      <a:lnTo>
                        <a:pt x="336" y="240"/>
                      </a:lnTo>
                      <a:lnTo>
                        <a:pt x="352" y="240"/>
                      </a:lnTo>
                      <a:lnTo>
                        <a:pt x="352" y="232"/>
                      </a:lnTo>
                      <a:lnTo>
                        <a:pt x="320" y="232"/>
                      </a:lnTo>
                      <a:lnTo>
                        <a:pt x="288" y="232"/>
                      </a:lnTo>
                      <a:lnTo>
                        <a:pt x="288" y="224"/>
                      </a:lnTo>
                      <a:lnTo>
                        <a:pt x="304" y="224"/>
                      </a:lnTo>
                      <a:lnTo>
                        <a:pt x="296" y="224"/>
                      </a:lnTo>
                      <a:lnTo>
                        <a:pt x="320" y="224"/>
                      </a:lnTo>
                      <a:lnTo>
                        <a:pt x="304" y="224"/>
                      </a:lnTo>
                      <a:lnTo>
                        <a:pt x="320" y="216"/>
                      </a:lnTo>
                      <a:lnTo>
                        <a:pt x="328" y="216"/>
                      </a:lnTo>
                      <a:lnTo>
                        <a:pt x="328" y="224"/>
                      </a:lnTo>
                      <a:lnTo>
                        <a:pt x="344" y="224"/>
                      </a:lnTo>
                      <a:lnTo>
                        <a:pt x="344" y="216"/>
                      </a:lnTo>
                      <a:lnTo>
                        <a:pt x="360" y="216"/>
                      </a:lnTo>
                      <a:lnTo>
                        <a:pt x="376" y="216"/>
                      </a:lnTo>
                      <a:lnTo>
                        <a:pt x="376" y="208"/>
                      </a:lnTo>
                      <a:lnTo>
                        <a:pt x="352" y="208"/>
                      </a:lnTo>
                      <a:lnTo>
                        <a:pt x="352" y="200"/>
                      </a:lnTo>
                      <a:lnTo>
                        <a:pt x="360" y="200"/>
                      </a:lnTo>
                      <a:lnTo>
                        <a:pt x="384" y="208"/>
                      </a:lnTo>
                      <a:lnTo>
                        <a:pt x="408" y="208"/>
                      </a:lnTo>
                      <a:lnTo>
                        <a:pt x="416" y="200"/>
                      </a:lnTo>
                      <a:lnTo>
                        <a:pt x="416" y="192"/>
                      </a:lnTo>
                      <a:lnTo>
                        <a:pt x="424" y="192"/>
                      </a:lnTo>
                      <a:lnTo>
                        <a:pt x="416" y="192"/>
                      </a:lnTo>
                      <a:lnTo>
                        <a:pt x="400" y="192"/>
                      </a:lnTo>
                      <a:lnTo>
                        <a:pt x="392" y="192"/>
                      </a:lnTo>
                      <a:lnTo>
                        <a:pt x="392" y="184"/>
                      </a:lnTo>
                      <a:lnTo>
                        <a:pt x="400" y="184"/>
                      </a:lnTo>
                      <a:lnTo>
                        <a:pt x="416" y="184"/>
                      </a:lnTo>
                      <a:lnTo>
                        <a:pt x="424" y="184"/>
                      </a:lnTo>
                      <a:lnTo>
                        <a:pt x="440" y="184"/>
                      </a:lnTo>
                      <a:lnTo>
                        <a:pt x="440" y="176"/>
                      </a:lnTo>
                      <a:lnTo>
                        <a:pt x="424" y="168"/>
                      </a:lnTo>
                      <a:lnTo>
                        <a:pt x="440" y="168"/>
                      </a:lnTo>
                      <a:lnTo>
                        <a:pt x="448" y="176"/>
                      </a:lnTo>
                      <a:lnTo>
                        <a:pt x="464" y="168"/>
                      </a:lnTo>
                      <a:lnTo>
                        <a:pt x="464" y="160"/>
                      </a:lnTo>
                      <a:lnTo>
                        <a:pt x="488" y="144"/>
                      </a:lnTo>
                      <a:lnTo>
                        <a:pt x="496" y="144"/>
                      </a:lnTo>
                      <a:lnTo>
                        <a:pt x="512" y="136"/>
                      </a:lnTo>
                      <a:lnTo>
                        <a:pt x="520" y="136"/>
                      </a:lnTo>
                      <a:lnTo>
                        <a:pt x="536" y="120"/>
                      </a:lnTo>
                      <a:lnTo>
                        <a:pt x="544" y="120"/>
                      </a:lnTo>
                      <a:lnTo>
                        <a:pt x="552" y="112"/>
                      </a:lnTo>
                      <a:lnTo>
                        <a:pt x="560" y="104"/>
                      </a:lnTo>
                      <a:lnTo>
                        <a:pt x="544" y="104"/>
                      </a:lnTo>
                      <a:lnTo>
                        <a:pt x="536" y="112"/>
                      </a:lnTo>
                      <a:lnTo>
                        <a:pt x="520" y="112"/>
                      </a:lnTo>
                      <a:lnTo>
                        <a:pt x="512" y="112"/>
                      </a:lnTo>
                      <a:lnTo>
                        <a:pt x="480" y="120"/>
                      </a:lnTo>
                      <a:lnTo>
                        <a:pt x="464" y="128"/>
                      </a:lnTo>
                      <a:lnTo>
                        <a:pt x="456" y="128"/>
                      </a:lnTo>
                      <a:lnTo>
                        <a:pt x="448" y="128"/>
                      </a:lnTo>
                      <a:lnTo>
                        <a:pt x="432" y="128"/>
                      </a:lnTo>
                      <a:lnTo>
                        <a:pt x="440" y="128"/>
                      </a:lnTo>
                      <a:lnTo>
                        <a:pt x="456" y="128"/>
                      </a:lnTo>
                      <a:lnTo>
                        <a:pt x="472" y="120"/>
                      </a:lnTo>
                      <a:lnTo>
                        <a:pt x="496" y="112"/>
                      </a:lnTo>
                      <a:lnTo>
                        <a:pt x="520" y="112"/>
                      </a:lnTo>
                      <a:lnTo>
                        <a:pt x="512" y="104"/>
                      </a:lnTo>
                      <a:lnTo>
                        <a:pt x="496" y="104"/>
                      </a:lnTo>
                      <a:lnTo>
                        <a:pt x="488" y="104"/>
                      </a:lnTo>
                      <a:lnTo>
                        <a:pt x="464" y="104"/>
                      </a:lnTo>
                      <a:lnTo>
                        <a:pt x="464" y="96"/>
                      </a:lnTo>
                      <a:lnTo>
                        <a:pt x="472" y="96"/>
                      </a:lnTo>
                      <a:lnTo>
                        <a:pt x="480" y="104"/>
                      </a:lnTo>
                      <a:lnTo>
                        <a:pt x="496" y="96"/>
                      </a:lnTo>
                      <a:lnTo>
                        <a:pt x="504" y="104"/>
                      </a:lnTo>
                      <a:lnTo>
                        <a:pt x="536" y="96"/>
                      </a:lnTo>
                      <a:lnTo>
                        <a:pt x="544" y="96"/>
                      </a:lnTo>
                      <a:lnTo>
                        <a:pt x="560" y="96"/>
                      </a:lnTo>
                      <a:lnTo>
                        <a:pt x="576" y="88"/>
                      </a:lnTo>
                      <a:lnTo>
                        <a:pt x="584" y="88"/>
                      </a:lnTo>
                      <a:lnTo>
                        <a:pt x="600" y="80"/>
                      </a:lnTo>
                      <a:lnTo>
                        <a:pt x="608" y="72"/>
                      </a:lnTo>
                      <a:lnTo>
                        <a:pt x="616" y="72"/>
                      </a:lnTo>
                      <a:lnTo>
                        <a:pt x="608" y="72"/>
                      </a:lnTo>
                      <a:lnTo>
                        <a:pt x="632" y="64"/>
                      </a:lnTo>
                      <a:lnTo>
                        <a:pt x="632" y="48"/>
                      </a:lnTo>
                      <a:lnTo>
                        <a:pt x="616" y="40"/>
                      </a:lnTo>
                      <a:lnTo>
                        <a:pt x="584" y="40"/>
                      </a:lnTo>
                      <a:lnTo>
                        <a:pt x="576" y="32"/>
                      </a:lnTo>
                      <a:lnTo>
                        <a:pt x="568" y="24"/>
                      </a:lnTo>
                      <a:lnTo>
                        <a:pt x="576" y="24"/>
                      </a:lnTo>
                      <a:lnTo>
                        <a:pt x="576" y="16"/>
                      </a:lnTo>
                      <a:lnTo>
                        <a:pt x="560" y="16"/>
                      </a:lnTo>
                      <a:lnTo>
                        <a:pt x="552" y="24"/>
                      </a:lnTo>
                      <a:lnTo>
                        <a:pt x="544" y="16"/>
                      </a:lnTo>
                      <a:lnTo>
                        <a:pt x="536" y="24"/>
                      </a:lnTo>
                      <a:lnTo>
                        <a:pt x="528" y="24"/>
                      </a:lnTo>
                      <a:lnTo>
                        <a:pt x="520" y="16"/>
                      </a:lnTo>
                      <a:lnTo>
                        <a:pt x="512" y="16"/>
                      </a:lnTo>
                      <a:lnTo>
                        <a:pt x="488" y="32"/>
                      </a:lnTo>
                      <a:lnTo>
                        <a:pt x="464" y="32"/>
                      </a:lnTo>
                      <a:lnTo>
                        <a:pt x="504" y="16"/>
                      </a:lnTo>
                      <a:lnTo>
                        <a:pt x="496" y="8"/>
                      </a:lnTo>
                      <a:lnTo>
                        <a:pt x="472" y="8"/>
                      </a:lnTo>
                      <a:lnTo>
                        <a:pt x="464" y="8"/>
                      </a:lnTo>
                      <a:lnTo>
                        <a:pt x="448" y="8"/>
                      </a:lnTo>
                      <a:lnTo>
                        <a:pt x="440" y="8"/>
                      </a:lnTo>
                      <a:lnTo>
                        <a:pt x="424" y="8"/>
                      </a:lnTo>
                      <a:lnTo>
                        <a:pt x="424" y="0"/>
                      </a:lnTo>
                      <a:lnTo>
                        <a:pt x="400" y="0"/>
                      </a:lnTo>
                      <a:lnTo>
                        <a:pt x="400" y="8"/>
                      </a:lnTo>
                      <a:lnTo>
                        <a:pt x="416" y="8"/>
                      </a:lnTo>
                      <a:lnTo>
                        <a:pt x="408" y="16"/>
                      </a:lnTo>
                      <a:lnTo>
                        <a:pt x="392" y="8"/>
                      </a:lnTo>
                      <a:lnTo>
                        <a:pt x="392" y="0"/>
                      </a:lnTo>
                      <a:lnTo>
                        <a:pt x="368" y="0"/>
                      </a:lnTo>
                      <a:lnTo>
                        <a:pt x="360" y="0"/>
                      </a:lnTo>
                      <a:lnTo>
                        <a:pt x="360" y="8"/>
                      </a:lnTo>
                      <a:lnTo>
                        <a:pt x="360" y="16"/>
                      </a:lnTo>
                      <a:lnTo>
                        <a:pt x="384" y="24"/>
                      </a:lnTo>
                      <a:lnTo>
                        <a:pt x="384" y="32"/>
                      </a:lnTo>
                      <a:lnTo>
                        <a:pt x="376" y="32"/>
                      </a:lnTo>
                      <a:lnTo>
                        <a:pt x="360" y="24"/>
                      </a:lnTo>
                      <a:lnTo>
                        <a:pt x="352" y="24"/>
                      </a:lnTo>
                      <a:lnTo>
                        <a:pt x="336" y="8"/>
                      </a:lnTo>
                      <a:lnTo>
                        <a:pt x="296" y="8"/>
                      </a:lnTo>
                      <a:lnTo>
                        <a:pt x="288" y="8"/>
                      </a:lnTo>
                      <a:lnTo>
                        <a:pt x="288" y="16"/>
                      </a:lnTo>
                      <a:lnTo>
                        <a:pt x="312" y="24"/>
                      </a:lnTo>
                      <a:lnTo>
                        <a:pt x="320" y="32"/>
                      </a:lnTo>
                      <a:lnTo>
                        <a:pt x="328" y="32"/>
                      </a:lnTo>
                      <a:lnTo>
                        <a:pt x="320" y="40"/>
                      </a:lnTo>
                      <a:lnTo>
                        <a:pt x="304" y="48"/>
                      </a:lnTo>
                      <a:lnTo>
                        <a:pt x="304" y="32"/>
                      </a:lnTo>
                      <a:lnTo>
                        <a:pt x="288" y="24"/>
                      </a:lnTo>
                      <a:lnTo>
                        <a:pt x="272" y="16"/>
                      </a:lnTo>
                      <a:lnTo>
                        <a:pt x="264" y="16"/>
                      </a:lnTo>
                      <a:lnTo>
                        <a:pt x="256" y="16"/>
                      </a:lnTo>
                      <a:lnTo>
                        <a:pt x="232" y="16"/>
                      </a:lnTo>
                      <a:lnTo>
                        <a:pt x="224" y="16"/>
                      </a:lnTo>
                      <a:lnTo>
                        <a:pt x="232" y="24"/>
                      </a:lnTo>
                      <a:lnTo>
                        <a:pt x="256" y="32"/>
                      </a:lnTo>
                      <a:lnTo>
                        <a:pt x="248" y="32"/>
                      </a:lnTo>
                      <a:lnTo>
                        <a:pt x="232" y="32"/>
                      </a:lnTo>
                      <a:lnTo>
                        <a:pt x="208" y="24"/>
                      </a:lnTo>
                      <a:lnTo>
                        <a:pt x="200" y="24"/>
                      </a:lnTo>
                      <a:lnTo>
                        <a:pt x="192" y="24"/>
                      </a:lnTo>
                      <a:lnTo>
                        <a:pt x="224" y="32"/>
                      </a:lnTo>
                      <a:lnTo>
                        <a:pt x="224" y="40"/>
                      </a:lnTo>
                      <a:lnTo>
                        <a:pt x="216" y="40"/>
                      </a:lnTo>
                      <a:lnTo>
                        <a:pt x="200" y="32"/>
                      </a:lnTo>
                      <a:lnTo>
                        <a:pt x="176" y="32"/>
                      </a:lnTo>
                      <a:lnTo>
                        <a:pt x="184" y="40"/>
                      </a:lnTo>
                      <a:lnTo>
                        <a:pt x="192" y="40"/>
                      </a:lnTo>
                      <a:lnTo>
                        <a:pt x="200" y="40"/>
                      </a:lnTo>
                      <a:lnTo>
                        <a:pt x="200" y="48"/>
                      </a:lnTo>
                      <a:lnTo>
                        <a:pt x="184" y="48"/>
                      </a:lnTo>
                      <a:lnTo>
                        <a:pt x="176" y="48"/>
                      </a:lnTo>
                      <a:lnTo>
                        <a:pt x="184" y="56"/>
                      </a:lnTo>
                      <a:lnTo>
                        <a:pt x="216" y="64"/>
                      </a:lnTo>
                      <a:lnTo>
                        <a:pt x="224" y="72"/>
                      </a:lnTo>
                      <a:lnTo>
                        <a:pt x="224" y="80"/>
                      </a:lnTo>
                      <a:lnTo>
                        <a:pt x="216" y="80"/>
                      </a:lnTo>
                      <a:lnTo>
                        <a:pt x="192" y="64"/>
                      </a:lnTo>
                      <a:lnTo>
                        <a:pt x="176" y="64"/>
                      </a:lnTo>
                      <a:lnTo>
                        <a:pt x="168" y="64"/>
                      </a:lnTo>
                      <a:lnTo>
                        <a:pt x="184" y="72"/>
                      </a:lnTo>
                      <a:lnTo>
                        <a:pt x="168" y="72"/>
                      </a:lnTo>
                      <a:lnTo>
                        <a:pt x="144" y="56"/>
                      </a:lnTo>
                      <a:lnTo>
                        <a:pt x="128" y="48"/>
                      </a:lnTo>
                      <a:lnTo>
                        <a:pt x="112" y="48"/>
                      </a:lnTo>
                      <a:lnTo>
                        <a:pt x="120" y="56"/>
                      </a:lnTo>
                      <a:lnTo>
                        <a:pt x="104" y="56"/>
                      </a:lnTo>
                      <a:lnTo>
                        <a:pt x="104" y="64"/>
                      </a:lnTo>
                      <a:lnTo>
                        <a:pt x="112" y="72"/>
                      </a:lnTo>
                      <a:lnTo>
                        <a:pt x="136" y="72"/>
                      </a:lnTo>
                      <a:lnTo>
                        <a:pt x="144" y="80"/>
                      </a:lnTo>
                      <a:lnTo>
                        <a:pt x="128" y="80"/>
                      </a:lnTo>
                      <a:lnTo>
                        <a:pt x="112" y="80"/>
                      </a:lnTo>
                      <a:lnTo>
                        <a:pt x="104" y="72"/>
                      </a:lnTo>
                      <a:lnTo>
                        <a:pt x="96" y="80"/>
                      </a:lnTo>
                      <a:lnTo>
                        <a:pt x="104" y="80"/>
                      </a:lnTo>
                      <a:lnTo>
                        <a:pt x="88" y="80"/>
                      </a:lnTo>
                      <a:lnTo>
                        <a:pt x="80" y="72"/>
                      </a:lnTo>
                      <a:lnTo>
                        <a:pt x="64" y="72"/>
                      </a:lnTo>
                      <a:lnTo>
                        <a:pt x="48" y="80"/>
                      </a:lnTo>
                      <a:lnTo>
                        <a:pt x="48" y="88"/>
                      </a:lnTo>
                      <a:lnTo>
                        <a:pt x="24" y="80"/>
                      </a:lnTo>
                      <a:lnTo>
                        <a:pt x="16" y="88"/>
                      </a:lnTo>
                      <a:lnTo>
                        <a:pt x="0" y="96"/>
                      </a:lnTo>
                      <a:lnTo>
                        <a:pt x="8" y="104"/>
                      </a:lnTo>
                      <a:lnTo>
                        <a:pt x="24" y="104"/>
                      </a:lnTo>
                      <a:lnTo>
                        <a:pt x="40" y="104"/>
                      </a:lnTo>
                      <a:lnTo>
                        <a:pt x="32" y="104"/>
                      </a:lnTo>
                      <a:lnTo>
                        <a:pt x="32" y="112"/>
                      </a:lnTo>
                      <a:lnTo>
                        <a:pt x="56" y="112"/>
                      </a:lnTo>
                      <a:lnTo>
                        <a:pt x="72" y="104"/>
                      </a:lnTo>
                      <a:lnTo>
                        <a:pt x="96" y="104"/>
                      </a:lnTo>
                      <a:lnTo>
                        <a:pt x="88" y="112"/>
                      </a:lnTo>
                      <a:lnTo>
                        <a:pt x="64" y="112"/>
                      </a:lnTo>
                      <a:lnTo>
                        <a:pt x="48" y="120"/>
                      </a:lnTo>
                      <a:lnTo>
                        <a:pt x="40" y="128"/>
                      </a:lnTo>
                      <a:lnTo>
                        <a:pt x="48" y="136"/>
                      </a:lnTo>
                      <a:lnTo>
                        <a:pt x="80" y="136"/>
                      </a:lnTo>
                      <a:lnTo>
                        <a:pt x="104" y="136"/>
                      </a:lnTo>
                      <a:lnTo>
                        <a:pt x="136" y="120"/>
                      </a:lnTo>
                      <a:lnTo>
                        <a:pt x="144" y="120"/>
                      </a:lnTo>
                      <a:lnTo>
                        <a:pt x="128" y="136"/>
                      </a:lnTo>
                      <a:lnTo>
                        <a:pt x="104" y="136"/>
                      </a:lnTo>
                      <a:lnTo>
                        <a:pt x="80" y="136"/>
                      </a:lnTo>
                      <a:lnTo>
                        <a:pt x="56" y="144"/>
                      </a:lnTo>
                      <a:lnTo>
                        <a:pt x="56" y="152"/>
                      </a:lnTo>
                      <a:lnTo>
                        <a:pt x="80" y="152"/>
                      </a:lnTo>
                      <a:lnTo>
                        <a:pt x="96" y="160"/>
                      </a:lnTo>
                      <a:lnTo>
                        <a:pt x="104" y="160"/>
                      </a:lnTo>
                      <a:lnTo>
                        <a:pt x="112" y="144"/>
                      </a:lnTo>
                      <a:lnTo>
                        <a:pt x="128" y="136"/>
                      </a:lnTo>
                      <a:lnTo>
                        <a:pt x="152" y="136"/>
                      </a:lnTo>
                      <a:lnTo>
                        <a:pt x="184" y="128"/>
                      </a:lnTo>
                      <a:lnTo>
                        <a:pt x="184" y="136"/>
                      </a:lnTo>
                      <a:lnTo>
                        <a:pt x="136" y="144"/>
                      </a:lnTo>
                      <a:lnTo>
                        <a:pt x="120" y="152"/>
                      </a:lnTo>
                      <a:lnTo>
                        <a:pt x="120" y="160"/>
                      </a:lnTo>
                      <a:lnTo>
                        <a:pt x="144" y="168"/>
                      </a:lnTo>
                      <a:lnTo>
                        <a:pt x="152" y="160"/>
                      </a:lnTo>
                      <a:lnTo>
                        <a:pt x="152" y="152"/>
                      </a:lnTo>
                      <a:lnTo>
                        <a:pt x="168" y="152"/>
                      </a:lnTo>
                      <a:lnTo>
                        <a:pt x="184" y="152"/>
                      </a:lnTo>
                      <a:lnTo>
                        <a:pt x="200" y="152"/>
                      </a:lnTo>
                      <a:lnTo>
                        <a:pt x="192" y="152"/>
                      </a:lnTo>
                      <a:lnTo>
                        <a:pt x="176" y="160"/>
                      </a:lnTo>
                      <a:lnTo>
                        <a:pt x="184" y="160"/>
                      </a:lnTo>
                      <a:lnTo>
                        <a:pt x="208" y="160"/>
                      </a:lnTo>
                      <a:lnTo>
                        <a:pt x="224" y="152"/>
                      </a:lnTo>
                      <a:lnTo>
                        <a:pt x="248" y="144"/>
                      </a:lnTo>
                      <a:lnTo>
                        <a:pt x="240" y="128"/>
                      </a:lnTo>
                      <a:lnTo>
                        <a:pt x="256" y="128"/>
                      </a:lnTo>
                      <a:lnTo>
                        <a:pt x="264" y="120"/>
                      </a:lnTo>
                      <a:lnTo>
                        <a:pt x="272" y="112"/>
                      </a:lnTo>
                      <a:lnTo>
                        <a:pt x="288" y="112"/>
                      </a:lnTo>
                      <a:lnTo>
                        <a:pt x="288" y="120"/>
                      </a:lnTo>
                      <a:lnTo>
                        <a:pt x="272" y="128"/>
                      </a:lnTo>
                      <a:lnTo>
                        <a:pt x="264" y="144"/>
                      </a:lnTo>
                      <a:lnTo>
                        <a:pt x="288" y="144"/>
                      </a:lnTo>
                      <a:lnTo>
                        <a:pt x="312" y="144"/>
                      </a:lnTo>
                      <a:lnTo>
                        <a:pt x="296" y="152"/>
                      </a:lnTo>
                      <a:lnTo>
                        <a:pt x="264" y="152"/>
                      </a:lnTo>
                      <a:lnTo>
                        <a:pt x="240" y="152"/>
                      </a:lnTo>
                      <a:lnTo>
                        <a:pt x="248" y="160"/>
                      </a:lnTo>
                      <a:lnTo>
                        <a:pt x="264" y="160"/>
                      </a:lnTo>
                      <a:lnTo>
                        <a:pt x="240" y="168"/>
                      </a:lnTo>
                      <a:lnTo>
                        <a:pt x="224" y="168"/>
                      </a:lnTo>
                      <a:lnTo>
                        <a:pt x="208" y="168"/>
                      </a:lnTo>
                      <a:lnTo>
                        <a:pt x="184" y="168"/>
                      </a:lnTo>
                      <a:lnTo>
                        <a:pt x="184" y="176"/>
                      </a:lnTo>
                      <a:lnTo>
                        <a:pt x="200" y="184"/>
                      </a:lnTo>
                      <a:lnTo>
                        <a:pt x="208" y="192"/>
                      </a:lnTo>
                      <a:lnTo>
                        <a:pt x="216" y="208"/>
                      </a:lnTo>
                      <a:lnTo>
                        <a:pt x="224" y="208"/>
                      </a:lnTo>
                      <a:lnTo>
                        <a:pt x="240" y="208"/>
                      </a:lnTo>
                      <a:lnTo>
                        <a:pt x="248" y="208"/>
                      </a:lnTo>
                      <a:lnTo>
                        <a:pt x="232" y="216"/>
                      </a:lnTo>
                      <a:lnTo>
                        <a:pt x="208" y="216"/>
                      </a:lnTo>
                      <a:lnTo>
                        <a:pt x="200" y="200"/>
                      </a:lnTo>
                      <a:lnTo>
                        <a:pt x="168" y="176"/>
                      </a:lnTo>
                      <a:lnTo>
                        <a:pt x="144" y="176"/>
                      </a:lnTo>
                      <a:lnTo>
                        <a:pt x="112" y="176"/>
                      </a:lnTo>
                      <a:lnTo>
                        <a:pt x="112" y="184"/>
                      </a:lnTo>
                      <a:lnTo>
                        <a:pt x="128" y="192"/>
                      </a:lnTo>
                      <a:lnTo>
                        <a:pt x="112" y="192"/>
                      </a:lnTo>
                      <a:lnTo>
                        <a:pt x="112" y="200"/>
                      </a:lnTo>
                      <a:lnTo>
                        <a:pt x="136" y="208"/>
                      </a:lnTo>
                      <a:lnTo>
                        <a:pt x="152" y="216"/>
                      </a:lnTo>
                      <a:lnTo>
                        <a:pt x="152" y="224"/>
                      </a:lnTo>
                      <a:lnTo>
                        <a:pt x="168" y="232"/>
                      </a:lnTo>
                      <a:lnTo>
                        <a:pt x="168" y="240"/>
                      </a:lnTo>
                      <a:lnTo>
                        <a:pt x="152" y="232"/>
                      </a:lnTo>
                      <a:lnTo>
                        <a:pt x="144" y="240"/>
                      </a:lnTo>
                      <a:lnTo>
                        <a:pt x="168" y="248"/>
                      </a:lnTo>
                      <a:lnTo>
                        <a:pt x="192" y="248"/>
                      </a:lnTo>
                      <a:lnTo>
                        <a:pt x="216" y="240"/>
                      </a:lnTo>
                      <a:lnTo>
                        <a:pt x="216" y="248"/>
                      </a:lnTo>
                      <a:lnTo>
                        <a:pt x="200" y="248"/>
                      </a:lnTo>
                      <a:lnTo>
                        <a:pt x="192" y="256"/>
                      </a:lnTo>
                      <a:lnTo>
                        <a:pt x="176" y="248"/>
                      </a:lnTo>
                      <a:lnTo>
                        <a:pt x="152" y="248"/>
                      </a:lnTo>
                      <a:lnTo>
                        <a:pt x="136" y="248"/>
                      </a:lnTo>
                      <a:lnTo>
                        <a:pt x="120" y="248"/>
                      </a:lnTo>
                      <a:lnTo>
                        <a:pt x="112" y="248"/>
                      </a:lnTo>
                      <a:lnTo>
                        <a:pt x="104" y="248"/>
                      </a:lnTo>
                      <a:lnTo>
                        <a:pt x="96" y="264"/>
                      </a:lnTo>
                      <a:lnTo>
                        <a:pt x="96" y="280"/>
                      </a:lnTo>
                      <a:lnTo>
                        <a:pt x="112" y="280"/>
                      </a:lnTo>
                      <a:lnTo>
                        <a:pt x="120" y="272"/>
                      </a:lnTo>
                      <a:lnTo>
                        <a:pt x="120" y="280"/>
                      </a:lnTo>
                      <a:lnTo>
                        <a:pt x="136" y="280"/>
                      </a:lnTo>
                      <a:lnTo>
                        <a:pt x="144" y="272"/>
                      </a:lnTo>
                      <a:lnTo>
                        <a:pt x="144" y="264"/>
                      </a:lnTo>
                      <a:lnTo>
                        <a:pt x="152" y="264"/>
                      </a:lnTo>
                      <a:lnTo>
                        <a:pt x="152" y="272"/>
                      </a:lnTo>
                      <a:lnTo>
                        <a:pt x="144" y="280"/>
                      </a:lnTo>
                      <a:lnTo>
                        <a:pt x="144" y="288"/>
                      </a:lnTo>
                      <a:lnTo>
                        <a:pt x="136" y="288"/>
                      </a:lnTo>
                      <a:lnTo>
                        <a:pt x="136" y="296"/>
                      </a:lnTo>
                      <a:lnTo>
                        <a:pt x="152" y="304"/>
                      </a:lnTo>
                      <a:lnTo>
                        <a:pt x="176" y="296"/>
                      </a:lnTo>
                      <a:lnTo>
                        <a:pt x="184" y="280"/>
                      </a:lnTo>
                      <a:lnTo>
                        <a:pt x="200" y="280"/>
                      </a:lnTo>
                      <a:lnTo>
                        <a:pt x="200" y="288"/>
                      </a:lnTo>
                      <a:lnTo>
                        <a:pt x="192" y="288"/>
                      </a:lnTo>
                      <a:lnTo>
                        <a:pt x="168" y="312"/>
                      </a:lnTo>
                      <a:lnTo>
                        <a:pt x="160" y="312"/>
                      </a:lnTo>
                      <a:lnTo>
                        <a:pt x="144" y="312"/>
                      </a:lnTo>
                      <a:lnTo>
                        <a:pt x="120" y="304"/>
                      </a:lnTo>
                      <a:lnTo>
                        <a:pt x="112" y="296"/>
                      </a:lnTo>
                      <a:lnTo>
                        <a:pt x="96" y="288"/>
                      </a:lnTo>
                      <a:lnTo>
                        <a:pt x="88" y="288"/>
                      </a:lnTo>
                      <a:lnTo>
                        <a:pt x="72" y="296"/>
                      </a:lnTo>
                      <a:lnTo>
                        <a:pt x="80" y="304"/>
                      </a:lnTo>
                      <a:lnTo>
                        <a:pt x="104" y="312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42" name="Freeform 51">
                  <a:extLst>
                    <a:ext uri="{FF2B5EF4-FFF2-40B4-BE49-F238E27FC236}">
                      <a16:creationId xmlns:a16="http://schemas.microsoft.com/office/drawing/2014/main" id="{F022C7B1-0774-8F03-BD6B-2C9B171977E7}"/>
                    </a:ext>
                  </a:extLst>
                </p:cNvPr>
                <p:cNvSpPr/>
                <p:nvPr/>
              </p:nvSpPr>
              <p:spPr bwMode="gray">
                <a:xfrm>
                  <a:off x="2955445" y="1301439"/>
                  <a:ext cx="338900" cy="210705"/>
                </a:xfrm>
                <a:custGeom>
                  <a:avLst/>
                  <a:gdLst>
                    <a:gd name="T0" fmla="*/ 27 w 232"/>
                    <a:gd name="T1" fmla="*/ 0 h 160"/>
                    <a:gd name="T2" fmla="*/ 36 w 232"/>
                    <a:gd name="T3" fmla="*/ 6 h 160"/>
                    <a:gd name="T4" fmla="*/ 41 w 232"/>
                    <a:gd name="T5" fmla="*/ 14 h 160"/>
                    <a:gd name="T6" fmla="*/ 50 w 232"/>
                    <a:gd name="T7" fmla="*/ 19 h 160"/>
                    <a:gd name="T8" fmla="*/ 58 w 232"/>
                    <a:gd name="T9" fmla="*/ 25 h 160"/>
                    <a:gd name="T10" fmla="*/ 56 w 232"/>
                    <a:gd name="T11" fmla="*/ 19 h 160"/>
                    <a:gd name="T12" fmla="*/ 61 w 232"/>
                    <a:gd name="T13" fmla="*/ 17 h 160"/>
                    <a:gd name="T14" fmla="*/ 61 w 232"/>
                    <a:gd name="T15" fmla="*/ 22 h 160"/>
                    <a:gd name="T16" fmla="*/ 67 w 232"/>
                    <a:gd name="T17" fmla="*/ 30 h 160"/>
                    <a:gd name="T18" fmla="*/ 81 w 232"/>
                    <a:gd name="T19" fmla="*/ 33 h 160"/>
                    <a:gd name="T20" fmla="*/ 75 w 232"/>
                    <a:gd name="T21" fmla="*/ 38 h 160"/>
                    <a:gd name="T22" fmla="*/ 64 w 232"/>
                    <a:gd name="T23" fmla="*/ 44 h 160"/>
                    <a:gd name="T24" fmla="*/ 58 w 232"/>
                    <a:gd name="T25" fmla="*/ 41 h 160"/>
                    <a:gd name="T26" fmla="*/ 61 w 232"/>
                    <a:gd name="T27" fmla="*/ 47 h 160"/>
                    <a:gd name="T28" fmla="*/ 56 w 232"/>
                    <a:gd name="T29" fmla="*/ 47 h 160"/>
                    <a:gd name="T30" fmla="*/ 56 w 232"/>
                    <a:gd name="T31" fmla="*/ 50 h 160"/>
                    <a:gd name="T32" fmla="*/ 47 w 232"/>
                    <a:gd name="T33" fmla="*/ 50 h 160"/>
                    <a:gd name="T34" fmla="*/ 44 w 232"/>
                    <a:gd name="T35" fmla="*/ 47 h 160"/>
                    <a:gd name="T36" fmla="*/ 47 w 232"/>
                    <a:gd name="T37" fmla="*/ 52 h 160"/>
                    <a:gd name="T38" fmla="*/ 39 w 232"/>
                    <a:gd name="T39" fmla="*/ 55 h 160"/>
                    <a:gd name="T40" fmla="*/ 25 w 232"/>
                    <a:gd name="T41" fmla="*/ 50 h 160"/>
                    <a:gd name="T42" fmla="*/ 17 w 232"/>
                    <a:gd name="T43" fmla="*/ 44 h 160"/>
                    <a:gd name="T44" fmla="*/ 19 w 232"/>
                    <a:gd name="T45" fmla="*/ 41 h 160"/>
                    <a:gd name="T46" fmla="*/ 22 w 232"/>
                    <a:gd name="T47" fmla="*/ 36 h 160"/>
                    <a:gd name="T48" fmla="*/ 39 w 232"/>
                    <a:gd name="T49" fmla="*/ 38 h 160"/>
                    <a:gd name="T50" fmla="*/ 36 w 232"/>
                    <a:gd name="T51" fmla="*/ 36 h 160"/>
                    <a:gd name="T52" fmla="*/ 31 w 232"/>
                    <a:gd name="T53" fmla="*/ 33 h 160"/>
                    <a:gd name="T54" fmla="*/ 14 w 232"/>
                    <a:gd name="T55" fmla="*/ 33 h 160"/>
                    <a:gd name="T56" fmla="*/ 6 w 232"/>
                    <a:gd name="T57" fmla="*/ 30 h 160"/>
                    <a:gd name="T58" fmla="*/ 17 w 232"/>
                    <a:gd name="T59" fmla="*/ 27 h 160"/>
                    <a:gd name="T60" fmla="*/ 6 w 232"/>
                    <a:gd name="T61" fmla="*/ 30 h 160"/>
                    <a:gd name="T62" fmla="*/ 0 w 232"/>
                    <a:gd name="T63" fmla="*/ 22 h 160"/>
                    <a:gd name="T64" fmla="*/ 8 w 232"/>
                    <a:gd name="T65" fmla="*/ 22 h 160"/>
                    <a:gd name="T66" fmla="*/ 17 w 232"/>
                    <a:gd name="T67" fmla="*/ 22 h 160"/>
                    <a:gd name="T68" fmla="*/ 0 w 232"/>
                    <a:gd name="T69" fmla="*/ 17 h 160"/>
                    <a:gd name="T70" fmla="*/ 6 w 232"/>
                    <a:gd name="T71" fmla="*/ 14 h 160"/>
                    <a:gd name="T72" fmla="*/ 17 w 232"/>
                    <a:gd name="T73" fmla="*/ 14 h 160"/>
                    <a:gd name="T74" fmla="*/ 11 w 232"/>
                    <a:gd name="T75" fmla="*/ 8 h 160"/>
                    <a:gd name="T76" fmla="*/ 14 w 232"/>
                    <a:gd name="T77" fmla="*/ 6 h 160"/>
                    <a:gd name="T78" fmla="*/ 19 w 232"/>
                    <a:gd name="T79" fmla="*/ 6 h 160"/>
                    <a:gd name="T80" fmla="*/ 25 w 232"/>
                    <a:gd name="T81" fmla="*/ 3 h 160"/>
                    <a:gd name="T82" fmla="*/ 14 w 232"/>
                    <a:gd name="T83" fmla="*/ 3 h 160"/>
                    <a:gd name="T84" fmla="*/ 19 w 232"/>
                    <a:gd name="T85" fmla="*/ 0 h 1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32"/>
                    <a:gd name="T130" fmla="*/ 0 h 160"/>
                    <a:gd name="T131" fmla="*/ 232 w 232"/>
                    <a:gd name="T132" fmla="*/ 160 h 1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32" h="160">
                      <a:moveTo>
                        <a:pt x="64" y="0"/>
                      </a:moveTo>
                      <a:lnTo>
                        <a:pt x="80" y="0"/>
                      </a:lnTo>
                      <a:lnTo>
                        <a:pt x="96" y="8"/>
                      </a:lnTo>
                      <a:lnTo>
                        <a:pt x="104" y="16"/>
                      </a:lnTo>
                      <a:lnTo>
                        <a:pt x="112" y="24"/>
                      </a:lnTo>
                      <a:lnTo>
                        <a:pt x="120" y="40"/>
                      </a:lnTo>
                      <a:lnTo>
                        <a:pt x="144" y="48"/>
                      </a:lnTo>
                      <a:lnTo>
                        <a:pt x="144" y="56"/>
                      </a:lnTo>
                      <a:lnTo>
                        <a:pt x="152" y="64"/>
                      </a:lnTo>
                      <a:lnTo>
                        <a:pt x="168" y="72"/>
                      </a:lnTo>
                      <a:lnTo>
                        <a:pt x="168" y="64"/>
                      </a:lnTo>
                      <a:lnTo>
                        <a:pt x="160" y="56"/>
                      </a:lnTo>
                      <a:lnTo>
                        <a:pt x="160" y="48"/>
                      </a:lnTo>
                      <a:lnTo>
                        <a:pt x="176" y="48"/>
                      </a:lnTo>
                      <a:lnTo>
                        <a:pt x="184" y="64"/>
                      </a:lnTo>
                      <a:lnTo>
                        <a:pt x="176" y="64"/>
                      </a:lnTo>
                      <a:lnTo>
                        <a:pt x="192" y="72"/>
                      </a:lnTo>
                      <a:lnTo>
                        <a:pt x="192" y="88"/>
                      </a:lnTo>
                      <a:lnTo>
                        <a:pt x="216" y="88"/>
                      </a:lnTo>
                      <a:lnTo>
                        <a:pt x="232" y="96"/>
                      </a:lnTo>
                      <a:lnTo>
                        <a:pt x="232" y="104"/>
                      </a:lnTo>
                      <a:lnTo>
                        <a:pt x="216" y="112"/>
                      </a:lnTo>
                      <a:lnTo>
                        <a:pt x="192" y="120"/>
                      </a:lnTo>
                      <a:lnTo>
                        <a:pt x="184" y="128"/>
                      </a:lnTo>
                      <a:lnTo>
                        <a:pt x="176" y="128"/>
                      </a:lnTo>
                      <a:lnTo>
                        <a:pt x="168" y="120"/>
                      </a:lnTo>
                      <a:lnTo>
                        <a:pt x="160" y="128"/>
                      </a:lnTo>
                      <a:lnTo>
                        <a:pt x="176" y="136"/>
                      </a:lnTo>
                      <a:lnTo>
                        <a:pt x="168" y="144"/>
                      </a:lnTo>
                      <a:lnTo>
                        <a:pt x="160" y="136"/>
                      </a:lnTo>
                      <a:lnTo>
                        <a:pt x="152" y="144"/>
                      </a:lnTo>
                      <a:lnTo>
                        <a:pt x="160" y="144"/>
                      </a:lnTo>
                      <a:lnTo>
                        <a:pt x="152" y="160"/>
                      </a:lnTo>
                      <a:lnTo>
                        <a:pt x="136" y="144"/>
                      </a:lnTo>
                      <a:lnTo>
                        <a:pt x="136" y="136"/>
                      </a:lnTo>
                      <a:lnTo>
                        <a:pt x="128" y="136"/>
                      </a:lnTo>
                      <a:lnTo>
                        <a:pt x="120" y="144"/>
                      </a:lnTo>
                      <a:lnTo>
                        <a:pt x="136" y="152"/>
                      </a:lnTo>
                      <a:lnTo>
                        <a:pt x="120" y="152"/>
                      </a:lnTo>
                      <a:lnTo>
                        <a:pt x="112" y="160"/>
                      </a:lnTo>
                      <a:lnTo>
                        <a:pt x="72" y="152"/>
                      </a:lnTo>
                      <a:lnTo>
                        <a:pt x="72" y="144"/>
                      </a:lnTo>
                      <a:lnTo>
                        <a:pt x="64" y="136"/>
                      </a:lnTo>
                      <a:lnTo>
                        <a:pt x="48" y="128"/>
                      </a:lnTo>
                      <a:lnTo>
                        <a:pt x="64" y="128"/>
                      </a:lnTo>
                      <a:lnTo>
                        <a:pt x="56" y="120"/>
                      </a:lnTo>
                      <a:lnTo>
                        <a:pt x="40" y="120"/>
                      </a:lnTo>
                      <a:lnTo>
                        <a:pt x="64" y="104"/>
                      </a:lnTo>
                      <a:lnTo>
                        <a:pt x="88" y="112"/>
                      </a:lnTo>
                      <a:lnTo>
                        <a:pt x="112" y="112"/>
                      </a:lnTo>
                      <a:lnTo>
                        <a:pt x="80" y="104"/>
                      </a:lnTo>
                      <a:lnTo>
                        <a:pt x="104" y="104"/>
                      </a:lnTo>
                      <a:lnTo>
                        <a:pt x="104" y="96"/>
                      </a:lnTo>
                      <a:lnTo>
                        <a:pt x="88" y="96"/>
                      </a:lnTo>
                      <a:lnTo>
                        <a:pt x="80" y="96"/>
                      </a:lnTo>
                      <a:lnTo>
                        <a:pt x="40" y="96"/>
                      </a:lnTo>
                      <a:lnTo>
                        <a:pt x="24" y="96"/>
                      </a:lnTo>
                      <a:lnTo>
                        <a:pt x="16" y="88"/>
                      </a:lnTo>
                      <a:lnTo>
                        <a:pt x="40" y="88"/>
                      </a:lnTo>
                      <a:lnTo>
                        <a:pt x="48" y="80"/>
                      </a:lnTo>
                      <a:lnTo>
                        <a:pt x="32" y="88"/>
                      </a:lnTo>
                      <a:lnTo>
                        <a:pt x="16" y="88"/>
                      </a:lnTo>
                      <a:lnTo>
                        <a:pt x="8" y="80"/>
                      </a:lnTo>
                      <a:lnTo>
                        <a:pt x="0" y="64"/>
                      </a:lnTo>
                      <a:lnTo>
                        <a:pt x="8" y="64"/>
                      </a:lnTo>
                      <a:lnTo>
                        <a:pt x="24" y="64"/>
                      </a:lnTo>
                      <a:lnTo>
                        <a:pt x="48" y="72"/>
                      </a:lnTo>
                      <a:lnTo>
                        <a:pt x="48" y="64"/>
                      </a:lnTo>
                      <a:lnTo>
                        <a:pt x="24" y="64"/>
                      </a:lnTo>
                      <a:lnTo>
                        <a:pt x="0" y="48"/>
                      </a:lnTo>
                      <a:lnTo>
                        <a:pt x="24" y="48"/>
                      </a:lnTo>
                      <a:lnTo>
                        <a:pt x="16" y="40"/>
                      </a:lnTo>
                      <a:lnTo>
                        <a:pt x="32" y="40"/>
                      </a:lnTo>
                      <a:lnTo>
                        <a:pt x="48" y="40"/>
                      </a:lnTo>
                      <a:lnTo>
                        <a:pt x="56" y="40"/>
                      </a:lnTo>
                      <a:lnTo>
                        <a:pt x="32" y="24"/>
                      </a:lnTo>
                      <a:lnTo>
                        <a:pt x="32" y="16"/>
                      </a:lnTo>
                      <a:lnTo>
                        <a:pt x="40" y="16"/>
                      </a:lnTo>
                      <a:lnTo>
                        <a:pt x="48" y="24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72" y="8"/>
                      </a:lnTo>
                      <a:lnTo>
                        <a:pt x="64" y="8"/>
                      </a:lnTo>
                      <a:lnTo>
                        <a:pt x="40" y="8"/>
                      </a:lnTo>
                      <a:lnTo>
                        <a:pt x="40" y="0"/>
                      </a:lnTo>
                      <a:lnTo>
                        <a:pt x="56" y="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43" name="Freeform 52">
                  <a:extLst>
                    <a:ext uri="{FF2B5EF4-FFF2-40B4-BE49-F238E27FC236}">
                      <a16:creationId xmlns:a16="http://schemas.microsoft.com/office/drawing/2014/main" id="{EF99B96F-FDB8-9E84-B53B-81EBF7752E4C}"/>
                    </a:ext>
                  </a:extLst>
                </p:cNvPr>
                <p:cNvSpPr/>
                <p:nvPr/>
              </p:nvSpPr>
              <p:spPr bwMode="gray">
                <a:xfrm>
                  <a:off x="3246524" y="1448180"/>
                  <a:ext cx="47820" cy="11288"/>
                </a:xfrm>
                <a:custGeom>
                  <a:avLst/>
                  <a:gdLst>
                    <a:gd name="T0" fmla="*/ 0 w 32"/>
                    <a:gd name="T1" fmla="*/ 4 h 8"/>
                    <a:gd name="T2" fmla="*/ 3 w 32"/>
                    <a:gd name="T3" fmla="*/ 4 h 8"/>
                    <a:gd name="T4" fmla="*/ 9 w 32"/>
                    <a:gd name="T5" fmla="*/ 0 h 8"/>
                    <a:gd name="T6" fmla="*/ 12 w 32"/>
                    <a:gd name="T7" fmla="*/ 4 h 8"/>
                    <a:gd name="T8" fmla="*/ 6 w 32"/>
                    <a:gd name="T9" fmla="*/ 4 h 8"/>
                    <a:gd name="T10" fmla="*/ 0 w 32"/>
                    <a:gd name="T11" fmla="*/ 4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8"/>
                    <a:gd name="T20" fmla="*/ 32 w 32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24" y="0"/>
                      </a:lnTo>
                      <a:lnTo>
                        <a:pt x="32" y="8"/>
                      </a:lnTo>
                      <a:lnTo>
                        <a:pt x="16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44" name="Freeform 53">
                  <a:extLst>
                    <a:ext uri="{FF2B5EF4-FFF2-40B4-BE49-F238E27FC236}">
                      <a16:creationId xmlns:a16="http://schemas.microsoft.com/office/drawing/2014/main" id="{B86FDC46-BCB4-A25E-26BD-413D65576F97}"/>
                    </a:ext>
                  </a:extLst>
                </p:cNvPr>
                <p:cNvSpPr/>
                <p:nvPr/>
              </p:nvSpPr>
              <p:spPr bwMode="gray">
                <a:xfrm>
                  <a:off x="3481467" y="4019906"/>
                  <a:ext cx="58216" cy="22576"/>
                </a:xfrm>
                <a:custGeom>
                  <a:avLst/>
                  <a:gdLst>
                    <a:gd name="T0" fmla="*/ 0 w 40"/>
                    <a:gd name="T1" fmla="*/ 0 h 16"/>
                    <a:gd name="T2" fmla="*/ 6 w 40"/>
                    <a:gd name="T3" fmla="*/ 0 h 16"/>
                    <a:gd name="T4" fmla="*/ 14 w 40"/>
                    <a:gd name="T5" fmla="*/ 4 h 16"/>
                    <a:gd name="T6" fmla="*/ 14 w 40"/>
                    <a:gd name="T7" fmla="*/ 7 h 16"/>
                    <a:gd name="T8" fmla="*/ 6 w 40"/>
                    <a:gd name="T9" fmla="*/ 7 h 16"/>
                    <a:gd name="T10" fmla="*/ 3 w 40"/>
                    <a:gd name="T11" fmla="*/ 4 h 16"/>
                    <a:gd name="T12" fmla="*/ 0 w 40"/>
                    <a:gd name="T13" fmla="*/ 0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0"/>
                    <a:gd name="T22" fmla="*/ 0 h 16"/>
                    <a:gd name="T23" fmla="*/ 40 w 40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0" h="16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40" y="8"/>
                      </a:lnTo>
                      <a:lnTo>
                        <a:pt x="40" y="16"/>
                      </a:lnTo>
                      <a:lnTo>
                        <a:pt x="16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45" name="Freeform 54">
                  <a:extLst>
                    <a:ext uri="{FF2B5EF4-FFF2-40B4-BE49-F238E27FC236}">
                      <a16:creationId xmlns:a16="http://schemas.microsoft.com/office/drawing/2014/main" id="{3DA2E01F-A9E7-4AD6-667E-DEAEB0D822B6}"/>
                    </a:ext>
                  </a:extLst>
                </p:cNvPr>
                <p:cNvSpPr/>
                <p:nvPr/>
              </p:nvSpPr>
              <p:spPr bwMode="gray">
                <a:xfrm>
                  <a:off x="3527208" y="3820489"/>
                  <a:ext cx="24950" cy="30101"/>
                </a:xfrm>
                <a:custGeom>
                  <a:avLst/>
                  <a:gdLst>
                    <a:gd name="T0" fmla="*/ 0 w 16"/>
                    <a:gd name="T1" fmla="*/ 0 h 24"/>
                    <a:gd name="T2" fmla="*/ 4 w 16"/>
                    <a:gd name="T3" fmla="*/ 2 h 24"/>
                    <a:gd name="T4" fmla="*/ 4 w 16"/>
                    <a:gd name="T5" fmla="*/ 7 h 24"/>
                    <a:gd name="T6" fmla="*/ 7 w 16"/>
                    <a:gd name="T7" fmla="*/ 7 h 24"/>
                    <a:gd name="T8" fmla="*/ 7 w 16"/>
                    <a:gd name="T9" fmla="*/ 2 h 24"/>
                    <a:gd name="T10" fmla="*/ 4 w 16"/>
                    <a:gd name="T11" fmla="*/ 0 h 24"/>
                    <a:gd name="T12" fmla="*/ 0 w 16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24"/>
                    <a:gd name="T23" fmla="*/ 16 w 16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24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46" name="Freeform 55">
                  <a:extLst>
                    <a:ext uri="{FF2B5EF4-FFF2-40B4-BE49-F238E27FC236}">
                      <a16:creationId xmlns:a16="http://schemas.microsoft.com/office/drawing/2014/main" id="{0BF3A0FA-59D2-9B23-A34A-4739EDCC04BD}"/>
                    </a:ext>
                  </a:extLst>
                </p:cNvPr>
                <p:cNvSpPr/>
                <p:nvPr/>
              </p:nvSpPr>
              <p:spPr bwMode="gray">
                <a:xfrm>
                  <a:off x="3552158" y="3841183"/>
                  <a:ext cx="22871" cy="20694"/>
                </a:xfrm>
                <a:custGeom>
                  <a:avLst/>
                  <a:gdLst>
                    <a:gd name="T0" fmla="*/ 0 w 16"/>
                    <a:gd name="T1" fmla="*/ 0 h 16"/>
                    <a:gd name="T2" fmla="*/ 3 w 16"/>
                    <a:gd name="T3" fmla="*/ 6 h 16"/>
                    <a:gd name="T4" fmla="*/ 6 w 16"/>
                    <a:gd name="T5" fmla="*/ 6 h 16"/>
                    <a:gd name="T6" fmla="*/ 3 w 16"/>
                    <a:gd name="T7" fmla="*/ 3 h 16"/>
                    <a:gd name="T8" fmla="*/ 0 w 16"/>
                    <a:gd name="T9" fmla="*/ 0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6"/>
                    <a:gd name="T17" fmla="*/ 16 w 16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6">
                      <a:moveTo>
                        <a:pt x="0" y="0"/>
                      </a:moveTo>
                      <a:lnTo>
                        <a:pt x="8" y="16"/>
                      </a:lnTo>
                      <a:lnTo>
                        <a:pt x="16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47" name="Freeform 56">
                  <a:extLst>
                    <a:ext uri="{FF2B5EF4-FFF2-40B4-BE49-F238E27FC236}">
                      <a16:creationId xmlns:a16="http://schemas.microsoft.com/office/drawing/2014/main" id="{E748A14D-EB3F-5DBA-6060-6AE42613E736}"/>
                    </a:ext>
                  </a:extLst>
                </p:cNvPr>
                <p:cNvSpPr/>
                <p:nvPr/>
              </p:nvSpPr>
              <p:spPr bwMode="gray">
                <a:xfrm>
                  <a:off x="3575029" y="3873165"/>
                  <a:ext cx="12475" cy="31982"/>
                </a:xfrm>
                <a:custGeom>
                  <a:avLst/>
                  <a:gdLst>
                    <a:gd name="T0" fmla="*/ 0 w 8"/>
                    <a:gd name="T1" fmla="*/ 0 h 24"/>
                    <a:gd name="T2" fmla="*/ 0 w 8"/>
                    <a:gd name="T3" fmla="*/ 9 h 24"/>
                    <a:gd name="T4" fmla="*/ 4 w 8"/>
                    <a:gd name="T5" fmla="*/ 9 h 24"/>
                    <a:gd name="T6" fmla="*/ 0 w 8"/>
                    <a:gd name="T7" fmla="*/ 3 h 24"/>
                    <a:gd name="T8" fmla="*/ 0 w 8"/>
                    <a:gd name="T9" fmla="*/ 3 h 24"/>
                    <a:gd name="T10" fmla="*/ 0 w 8"/>
                    <a:gd name="T11" fmla="*/ 0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24"/>
                    <a:gd name="T20" fmla="*/ 8 w 8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24">
                      <a:moveTo>
                        <a:pt x="0" y="0"/>
                      </a:move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48" name="Freeform 57">
                  <a:extLst>
                    <a:ext uri="{FF2B5EF4-FFF2-40B4-BE49-F238E27FC236}">
                      <a16:creationId xmlns:a16="http://schemas.microsoft.com/office/drawing/2014/main" id="{B46D6C2F-132F-C907-36D0-BCA1AEF7A781}"/>
                    </a:ext>
                  </a:extLst>
                </p:cNvPr>
                <p:cNvSpPr/>
                <p:nvPr/>
              </p:nvSpPr>
              <p:spPr bwMode="gray">
                <a:xfrm>
                  <a:off x="3597899" y="3893859"/>
                  <a:ext cx="12475" cy="31982"/>
                </a:xfrm>
                <a:custGeom>
                  <a:avLst/>
                  <a:gdLst>
                    <a:gd name="T0" fmla="*/ 0 w 8"/>
                    <a:gd name="T1" fmla="*/ 3 h 24"/>
                    <a:gd name="T2" fmla="*/ 4 w 8"/>
                    <a:gd name="T3" fmla="*/ 3 h 24"/>
                    <a:gd name="T4" fmla="*/ 4 w 8"/>
                    <a:gd name="T5" fmla="*/ 6 h 24"/>
                    <a:gd name="T6" fmla="*/ 0 w 8"/>
                    <a:gd name="T7" fmla="*/ 6 h 24"/>
                    <a:gd name="T8" fmla="*/ 0 w 8"/>
                    <a:gd name="T9" fmla="*/ 9 h 24"/>
                    <a:gd name="T10" fmla="*/ 4 w 8"/>
                    <a:gd name="T11" fmla="*/ 6 h 24"/>
                    <a:gd name="T12" fmla="*/ 4 w 8"/>
                    <a:gd name="T13" fmla="*/ 3 h 24"/>
                    <a:gd name="T14" fmla="*/ 0 w 8"/>
                    <a:gd name="T15" fmla="*/ 0 h 24"/>
                    <a:gd name="T16" fmla="*/ 0 w 8"/>
                    <a:gd name="T17" fmla="*/ 3 h 2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"/>
                    <a:gd name="T28" fmla="*/ 0 h 24"/>
                    <a:gd name="T29" fmla="*/ 8 w 8"/>
                    <a:gd name="T30" fmla="*/ 24 h 2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" h="24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49" name="Freeform 58">
                  <a:extLst>
                    <a:ext uri="{FF2B5EF4-FFF2-40B4-BE49-F238E27FC236}">
                      <a16:creationId xmlns:a16="http://schemas.microsoft.com/office/drawing/2014/main" id="{522C931B-E5A6-DD82-B02B-BEEB748E8074}"/>
                    </a:ext>
                  </a:extLst>
                </p:cNvPr>
                <p:cNvSpPr/>
                <p:nvPr/>
              </p:nvSpPr>
              <p:spPr bwMode="gray">
                <a:xfrm>
                  <a:off x="3597899" y="3978518"/>
                  <a:ext cx="83166" cy="52676"/>
                </a:xfrm>
                <a:custGeom>
                  <a:avLst/>
                  <a:gdLst>
                    <a:gd name="T0" fmla="*/ 21 w 56"/>
                    <a:gd name="T1" fmla="*/ 8 h 40"/>
                    <a:gd name="T2" fmla="*/ 21 w 56"/>
                    <a:gd name="T3" fmla="*/ 0 h 40"/>
                    <a:gd name="T4" fmla="*/ 15 w 56"/>
                    <a:gd name="T5" fmla="*/ 0 h 40"/>
                    <a:gd name="T6" fmla="*/ 11 w 56"/>
                    <a:gd name="T7" fmla="*/ 0 h 40"/>
                    <a:gd name="T8" fmla="*/ 6 w 56"/>
                    <a:gd name="T9" fmla="*/ 0 h 40"/>
                    <a:gd name="T10" fmla="*/ 6 w 56"/>
                    <a:gd name="T11" fmla="*/ 3 h 40"/>
                    <a:gd name="T12" fmla="*/ 11 w 56"/>
                    <a:gd name="T13" fmla="*/ 3 h 40"/>
                    <a:gd name="T14" fmla="*/ 11 w 56"/>
                    <a:gd name="T15" fmla="*/ 6 h 40"/>
                    <a:gd name="T16" fmla="*/ 15 w 56"/>
                    <a:gd name="T17" fmla="*/ 8 h 40"/>
                    <a:gd name="T18" fmla="*/ 11 w 56"/>
                    <a:gd name="T19" fmla="*/ 8 h 40"/>
                    <a:gd name="T20" fmla="*/ 6 w 56"/>
                    <a:gd name="T21" fmla="*/ 8 h 40"/>
                    <a:gd name="T22" fmla="*/ 0 w 56"/>
                    <a:gd name="T23" fmla="*/ 8 h 40"/>
                    <a:gd name="T24" fmla="*/ 0 w 56"/>
                    <a:gd name="T25" fmla="*/ 10 h 40"/>
                    <a:gd name="T26" fmla="*/ 6 w 56"/>
                    <a:gd name="T27" fmla="*/ 14 h 40"/>
                    <a:gd name="T28" fmla="*/ 9 w 56"/>
                    <a:gd name="T29" fmla="*/ 14 h 40"/>
                    <a:gd name="T30" fmla="*/ 17 w 56"/>
                    <a:gd name="T31" fmla="*/ 14 h 40"/>
                    <a:gd name="T32" fmla="*/ 21 w 56"/>
                    <a:gd name="T33" fmla="*/ 8 h 4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56"/>
                    <a:gd name="T52" fmla="*/ 0 h 40"/>
                    <a:gd name="T53" fmla="*/ 56 w 56"/>
                    <a:gd name="T54" fmla="*/ 40 h 4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56" h="40">
                      <a:moveTo>
                        <a:pt x="56" y="24"/>
                      </a:moveTo>
                      <a:lnTo>
                        <a:pt x="56" y="0"/>
                      </a:ln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32" y="8"/>
                      </a:lnTo>
                      <a:lnTo>
                        <a:pt x="32" y="16"/>
                      </a:lnTo>
                      <a:lnTo>
                        <a:pt x="40" y="24"/>
                      </a:lnTo>
                      <a:lnTo>
                        <a:pt x="32" y="24"/>
                      </a:lnTo>
                      <a:lnTo>
                        <a:pt x="16" y="24"/>
                      </a:lnTo>
                      <a:lnTo>
                        <a:pt x="0" y="24"/>
                      </a:lnTo>
                      <a:lnTo>
                        <a:pt x="0" y="32"/>
                      </a:lnTo>
                      <a:lnTo>
                        <a:pt x="16" y="40"/>
                      </a:lnTo>
                      <a:lnTo>
                        <a:pt x="24" y="40"/>
                      </a:lnTo>
                      <a:lnTo>
                        <a:pt x="48" y="40"/>
                      </a:lnTo>
                      <a:lnTo>
                        <a:pt x="56" y="24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50" name="Freeform 59">
                  <a:extLst>
                    <a:ext uri="{FF2B5EF4-FFF2-40B4-BE49-F238E27FC236}">
                      <a16:creationId xmlns:a16="http://schemas.microsoft.com/office/drawing/2014/main" id="{41081E3C-9216-7287-CBF4-E11E6EF30E56}"/>
                    </a:ext>
                  </a:extLst>
                </p:cNvPr>
                <p:cNvSpPr/>
                <p:nvPr/>
              </p:nvSpPr>
              <p:spPr bwMode="gray">
                <a:xfrm>
                  <a:off x="3668590" y="3978518"/>
                  <a:ext cx="106036" cy="63964"/>
                </a:xfrm>
                <a:custGeom>
                  <a:avLst/>
                  <a:gdLst>
                    <a:gd name="T0" fmla="*/ 3 w 72"/>
                    <a:gd name="T1" fmla="*/ 9 h 48"/>
                    <a:gd name="T2" fmla="*/ 0 w 72"/>
                    <a:gd name="T3" fmla="*/ 14 h 48"/>
                    <a:gd name="T4" fmla="*/ 3 w 72"/>
                    <a:gd name="T5" fmla="*/ 17 h 48"/>
                    <a:gd name="T6" fmla="*/ 8 w 72"/>
                    <a:gd name="T7" fmla="*/ 14 h 48"/>
                    <a:gd name="T8" fmla="*/ 8 w 72"/>
                    <a:gd name="T9" fmla="*/ 11 h 48"/>
                    <a:gd name="T10" fmla="*/ 14 w 72"/>
                    <a:gd name="T11" fmla="*/ 11 h 48"/>
                    <a:gd name="T12" fmla="*/ 20 w 72"/>
                    <a:gd name="T13" fmla="*/ 11 h 48"/>
                    <a:gd name="T14" fmla="*/ 23 w 72"/>
                    <a:gd name="T15" fmla="*/ 14 h 48"/>
                    <a:gd name="T16" fmla="*/ 26 w 72"/>
                    <a:gd name="T17" fmla="*/ 11 h 48"/>
                    <a:gd name="T18" fmla="*/ 26 w 72"/>
                    <a:gd name="T19" fmla="*/ 9 h 48"/>
                    <a:gd name="T20" fmla="*/ 20 w 72"/>
                    <a:gd name="T21" fmla="*/ 6 h 48"/>
                    <a:gd name="T22" fmla="*/ 17 w 72"/>
                    <a:gd name="T23" fmla="*/ 6 h 48"/>
                    <a:gd name="T24" fmla="*/ 8 w 72"/>
                    <a:gd name="T25" fmla="*/ 0 h 48"/>
                    <a:gd name="T26" fmla="*/ 3 w 72"/>
                    <a:gd name="T27" fmla="*/ 0 h 48"/>
                    <a:gd name="T28" fmla="*/ 3 w 72"/>
                    <a:gd name="T29" fmla="*/ 9 h 4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2"/>
                    <a:gd name="T46" fmla="*/ 0 h 48"/>
                    <a:gd name="T47" fmla="*/ 72 w 72"/>
                    <a:gd name="T48" fmla="*/ 48 h 4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2" h="48">
                      <a:moveTo>
                        <a:pt x="8" y="24"/>
                      </a:moveTo>
                      <a:lnTo>
                        <a:pt x="0" y="40"/>
                      </a:lnTo>
                      <a:lnTo>
                        <a:pt x="8" y="48"/>
                      </a:lnTo>
                      <a:lnTo>
                        <a:pt x="24" y="40"/>
                      </a:lnTo>
                      <a:lnTo>
                        <a:pt x="24" y="32"/>
                      </a:lnTo>
                      <a:lnTo>
                        <a:pt x="40" y="32"/>
                      </a:lnTo>
                      <a:lnTo>
                        <a:pt x="56" y="32"/>
                      </a:lnTo>
                      <a:lnTo>
                        <a:pt x="64" y="40"/>
                      </a:lnTo>
                      <a:lnTo>
                        <a:pt x="72" y="32"/>
                      </a:lnTo>
                      <a:lnTo>
                        <a:pt x="72" y="24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8" y="24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51" name="Freeform 60">
                  <a:extLst>
                    <a:ext uri="{FF2B5EF4-FFF2-40B4-BE49-F238E27FC236}">
                      <a16:creationId xmlns:a16="http://schemas.microsoft.com/office/drawing/2014/main" id="{3B98B643-B278-507F-7127-21004C673393}"/>
                    </a:ext>
                  </a:extLst>
                </p:cNvPr>
                <p:cNvSpPr/>
                <p:nvPr/>
              </p:nvSpPr>
              <p:spPr bwMode="gray">
                <a:xfrm>
                  <a:off x="3807892" y="4019906"/>
                  <a:ext cx="47820" cy="11288"/>
                </a:xfrm>
                <a:custGeom>
                  <a:avLst/>
                  <a:gdLst>
                    <a:gd name="T0" fmla="*/ 0 w 32"/>
                    <a:gd name="T1" fmla="*/ 0 h 8"/>
                    <a:gd name="T2" fmla="*/ 3 w 32"/>
                    <a:gd name="T3" fmla="*/ 0 h 8"/>
                    <a:gd name="T4" fmla="*/ 9 w 32"/>
                    <a:gd name="T5" fmla="*/ 0 h 8"/>
                    <a:gd name="T6" fmla="*/ 12 w 32"/>
                    <a:gd name="T7" fmla="*/ 0 h 8"/>
                    <a:gd name="T8" fmla="*/ 9 w 32"/>
                    <a:gd name="T9" fmla="*/ 4 h 8"/>
                    <a:gd name="T10" fmla="*/ 0 w 32"/>
                    <a:gd name="T11" fmla="*/ 4 h 8"/>
                    <a:gd name="T12" fmla="*/ 0 w 32"/>
                    <a:gd name="T13" fmla="*/ 0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8"/>
                    <a:gd name="T23" fmla="*/ 32 w 32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24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52" name="Freeform 61">
                  <a:extLst>
                    <a:ext uri="{FF2B5EF4-FFF2-40B4-BE49-F238E27FC236}">
                      <a16:creationId xmlns:a16="http://schemas.microsoft.com/office/drawing/2014/main" id="{C7AC18CE-E306-86D2-FD7A-03995C775F01}"/>
                    </a:ext>
                  </a:extLst>
                </p:cNvPr>
                <p:cNvSpPr/>
                <p:nvPr/>
              </p:nvSpPr>
              <p:spPr bwMode="gray">
                <a:xfrm>
                  <a:off x="791059" y="1882758"/>
                  <a:ext cx="1145607" cy="899258"/>
                </a:xfrm>
                <a:custGeom>
                  <a:avLst/>
                  <a:gdLst>
                    <a:gd name="T0" fmla="*/ 181 w 784"/>
                    <a:gd name="T1" fmla="*/ 17 h 680"/>
                    <a:gd name="T2" fmla="*/ 153 w 784"/>
                    <a:gd name="T3" fmla="*/ 17 h 680"/>
                    <a:gd name="T4" fmla="*/ 131 w 784"/>
                    <a:gd name="T5" fmla="*/ 11 h 680"/>
                    <a:gd name="T6" fmla="*/ 117 w 784"/>
                    <a:gd name="T7" fmla="*/ 11 h 680"/>
                    <a:gd name="T8" fmla="*/ 100 w 784"/>
                    <a:gd name="T9" fmla="*/ 8 h 680"/>
                    <a:gd name="T10" fmla="*/ 86 w 784"/>
                    <a:gd name="T11" fmla="*/ 8 h 680"/>
                    <a:gd name="T12" fmla="*/ 81 w 784"/>
                    <a:gd name="T13" fmla="*/ 0 h 680"/>
                    <a:gd name="T14" fmla="*/ 56 w 784"/>
                    <a:gd name="T15" fmla="*/ 11 h 680"/>
                    <a:gd name="T16" fmla="*/ 36 w 784"/>
                    <a:gd name="T17" fmla="*/ 19 h 680"/>
                    <a:gd name="T18" fmla="*/ 11 w 784"/>
                    <a:gd name="T19" fmla="*/ 36 h 680"/>
                    <a:gd name="T20" fmla="*/ 22 w 784"/>
                    <a:gd name="T21" fmla="*/ 44 h 680"/>
                    <a:gd name="T22" fmla="*/ 36 w 784"/>
                    <a:gd name="T23" fmla="*/ 53 h 680"/>
                    <a:gd name="T24" fmla="*/ 44 w 784"/>
                    <a:gd name="T25" fmla="*/ 56 h 680"/>
                    <a:gd name="T26" fmla="*/ 58 w 784"/>
                    <a:gd name="T27" fmla="*/ 58 h 680"/>
                    <a:gd name="T28" fmla="*/ 50 w 784"/>
                    <a:gd name="T29" fmla="*/ 67 h 680"/>
                    <a:gd name="T30" fmla="*/ 27 w 784"/>
                    <a:gd name="T31" fmla="*/ 70 h 680"/>
                    <a:gd name="T32" fmla="*/ 17 w 784"/>
                    <a:gd name="T33" fmla="*/ 64 h 680"/>
                    <a:gd name="T34" fmla="*/ 6 w 784"/>
                    <a:gd name="T35" fmla="*/ 72 h 680"/>
                    <a:gd name="T36" fmla="*/ 11 w 784"/>
                    <a:gd name="T37" fmla="*/ 81 h 680"/>
                    <a:gd name="T38" fmla="*/ 14 w 784"/>
                    <a:gd name="T39" fmla="*/ 94 h 680"/>
                    <a:gd name="T40" fmla="*/ 36 w 784"/>
                    <a:gd name="T41" fmla="*/ 94 h 680"/>
                    <a:gd name="T42" fmla="*/ 53 w 784"/>
                    <a:gd name="T43" fmla="*/ 89 h 680"/>
                    <a:gd name="T44" fmla="*/ 53 w 784"/>
                    <a:gd name="T45" fmla="*/ 105 h 680"/>
                    <a:gd name="T46" fmla="*/ 31 w 784"/>
                    <a:gd name="T47" fmla="*/ 117 h 680"/>
                    <a:gd name="T48" fmla="*/ 19 w 784"/>
                    <a:gd name="T49" fmla="*/ 128 h 680"/>
                    <a:gd name="T50" fmla="*/ 19 w 784"/>
                    <a:gd name="T51" fmla="*/ 147 h 680"/>
                    <a:gd name="T52" fmla="*/ 27 w 784"/>
                    <a:gd name="T53" fmla="*/ 164 h 680"/>
                    <a:gd name="T54" fmla="*/ 41 w 784"/>
                    <a:gd name="T55" fmla="*/ 159 h 680"/>
                    <a:gd name="T56" fmla="*/ 41 w 784"/>
                    <a:gd name="T57" fmla="*/ 181 h 680"/>
                    <a:gd name="T58" fmla="*/ 58 w 784"/>
                    <a:gd name="T59" fmla="*/ 178 h 680"/>
                    <a:gd name="T60" fmla="*/ 70 w 784"/>
                    <a:gd name="T61" fmla="*/ 181 h 680"/>
                    <a:gd name="T62" fmla="*/ 77 w 784"/>
                    <a:gd name="T63" fmla="*/ 181 h 680"/>
                    <a:gd name="T64" fmla="*/ 64 w 784"/>
                    <a:gd name="T65" fmla="*/ 205 h 680"/>
                    <a:gd name="T66" fmla="*/ 53 w 784"/>
                    <a:gd name="T67" fmla="*/ 217 h 680"/>
                    <a:gd name="T68" fmla="*/ 36 w 784"/>
                    <a:gd name="T69" fmla="*/ 226 h 680"/>
                    <a:gd name="T70" fmla="*/ 22 w 784"/>
                    <a:gd name="T71" fmla="*/ 236 h 680"/>
                    <a:gd name="T72" fmla="*/ 36 w 784"/>
                    <a:gd name="T73" fmla="*/ 231 h 680"/>
                    <a:gd name="T74" fmla="*/ 53 w 784"/>
                    <a:gd name="T75" fmla="*/ 222 h 680"/>
                    <a:gd name="T76" fmla="*/ 77 w 784"/>
                    <a:gd name="T77" fmla="*/ 205 h 680"/>
                    <a:gd name="T78" fmla="*/ 94 w 784"/>
                    <a:gd name="T79" fmla="*/ 192 h 680"/>
                    <a:gd name="T80" fmla="*/ 103 w 784"/>
                    <a:gd name="T81" fmla="*/ 175 h 680"/>
                    <a:gd name="T82" fmla="*/ 105 w 784"/>
                    <a:gd name="T83" fmla="*/ 167 h 680"/>
                    <a:gd name="T84" fmla="*/ 128 w 784"/>
                    <a:gd name="T85" fmla="*/ 142 h 680"/>
                    <a:gd name="T86" fmla="*/ 128 w 784"/>
                    <a:gd name="T87" fmla="*/ 147 h 680"/>
                    <a:gd name="T88" fmla="*/ 117 w 784"/>
                    <a:gd name="T89" fmla="*/ 167 h 680"/>
                    <a:gd name="T90" fmla="*/ 122 w 784"/>
                    <a:gd name="T91" fmla="*/ 172 h 680"/>
                    <a:gd name="T92" fmla="*/ 142 w 784"/>
                    <a:gd name="T93" fmla="*/ 155 h 680"/>
                    <a:gd name="T94" fmla="*/ 147 w 784"/>
                    <a:gd name="T95" fmla="*/ 144 h 680"/>
                    <a:gd name="T96" fmla="*/ 155 w 784"/>
                    <a:gd name="T97" fmla="*/ 150 h 680"/>
                    <a:gd name="T98" fmla="*/ 169 w 784"/>
                    <a:gd name="T99" fmla="*/ 161 h 680"/>
                    <a:gd name="T100" fmla="*/ 192 w 784"/>
                    <a:gd name="T101" fmla="*/ 164 h 680"/>
                    <a:gd name="T102" fmla="*/ 214 w 784"/>
                    <a:gd name="T103" fmla="*/ 172 h 680"/>
                    <a:gd name="T104" fmla="*/ 225 w 784"/>
                    <a:gd name="T105" fmla="*/ 181 h 680"/>
                    <a:gd name="T106" fmla="*/ 233 w 784"/>
                    <a:gd name="T107" fmla="*/ 183 h 680"/>
                    <a:gd name="T108" fmla="*/ 242 w 784"/>
                    <a:gd name="T109" fmla="*/ 183 h 680"/>
                    <a:gd name="T110" fmla="*/ 255 w 784"/>
                    <a:gd name="T111" fmla="*/ 205 h 680"/>
                    <a:gd name="T112" fmla="*/ 261 w 784"/>
                    <a:gd name="T113" fmla="*/ 222 h 680"/>
                    <a:gd name="T114" fmla="*/ 272 w 784"/>
                    <a:gd name="T115" fmla="*/ 228 h 680"/>
                    <a:gd name="T116" fmla="*/ 259 w 784"/>
                    <a:gd name="T117" fmla="*/ 203 h 680"/>
                    <a:gd name="T118" fmla="*/ 233 w 784"/>
                    <a:gd name="T119" fmla="*/ 167 h 680"/>
                    <a:gd name="T120" fmla="*/ 209 w 784"/>
                    <a:gd name="T121" fmla="*/ 159 h 680"/>
                    <a:gd name="T122" fmla="*/ 195 w 784"/>
                    <a:gd name="T123" fmla="*/ 155 h 68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784"/>
                    <a:gd name="T187" fmla="*/ 0 h 680"/>
                    <a:gd name="T188" fmla="*/ 784 w 784"/>
                    <a:gd name="T189" fmla="*/ 680 h 68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784" h="680">
                      <a:moveTo>
                        <a:pt x="560" y="64"/>
                      </a:moveTo>
                      <a:lnTo>
                        <a:pt x="536" y="56"/>
                      </a:lnTo>
                      <a:lnTo>
                        <a:pt x="528" y="56"/>
                      </a:lnTo>
                      <a:lnTo>
                        <a:pt x="520" y="48"/>
                      </a:lnTo>
                      <a:lnTo>
                        <a:pt x="504" y="48"/>
                      </a:lnTo>
                      <a:lnTo>
                        <a:pt x="472" y="56"/>
                      </a:lnTo>
                      <a:lnTo>
                        <a:pt x="456" y="48"/>
                      </a:lnTo>
                      <a:lnTo>
                        <a:pt x="440" y="48"/>
                      </a:lnTo>
                      <a:lnTo>
                        <a:pt x="432" y="48"/>
                      </a:lnTo>
                      <a:lnTo>
                        <a:pt x="408" y="40"/>
                      </a:lnTo>
                      <a:lnTo>
                        <a:pt x="392" y="32"/>
                      </a:lnTo>
                      <a:lnTo>
                        <a:pt x="376" y="32"/>
                      </a:lnTo>
                      <a:lnTo>
                        <a:pt x="352" y="32"/>
                      </a:lnTo>
                      <a:lnTo>
                        <a:pt x="336" y="40"/>
                      </a:lnTo>
                      <a:lnTo>
                        <a:pt x="328" y="32"/>
                      </a:lnTo>
                      <a:lnTo>
                        <a:pt x="336" y="32"/>
                      </a:lnTo>
                      <a:lnTo>
                        <a:pt x="312" y="24"/>
                      </a:lnTo>
                      <a:lnTo>
                        <a:pt x="320" y="16"/>
                      </a:lnTo>
                      <a:lnTo>
                        <a:pt x="304" y="16"/>
                      </a:lnTo>
                      <a:lnTo>
                        <a:pt x="288" y="24"/>
                      </a:lnTo>
                      <a:lnTo>
                        <a:pt x="272" y="16"/>
                      </a:lnTo>
                      <a:lnTo>
                        <a:pt x="264" y="16"/>
                      </a:lnTo>
                      <a:lnTo>
                        <a:pt x="256" y="24"/>
                      </a:lnTo>
                      <a:lnTo>
                        <a:pt x="248" y="24"/>
                      </a:lnTo>
                      <a:lnTo>
                        <a:pt x="240" y="16"/>
                      </a:lnTo>
                      <a:lnTo>
                        <a:pt x="256" y="8"/>
                      </a:lnTo>
                      <a:lnTo>
                        <a:pt x="248" y="8"/>
                      </a:lnTo>
                      <a:lnTo>
                        <a:pt x="232" y="0"/>
                      </a:lnTo>
                      <a:lnTo>
                        <a:pt x="208" y="24"/>
                      </a:lnTo>
                      <a:lnTo>
                        <a:pt x="184" y="24"/>
                      </a:lnTo>
                      <a:lnTo>
                        <a:pt x="184" y="16"/>
                      </a:lnTo>
                      <a:lnTo>
                        <a:pt x="160" y="32"/>
                      </a:lnTo>
                      <a:lnTo>
                        <a:pt x="144" y="40"/>
                      </a:lnTo>
                      <a:lnTo>
                        <a:pt x="136" y="40"/>
                      </a:lnTo>
                      <a:lnTo>
                        <a:pt x="112" y="48"/>
                      </a:lnTo>
                      <a:lnTo>
                        <a:pt x="104" y="56"/>
                      </a:lnTo>
                      <a:lnTo>
                        <a:pt x="96" y="80"/>
                      </a:lnTo>
                      <a:lnTo>
                        <a:pt x="80" y="96"/>
                      </a:lnTo>
                      <a:lnTo>
                        <a:pt x="32" y="96"/>
                      </a:lnTo>
                      <a:lnTo>
                        <a:pt x="32" y="104"/>
                      </a:lnTo>
                      <a:lnTo>
                        <a:pt x="24" y="104"/>
                      </a:lnTo>
                      <a:lnTo>
                        <a:pt x="32" y="112"/>
                      </a:lnTo>
                      <a:lnTo>
                        <a:pt x="48" y="120"/>
                      </a:lnTo>
                      <a:lnTo>
                        <a:pt x="64" y="128"/>
                      </a:lnTo>
                      <a:lnTo>
                        <a:pt x="80" y="136"/>
                      </a:lnTo>
                      <a:lnTo>
                        <a:pt x="88" y="152"/>
                      </a:lnTo>
                      <a:lnTo>
                        <a:pt x="96" y="152"/>
                      </a:lnTo>
                      <a:lnTo>
                        <a:pt x="104" y="152"/>
                      </a:lnTo>
                      <a:lnTo>
                        <a:pt x="120" y="152"/>
                      </a:lnTo>
                      <a:lnTo>
                        <a:pt x="128" y="152"/>
                      </a:lnTo>
                      <a:lnTo>
                        <a:pt x="136" y="152"/>
                      </a:lnTo>
                      <a:lnTo>
                        <a:pt x="128" y="160"/>
                      </a:lnTo>
                      <a:lnTo>
                        <a:pt x="128" y="168"/>
                      </a:lnTo>
                      <a:lnTo>
                        <a:pt x="136" y="176"/>
                      </a:lnTo>
                      <a:lnTo>
                        <a:pt x="152" y="168"/>
                      </a:lnTo>
                      <a:lnTo>
                        <a:pt x="168" y="168"/>
                      </a:lnTo>
                      <a:lnTo>
                        <a:pt x="176" y="176"/>
                      </a:lnTo>
                      <a:lnTo>
                        <a:pt x="168" y="176"/>
                      </a:lnTo>
                      <a:lnTo>
                        <a:pt x="144" y="184"/>
                      </a:lnTo>
                      <a:lnTo>
                        <a:pt x="144" y="192"/>
                      </a:lnTo>
                      <a:lnTo>
                        <a:pt x="136" y="192"/>
                      </a:lnTo>
                      <a:lnTo>
                        <a:pt x="128" y="200"/>
                      </a:lnTo>
                      <a:lnTo>
                        <a:pt x="104" y="192"/>
                      </a:lnTo>
                      <a:lnTo>
                        <a:pt x="80" y="200"/>
                      </a:lnTo>
                      <a:lnTo>
                        <a:pt x="80" y="192"/>
                      </a:lnTo>
                      <a:lnTo>
                        <a:pt x="88" y="176"/>
                      </a:lnTo>
                      <a:lnTo>
                        <a:pt x="64" y="176"/>
                      </a:lnTo>
                      <a:lnTo>
                        <a:pt x="48" y="184"/>
                      </a:lnTo>
                      <a:lnTo>
                        <a:pt x="40" y="192"/>
                      </a:lnTo>
                      <a:lnTo>
                        <a:pt x="24" y="192"/>
                      </a:lnTo>
                      <a:lnTo>
                        <a:pt x="24" y="208"/>
                      </a:lnTo>
                      <a:lnTo>
                        <a:pt x="16" y="208"/>
                      </a:lnTo>
                      <a:lnTo>
                        <a:pt x="0" y="224"/>
                      </a:lnTo>
                      <a:lnTo>
                        <a:pt x="16" y="232"/>
                      </a:lnTo>
                      <a:lnTo>
                        <a:pt x="24" y="232"/>
                      </a:lnTo>
                      <a:lnTo>
                        <a:pt x="32" y="232"/>
                      </a:lnTo>
                      <a:lnTo>
                        <a:pt x="40" y="240"/>
                      </a:lnTo>
                      <a:lnTo>
                        <a:pt x="32" y="240"/>
                      </a:lnTo>
                      <a:lnTo>
                        <a:pt x="24" y="240"/>
                      </a:lnTo>
                      <a:lnTo>
                        <a:pt x="40" y="272"/>
                      </a:lnTo>
                      <a:lnTo>
                        <a:pt x="64" y="272"/>
                      </a:lnTo>
                      <a:lnTo>
                        <a:pt x="72" y="264"/>
                      </a:lnTo>
                      <a:lnTo>
                        <a:pt x="88" y="272"/>
                      </a:lnTo>
                      <a:lnTo>
                        <a:pt x="104" y="272"/>
                      </a:lnTo>
                      <a:lnTo>
                        <a:pt x="112" y="264"/>
                      </a:lnTo>
                      <a:lnTo>
                        <a:pt x="128" y="256"/>
                      </a:lnTo>
                      <a:lnTo>
                        <a:pt x="136" y="256"/>
                      </a:lnTo>
                      <a:lnTo>
                        <a:pt x="152" y="256"/>
                      </a:lnTo>
                      <a:lnTo>
                        <a:pt x="152" y="272"/>
                      </a:lnTo>
                      <a:lnTo>
                        <a:pt x="136" y="272"/>
                      </a:lnTo>
                      <a:lnTo>
                        <a:pt x="152" y="288"/>
                      </a:lnTo>
                      <a:lnTo>
                        <a:pt x="152" y="304"/>
                      </a:lnTo>
                      <a:lnTo>
                        <a:pt x="136" y="328"/>
                      </a:lnTo>
                      <a:lnTo>
                        <a:pt x="120" y="328"/>
                      </a:lnTo>
                      <a:lnTo>
                        <a:pt x="104" y="328"/>
                      </a:lnTo>
                      <a:lnTo>
                        <a:pt x="88" y="336"/>
                      </a:lnTo>
                      <a:lnTo>
                        <a:pt x="80" y="328"/>
                      </a:lnTo>
                      <a:lnTo>
                        <a:pt x="64" y="352"/>
                      </a:lnTo>
                      <a:lnTo>
                        <a:pt x="64" y="368"/>
                      </a:lnTo>
                      <a:lnTo>
                        <a:pt x="56" y="368"/>
                      </a:lnTo>
                      <a:lnTo>
                        <a:pt x="48" y="392"/>
                      </a:lnTo>
                      <a:lnTo>
                        <a:pt x="40" y="400"/>
                      </a:lnTo>
                      <a:lnTo>
                        <a:pt x="40" y="408"/>
                      </a:lnTo>
                      <a:lnTo>
                        <a:pt x="56" y="424"/>
                      </a:lnTo>
                      <a:lnTo>
                        <a:pt x="64" y="432"/>
                      </a:lnTo>
                      <a:lnTo>
                        <a:pt x="56" y="448"/>
                      </a:lnTo>
                      <a:lnTo>
                        <a:pt x="48" y="448"/>
                      </a:lnTo>
                      <a:lnTo>
                        <a:pt x="80" y="472"/>
                      </a:lnTo>
                      <a:lnTo>
                        <a:pt x="96" y="472"/>
                      </a:lnTo>
                      <a:lnTo>
                        <a:pt x="112" y="472"/>
                      </a:lnTo>
                      <a:lnTo>
                        <a:pt x="112" y="464"/>
                      </a:lnTo>
                      <a:lnTo>
                        <a:pt x="120" y="456"/>
                      </a:lnTo>
                      <a:lnTo>
                        <a:pt x="120" y="472"/>
                      </a:lnTo>
                      <a:lnTo>
                        <a:pt x="120" y="488"/>
                      </a:lnTo>
                      <a:lnTo>
                        <a:pt x="128" y="504"/>
                      </a:lnTo>
                      <a:lnTo>
                        <a:pt x="120" y="520"/>
                      </a:lnTo>
                      <a:lnTo>
                        <a:pt x="136" y="520"/>
                      </a:lnTo>
                      <a:lnTo>
                        <a:pt x="160" y="504"/>
                      </a:lnTo>
                      <a:lnTo>
                        <a:pt x="160" y="512"/>
                      </a:lnTo>
                      <a:lnTo>
                        <a:pt x="168" y="512"/>
                      </a:lnTo>
                      <a:lnTo>
                        <a:pt x="176" y="528"/>
                      </a:lnTo>
                      <a:lnTo>
                        <a:pt x="184" y="528"/>
                      </a:lnTo>
                      <a:lnTo>
                        <a:pt x="192" y="512"/>
                      </a:lnTo>
                      <a:lnTo>
                        <a:pt x="200" y="520"/>
                      </a:lnTo>
                      <a:lnTo>
                        <a:pt x="208" y="520"/>
                      </a:lnTo>
                      <a:lnTo>
                        <a:pt x="216" y="520"/>
                      </a:lnTo>
                      <a:lnTo>
                        <a:pt x="224" y="512"/>
                      </a:lnTo>
                      <a:lnTo>
                        <a:pt x="224" y="520"/>
                      </a:lnTo>
                      <a:lnTo>
                        <a:pt x="216" y="544"/>
                      </a:lnTo>
                      <a:lnTo>
                        <a:pt x="216" y="568"/>
                      </a:lnTo>
                      <a:lnTo>
                        <a:pt x="200" y="568"/>
                      </a:lnTo>
                      <a:lnTo>
                        <a:pt x="184" y="592"/>
                      </a:lnTo>
                      <a:lnTo>
                        <a:pt x="168" y="600"/>
                      </a:lnTo>
                      <a:lnTo>
                        <a:pt x="160" y="616"/>
                      </a:lnTo>
                      <a:lnTo>
                        <a:pt x="160" y="624"/>
                      </a:lnTo>
                      <a:lnTo>
                        <a:pt x="152" y="624"/>
                      </a:lnTo>
                      <a:lnTo>
                        <a:pt x="144" y="624"/>
                      </a:lnTo>
                      <a:lnTo>
                        <a:pt x="128" y="624"/>
                      </a:lnTo>
                      <a:lnTo>
                        <a:pt x="112" y="640"/>
                      </a:lnTo>
                      <a:lnTo>
                        <a:pt x="104" y="648"/>
                      </a:lnTo>
                      <a:lnTo>
                        <a:pt x="96" y="656"/>
                      </a:lnTo>
                      <a:lnTo>
                        <a:pt x="88" y="656"/>
                      </a:lnTo>
                      <a:lnTo>
                        <a:pt x="72" y="664"/>
                      </a:lnTo>
                      <a:lnTo>
                        <a:pt x="64" y="680"/>
                      </a:lnTo>
                      <a:lnTo>
                        <a:pt x="72" y="680"/>
                      </a:lnTo>
                      <a:lnTo>
                        <a:pt x="80" y="680"/>
                      </a:lnTo>
                      <a:lnTo>
                        <a:pt x="96" y="664"/>
                      </a:lnTo>
                      <a:lnTo>
                        <a:pt x="104" y="664"/>
                      </a:lnTo>
                      <a:lnTo>
                        <a:pt x="120" y="648"/>
                      </a:lnTo>
                      <a:lnTo>
                        <a:pt x="128" y="640"/>
                      </a:lnTo>
                      <a:lnTo>
                        <a:pt x="136" y="640"/>
                      </a:lnTo>
                      <a:lnTo>
                        <a:pt x="152" y="640"/>
                      </a:lnTo>
                      <a:lnTo>
                        <a:pt x="168" y="632"/>
                      </a:lnTo>
                      <a:lnTo>
                        <a:pt x="184" y="624"/>
                      </a:lnTo>
                      <a:lnTo>
                        <a:pt x="192" y="616"/>
                      </a:lnTo>
                      <a:lnTo>
                        <a:pt x="224" y="592"/>
                      </a:lnTo>
                      <a:lnTo>
                        <a:pt x="240" y="584"/>
                      </a:lnTo>
                      <a:lnTo>
                        <a:pt x="240" y="568"/>
                      </a:lnTo>
                      <a:lnTo>
                        <a:pt x="256" y="560"/>
                      </a:lnTo>
                      <a:lnTo>
                        <a:pt x="272" y="552"/>
                      </a:lnTo>
                      <a:lnTo>
                        <a:pt x="288" y="536"/>
                      </a:lnTo>
                      <a:lnTo>
                        <a:pt x="288" y="520"/>
                      </a:lnTo>
                      <a:lnTo>
                        <a:pt x="296" y="520"/>
                      </a:lnTo>
                      <a:lnTo>
                        <a:pt x="296" y="504"/>
                      </a:lnTo>
                      <a:lnTo>
                        <a:pt x="288" y="504"/>
                      </a:lnTo>
                      <a:lnTo>
                        <a:pt x="288" y="496"/>
                      </a:lnTo>
                      <a:lnTo>
                        <a:pt x="296" y="480"/>
                      </a:lnTo>
                      <a:lnTo>
                        <a:pt x="304" y="480"/>
                      </a:lnTo>
                      <a:lnTo>
                        <a:pt x="320" y="472"/>
                      </a:lnTo>
                      <a:lnTo>
                        <a:pt x="312" y="456"/>
                      </a:lnTo>
                      <a:lnTo>
                        <a:pt x="352" y="408"/>
                      </a:lnTo>
                      <a:lnTo>
                        <a:pt x="368" y="408"/>
                      </a:lnTo>
                      <a:lnTo>
                        <a:pt x="376" y="400"/>
                      </a:lnTo>
                      <a:lnTo>
                        <a:pt x="384" y="400"/>
                      </a:lnTo>
                      <a:lnTo>
                        <a:pt x="376" y="424"/>
                      </a:lnTo>
                      <a:lnTo>
                        <a:pt x="368" y="424"/>
                      </a:lnTo>
                      <a:lnTo>
                        <a:pt x="344" y="440"/>
                      </a:lnTo>
                      <a:lnTo>
                        <a:pt x="344" y="448"/>
                      </a:lnTo>
                      <a:lnTo>
                        <a:pt x="336" y="472"/>
                      </a:lnTo>
                      <a:lnTo>
                        <a:pt x="336" y="480"/>
                      </a:lnTo>
                      <a:lnTo>
                        <a:pt x="344" y="480"/>
                      </a:lnTo>
                      <a:lnTo>
                        <a:pt x="336" y="488"/>
                      </a:lnTo>
                      <a:lnTo>
                        <a:pt x="328" y="496"/>
                      </a:lnTo>
                      <a:lnTo>
                        <a:pt x="352" y="496"/>
                      </a:lnTo>
                      <a:lnTo>
                        <a:pt x="368" y="480"/>
                      </a:lnTo>
                      <a:lnTo>
                        <a:pt x="384" y="464"/>
                      </a:lnTo>
                      <a:lnTo>
                        <a:pt x="400" y="464"/>
                      </a:lnTo>
                      <a:lnTo>
                        <a:pt x="408" y="448"/>
                      </a:lnTo>
                      <a:lnTo>
                        <a:pt x="408" y="440"/>
                      </a:lnTo>
                      <a:lnTo>
                        <a:pt x="400" y="432"/>
                      </a:lnTo>
                      <a:lnTo>
                        <a:pt x="416" y="416"/>
                      </a:lnTo>
                      <a:lnTo>
                        <a:pt x="424" y="416"/>
                      </a:lnTo>
                      <a:lnTo>
                        <a:pt x="416" y="424"/>
                      </a:lnTo>
                      <a:lnTo>
                        <a:pt x="424" y="424"/>
                      </a:lnTo>
                      <a:lnTo>
                        <a:pt x="440" y="424"/>
                      </a:lnTo>
                      <a:lnTo>
                        <a:pt x="448" y="432"/>
                      </a:lnTo>
                      <a:lnTo>
                        <a:pt x="464" y="448"/>
                      </a:lnTo>
                      <a:lnTo>
                        <a:pt x="480" y="440"/>
                      </a:lnTo>
                      <a:lnTo>
                        <a:pt x="480" y="448"/>
                      </a:lnTo>
                      <a:lnTo>
                        <a:pt x="488" y="464"/>
                      </a:lnTo>
                      <a:lnTo>
                        <a:pt x="512" y="464"/>
                      </a:lnTo>
                      <a:lnTo>
                        <a:pt x="520" y="464"/>
                      </a:lnTo>
                      <a:lnTo>
                        <a:pt x="528" y="472"/>
                      </a:lnTo>
                      <a:lnTo>
                        <a:pt x="552" y="472"/>
                      </a:lnTo>
                      <a:lnTo>
                        <a:pt x="576" y="480"/>
                      </a:lnTo>
                      <a:lnTo>
                        <a:pt x="584" y="472"/>
                      </a:lnTo>
                      <a:lnTo>
                        <a:pt x="584" y="488"/>
                      </a:lnTo>
                      <a:lnTo>
                        <a:pt x="616" y="496"/>
                      </a:lnTo>
                      <a:lnTo>
                        <a:pt x="616" y="512"/>
                      </a:lnTo>
                      <a:lnTo>
                        <a:pt x="632" y="528"/>
                      </a:lnTo>
                      <a:lnTo>
                        <a:pt x="656" y="528"/>
                      </a:lnTo>
                      <a:lnTo>
                        <a:pt x="648" y="520"/>
                      </a:lnTo>
                      <a:lnTo>
                        <a:pt x="648" y="512"/>
                      </a:lnTo>
                      <a:lnTo>
                        <a:pt x="656" y="512"/>
                      </a:lnTo>
                      <a:lnTo>
                        <a:pt x="664" y="528"/>
                      </a:lnTo>
                      <a:lnTo>
                        <a:pt x="672" y="528"/>
                      </a:lnTo>
                      <a:lnTo>
                        <a:pt x="680" y="504"/>
                      </a:lnTo>
                      <a:lnTo>
                        <a:pt x="680" y="520"/>
                      </a:lnTo>
                      <a:lnTo>
                        <a:pt x="688" y="528"/>
                      </a:lnTo>
                      <a:lnTo>
                        <a:pt x="696" y="528"/>
                      </a:lnTo>
                      <a:lnTo>
                        <a:pt x="712" y="560"/>
                      </a:lnTo>
                      <a:lnTo>
                        <a:pt x="712" y="576"/>
                      </a:lnTo>
                      <a:lnTo>
                        <a:pt x="728" y="584"/>
                      </a:lnTo>
                      <a:lnTo>
                        <a:pt x="736" y="592"/>
                      </a:lnTo>
                      <a:lnTo>
                        <a:pt x="736" y="608"/>
                      </a:lnTo>
                      <a:lnTo>
                        <a:pt x="744" y="624"/>
                      </a:lnTo>
                      <a:lnTo>
                        <a:pt x="744" y="632"/>
                      </a:lnTo>
                      <a:lnTo>
                        <a:pt x="752" y="640"/>
                      </a:lnTo>
                      <a:lnTo>
                        <a:pt x="760" y="640"/>
                      </a:lnTo>
                      <a:lnTo>
                        <a:pt x="768" y="656"/>
                      </a:lnTo>
                      <a:lnTo>
                        <a:pt x="776" y="664"/>
                      </a:lnTo>
                      <a:lnTo>
                        <a:pt x="784" y="656"/>
                      </a:lnTo>
                      <a:lnTo>
                        <a:pt x="784" y="640"/>
                      </a:lnTo>
                      <a:lnTo>
                        <a:pt x="784" y="616"/>
                      </a:lnTo>
                      <a:lnTo>
                        <a:pt x="760" y="600"/>
                      </a:lnTo>
                      <a:lnTo>
                        <a:pt x="744" y="584"/>
                      </a:lnTo>
                      <a:lnTo>
                        <a:pt x="720" y="528"/>
                      </a:lnTo>
                      <a:lnTo>
                        <a:pt x="704" y="520"/>
                      </a:lnTo>
                      <a:lnTo>
                        <a:pt x="688" y="488"/>
                      </a:lnTo>
                      <a:lnTo>
                        <a:pt x="672" y="480"/>
                      </a:lnTo>
                      <a:lnTo>
                        <a:pt x="656" y="480"/>
                      </a:lnTo>
                      <a:lnTo>
                        <a:pt x="640" y="496"/>
                      </a:lnTo>
                      <a:lnTo>
                        <a:pt x="632" y="496"/>
                      </a:lnTo>
                      <a:lnTo>
                        <a:pt x="600" y="456"/>
                      </a:lnTo>
                      <a:lnTo>
                        <a:pt x="592" y="440"/>
                      </a:lnTo>
                      <a:lnTo>
                        <a:pt x="584" y="448"/>
                      </a:lnTo>
                      <a:lnTo>
                        <a:pt x="576" y="464"/>
                      </a:lnTo>
                      <a:lnTo>
                        <a:pt x="560" y="448"/>
                      </a:lnTo>
                      <a:lnTo>
                        <a:pt x="560" y="64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53" name="Freeform 62">
                  <a:extLst>
                    <a:ext uri="{FF2B5EF4-FFF2-40B4-BE49-F238E27FC236}">
                      <a16:creationId xmlns:a16="http://schemas.microsoft.com/office/drawing/2014/main" id="{3F726BF1-BA95-0E65-5F67-D30667C6CE23}"/>
                    </a:ext>
                  </a:extLst>
                </p:cNvPr>
                <p:cNvSpPr/>
                <p:nvPr/>
              </p:nvSpPr>
              <p:spPr bwMode="gray">
                <a:xfrm>
                  <a:off x="1610474" y="1857085"/>
                  <a:ext cx="2549027" cy="1439188"/>
                </a:xfrm>
                <a:custGeom>
                  <a:avLst/>
                  <a:gdLst>
                    <a:gd name="T0" fmla="*/ 400 w 1744"/>
                    <a:gd name="T1" fmla="*/ 326 h 1088"/>
                    <a:gd name="T2" fmla="*/ 470 w 1744"/>
                    <a:gd name="T3" fmla="*/ 347 h 1088"/>
                    <a:gd name="T4" fmla="*/ 522 w 1744"/>
                    <a:gd name="T5" fmla="*/ 342 h 1088"/>
                    <a:gd name="T6" fmla="*/ 542 w 1744"/>
                    <a:gd name="T7" fmla="*/ 345 h 1088"/>
                    <a:gd name="T8" fmla="*/ 548 w 1744"/>
                    <a:gd name="T9" fmla="*/ 347 h 1088"/>
                    <a:gd name="T10" fmla="*/ 558 w 1744"/>
                    <a:gd name="T11" fmla="*/ 339 h 1088"/>
                    <a:gd name="T12" fmla="*/ 528 w 1744"/>
                    <a:gd name="T13" fmla="*/ 314 h 1088"/>
                    <a:gd name="T14" fmla="*/ 525 w 1744"/>
                    <a:gd name="T15" fmla="*/ 306 h 1088"/>
                    <a:gd name="T16" fmla="*/ 498 w 1744"/>
                    <a:gd name="T17" fmla="*/ 323 h 1088"/>
                    <a:gd name="T18" fmla="*/ 536 w 1744"/>
                    <a:gd name="T19" fmla="*/ 292 h 1088"/>
                    <a:gd name="T20" fmla="*/ 589 w 1744"/>
                    <a:gd name="T21" fmla="*/ 278 h 1088"/>
                    <a:gd name="T22" fmla="*/ 595 w 1744"/>
                    <a:gd name="T23" fmla="*/ 253 h 1088"/>
                    <a:gd name="T24" fmla="*/ 575 w 1744"/>
                    <a:gd name="T25" fmla="*/ 253 h 1088"/>
                    <a:gd name="T26" fmla="*/ 573 w 1744"/>
                    <a:gd name="T27" fmla="*/ 231 h 1088"/>
                    <a:gd name="T28" fmla="*/ 562 w 1744"/>
                    <a:gd name="T29" fmla="*/ 206 h 1088"/>
                    <a:gd name="T30" fmla="*/ 545 w 1744"/>
                    <a:gd name="T31" fmla="*/ 164 h 1088"/>
                    <a:gd name="T32" fmla="*/ 528 w 1744"/>
                    <a:gd name="T33" fmla="*/ 186 h 1088"/>
                    <a:gd name="T34" fmla="*/ 503 w 1744"/>
                    <a:gd name="T35" fmla="*/ 186 h 1088"/>
                    <a:gd name="T36" fmla="*/ 506 w 1744"/>
                    <a:gd name="T37" fmla="*/ 159 h 1088"/>
                    <a:gd name="T38" fmla="*/ 489 w 1744"/>
                    <a:gd name="T39" fmla="*/ 145 h 1088"/>
                    <a:gd name="T40" fmla="*/ 456 w 1744"/>
                    <a:gd name="T41" fmla="*/ 134 h 1088"/>
                    <a:gd name="T42" fmla="*/ 447 w 1744"/>
                    <a:gd name="T43" fmla="*/ 155 h 1088"/>
                    <a:gd name="T44" fmla="*/ 450 w 1744"/>
                    <a:gd name="T45" fmla="*/ 195 h 1088"/>
                    <a:gd name="T46" fmla="*/ 439 w 1744"/>
                    <a:gd name="T47" fmla="*/ 239 h 1088"/>
                    <a:gd name="T48" fmla="*/ 441 w 1744"/>
                    <a:gd name="T49" fmla="*/ 278 h 1088"/>
                    <a:gd name="T50" fmla="*/ 420 w 1744"/>
                    <a:gd name="T51" fmla="*/ 262 h 1088"/>
                    <a:gd name="T52" fmla="*/ 395 w 1744"/>
                    <a:gd name="T53" fmla="*/ 228 h 1088"/>
                    <a:gd name="T54" fmla="*/ 361 w 1744"/>
                    <a:gd name="T55" fmla="*/ 206 h 1088"/>
                    <a:gd name="T56" fmla="*/ 334 w 1744"/>
                    <a:gd name="T57" fmla="*/ 184 h 1088"/>
                    <a:gd name="T58" fmla="*/ 342 w 1744"/>
                    <a:gd name="T59" fmla="*/ 139 h 1088"/>
                    <a:gd name="T60" fmla="*/ 356 w 1744"/>
                    <a:gd name="T61" fmla="*/ 117 h 1088"/>
                    <a:gd name="T62" fmla="*/ 380 w 1744"/>
                    <a:gd name="T63" fmla="*/ 101 h 1088"/>
                    <a:gd name="T64" fmla="*/ 375 w 1744"/>
                    <a:gd name="T65" fmla="*/ 84 h 1088"/>
                    <a:gd name="T66" fmla="*/ 400 w 1744"/>
                    <a:gd name="T67" fmla="*/ 70 h 1088"/>
                    <a:gd name="T68" fmla="*/ 408 w 1744"/>
                    <a:gd name="T69" fmla="*/ 67 h 1088"/>
                    <a:gd name="T70" fmla="*/ 420 w 1744"/>
                    <a:gd name="T71" fmla="*/ 44 h 1088"/>
                    <a:gd name="T72" fmla="*/ 420 w 1744"/>
                    <a:gd name="T73" fmla="*/ 31 h 1088"/>
                    <a:gd name="T74" fmla="*/ 395 w 1744"/>
                    <a:gd name="T75" fmla="*/ 39 h 1088"/>
                    <a:gd name="T76" fmla="*/ 380 w 1744"/>
                    <a:gd name="T77" fmla="*/ 44 h 1088"/>
                    <a:gd name="T78" fmla="*/ 361 w 1744"/>
                    <a:gd name="T79" fmla="*/ 39 h 1088"/>
                    <a:gd name="T80" fmla="*/ 353 w 1744"/>
                    <a:gd name="T81" fmla="*/ 23 h 1088"/>
                    <a:gd name="T82" fmla="*/ 328 w 1744"/>
                    <a:gd name="T83" fmla="*/ 0 h 1088"/>
                    <a:gd name="T84" fmla="*/ 322 w 1744"/>
                    <a:gd name="T85" fmla="*/ 17 h 1088"/>
                    <a:gd name="T86" fmla="*/ 334 w 1744"/>
                    <a:gd name="T87" fmla="*/ 31 h 1088"/>
                    <a:gd name="T88" fmla="*/ 334 w 1744"/>
                    <a:gd name="T89" fmla="*/ 44 h 1088"/>
                    <a:gd name="T90" fmla="*/ 317 w 1744"/>
                    <a:gd name="T91" fmla="*/ 48 h 1088"/>
                    <a:gd name="T92" fmla="*/ 280 w 1744"/>
                    <a:gd name="T93" fmla="*/ 50 h 1088"/>
                    <a:gd name="T94" fmla="*/ 247 w 1744"/>
                    <a:gd name="T95" fmla="*/ 44 h 1088"/>
                    <a:gd name="T96" fmla="*/ 231 w 1744"/>
                    <a:gd name="T97" fmla="*/ 61 h 1088"/>
                    <a:gd name="T98" fmla="*/ 192 w 1744"/>
                    <a:gd name="T99" fmla="*/ 53 h 1088"/>
                    <a:gd name="T100" fmla="*/ 178 w 1744"/>
                    <a:gd name="T101" fmla="*/ 36 h 1088"/>
                    <a:gd name="T102" fmla="*/ 128 w 1744"/>
                    <a:gd name="T103" fmla="*/ 27 h 1088"/>
                    <a:gd name="T104" fmla="*/ 111 w 1744"/>
                    <a:gd name="T105" fmla="*/ 31 h 1088"/>
                    <a:gd name="T106" fmla="*/ 89 w 1744"/>
                    <a:gd name="T107" fmla="*/ 23 h 1088"/>
                    <a:gd name="T108" fmla="*/ 53 w 1744"/>
                    <a:gd name="T109" fmla="*/ 39 h 1088"/>
                    <a:gd name="T110" fmla="*/ 70 w 1744"/>
                    <a:gd name="T111" fmla="*/ 25 h 1088"/>
                    <a:gd name="T112" fmla="*/ 39 w 1744"/>
                    <a:gd name="T113" fmla="*/ 34 h 1088"/>
                    <a:gd name="T114" fmla="*/ 17 w 1744"/>
                    <a:gd name="T115" fmla="*/ 36 h 1088"/>
                    <a:gd name="T116" fmla="*/ 25 w 1744"/>
                    <a:gd name="T117" fmla="*/ 181 h 1088"/>
                    <a:gd name="T118" fmla="*/ 77 w 1744"/>
                    <a:gd name="T119" fmla="*/ 222 h 1088"/>
                    <a:gd name="T120" fmla="*/ 86 w 1744"/>
                    <a:gd name="T121" fmla="*/ 259 h 1088"/>
                    <a:gd name="T122" fmla="*/ 97 w 1744"/>
                    <a:gd name="T123" fmla="*/ 281 h 1088"/>
                    <a:gd name="T124" fmla="*/ 128 w 1744"/>
                    <a:gd name="T125" fmla="*/ 303 h 1088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744"/>
                    <a:gd name="T190" fmla="*/ 0 h 1088"/>
                    <a:gd name="T191" fmla="*/ 1744 w 1744"/>
                    <a:gd name="T192" fmla="*/ 1088 h 1088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744" h="1088">
                      <a:moveTo>
                        <a:pt x="384" y="880"/>
                      </a:moveTo>
                      <a:lnTo>
                        <a:pt x="952" y="880"/>
                      </a:lnTo>
                      <a:lnTo>
                        <a:pt x="968" y="896"/>
                      </a:lnTo>
                      <a:lnTo>
                        <a:pt x="992" y="896"/>
                      </a:lnTo>
                      <a:lnTo>
                        <a:pt x="1008" y="904"/>
                      </a:lnTo>
                      <a:lnTo>
                        <a:pt x="1032" y="904"/>
                      </a:lnTo>
                      <a:lnTo>
                        <a:pt x="1048" y="912"/>
                      </a:lnTo>
                      <a:lnTo>
                        <a:pt x="1088" y="904"/>
                      </a:lnTo>
                      <a:lnTo>
                        <a:pt x="1152" y="936"/>
                      </a:lnTo>
                      <a:lnTo>
                        <a:pt x="1168" y="968"/>
                      </a:lnTo>
                      <a:lnTo>
                        <a:pt x="1208" y="1008"/>
                      </a:lnTo>
                      <a:lnTo>
                        <a:pt x="1208" y="1032"/>
                      </a:lnTo>
                      <a:lnTo>
                        <a:pt x="1200" y="1072"/>
                      </a:lnTo>
                      <a:lnTo>
                        <a:pt x="1200" y="1088"/>
                      </a:lnTo>
                      <a:lnTo>
                        <a:pt x="1264" y="1056"/>
                      </a:lnTo>
                      <a:lnTo>
                        <a:pt x="1272" y="1040"/>
                      </a:lnTo>
                      <a:lnTo>
                        <a:pt x="1320" y="1024"/>
                      </a:lnTo>
                      <a:lnTo>
                        <a:pt x="1352" y="1000"/>
                      </a:lnTo>
                      <a:lnTo>
                        <a:pt x="1360" y="992"/>
                      </a:lnTo>
                      <a:lnTo>
                        <a:pt x="1376" y="992"/>
                      </a:lnTo>
                      <a:lnTo>
                        <a:pt x="1392" y="992"/>
                      </a:lnTo>
                      <a:lnTo>
                        <a:pt x="1424" y="984"/>
                      </a:lnTo>
                      <a:lnTo>
                        <a:pt x="1456" y="936"/>
                      </a:lnTo>
                      <a:lnTo>
                        <a:pt x="1464" y="928"/>
                      </a:lnTo>
                      <a:lnTo>
                        <a:pt x="1488" y="936"/>
                      </a:lnTo>
                      <a:lnTo>
                        <a:pt x="1488" y="968"/>
                      </a:lnTo>
                      <a:lnTo>
                        <a:pt x="1504" y="984"/>
                      </a:lnTo>
                      <a:lnTo>
                        <a:pt x="1504" y="1008"/>
                      </a:lnTo>
                      <a:lnTo>
                        <a:pt x="1512" y="1000"/>
                      </a:lnTo>
                      <a:lnTo>
                        <a:pt x="1520" y="992"/>
                      </a:lnTo>
                      <a:lnTo>
                        <a:pt x="1536" y="992"/>
                      </a:lnTo>
                      <a:lnTo>
                        <a:pt x="1544" y="984"/>
                      </a:lnTo>
                      <a:lnTo>
                        <a:pt x="1560" y="976"/>
                      </a:lnTo>
                      <a:lnTo>
                        <a:pt x="1560" y="984"/>
                      </a:lnTo>
                      <a:lnTo>
                        <a:pt x="1568" y="984"/>
                      </a:lnTo>
                      <a:lnTo>
                        <a:pt x="1560" y="992"/>
                      </a:lnTo>
                      <a:lnTo>
                        <a:pt x="1552" y="992"/>
                      </a:lnTo>
                      <a:lnTo>
                        <a:pt x="1536" y="1008"/>
                      </a:lnTo>
                      <a:lnTo>
                        <a:pt x="1536" y="1016"/>
                      </a:lnTo>
                      <a:lnTo>
                        <a:pt x="1528" y="1032"/>
                      </a:lnTo>
                      <a:lnTo>
                        <a:pt x="1536" y="1040"/>
                      </a:lnTo>
                      <a:lnTo>
                        <a:pt x="1552" y="1040"/>
                      </a:lnTo>
                      <a:lnTo>
                        <a:pt x="1560" y="1032"/>
                      </a:lnTo>
                      <a:lnTo>
                        <a:pt x="1560" y="1024"/>
                      </a:lnTo>
                      <a:lnTo>
                        <a:pt x="1576" y="1000"/>
                      </a:lnTo>
                      <a:lnTo>
                        <a:pt x="1584" y="1008"/>
                      </a:lnTo>
                      <a:lnTo>
                        <a:pt x="1592" y="1008"/>
                      </a:lnTo>
                      <a:lnTo>
                        <a:pt x="1608" y="1000"/>
                      </a:lnTo>
                      <a:lnTo>
                        <a:pt x="1616" y="1000"/>
                      </a:lnTo>
                      <a:lnTo>
                        <a:pt x="1624" y="992"/>
                      </a:lnTo>
                      <a:lnTo>
                        <a:pt x="1624" y="984"/>
                      </a:lnTo>
                      <a:lnTo>
                        <a:pt x="1616" y="984"/>
                      </a:lnTo>
                      <a:lnTo>
                        <a:pt x="1616" y="976"/>
                      </a:lnTo>
                      <a:lnTo>
                        <a:pt x="1608" y="976"/>
                      </a:lnTo>
                      <a:lnTo>
                        <a:pt x="1592" y="976"/>
                      </a:lnTo>
                      <a:lnTo>
                        <a:pt x="1584" y="968"/>
                      </a:lnTo>
                      <a:lnTo>
                        <a:pt x="1576" y="968"/>
                      </a:lnTo>
                      <a:lnTo>
                        <a:pt x="1552" y="952"/>
                      </a:lnTo>
                      <a:lnTo>
                        <a:pt x="1552" y="928"/>
                      </a:lnTo>
                      <a:lnTo>
                        <a:pt x="1552" y="912"/>
                      </a:lnTo>
                      <a:lnTo>
                        <a:pt x="1544" y="920"/>
                      </a:lnTo>
                      <a:lnTo>
                        <a:pt x="1536" y="912"/>
                      </a:lnTo>
                      <a:lnTo>
                        <a:pt x="1520" y="904"/>
                      </a:lnTo>
                      <a:lnTo>
                        <a:pt x="1528" y="896"/>
                      </a:lnTo>
                      <a:lnTo>
                        <a:pt x="1544" y="896"/>
                      </a:lnTo>
                      <a:lnTo>
                        <a:pt x="1552" y="904"/>
                      </a:lnTo>
                      <a:lnTo>
                        <a:pt x="1568" y="888"/>
                      </a:lnTo>
                      <a:lnTo>
                        <a:pt x="1568" y="880"/>
                      </a:lnTo>
                      <a:lnTo>
                        <a:pt x="1560" y="880"/>
                      </a:lnTo>
                      <a:lnTo>
                        <a:pt x="1544" y="864"/>
                      </a:lnTo>
                      <a:lnTo>
                        <a:pt x="1520" y="864"/>
                      </a:lnTo>
                      <a:lnTo>
                        <a:pt x="1512" y="880"/>
                      </a:lnTo>
                      <a:lnTo>
                        <a:pt x="1496" y="888"/>
                      </a:lnTo>
                      <a:lnTo>
                        <a:pt x="1480" y="896"/>
                      </a:lnTo>
                      <a:lnTo>
                        <a:pt x="1472" y="896"/>
                      </a:lnTo>
                      <a:lnTo>
                        <a:pt x="1456" y="920"/>
                      </a:lnTo>
                      <a:lnTo>
                        <a:pt x="1456" y="928"/>
                      </a:lnTo>
                      <a:lnTo>
                        <a:pt x="1440" y="936"/>
                      </a:lnTo>
                      <a:lnTo>
                        <a:pt x="1432" y="944"/>
                      </a:lnTo>
                      <a:lnTo>
                        <a:pt x="1424" y="944"/>
                      </a:lnTo>
                      <a:lnTo>
                        <a:pt x="1432" y="928"/>
                      </a:lnTo>
                      <a:lnTo>
                        <a:pt x="1448" y="912"/>
                      </a:lnTo>
                      <a:lnTo>
                        <a:pt x="1448" y="904"/>
                      </a:lnTo>
                      <a:lnTo>
                        <a:pt x="1464" y="896"/>
                      </a:lnTo>
                      <a:lnTo>
                        <a:pt x="1480" y="872"/>
                      </a:lnTo>
                      <a:lnTo>
                        <a:pt x="1504" y="864"/>
                      </a:lnTo>
                      <a:lnTo>
                        <a:pt x="1504" y="856"/>
                      </a:lnTo>
                      <a:lnTo>
                        <a:pt x="1512" y="856"/>
                      </a:lnTo>
                      <a:lnTo>
                        <a:pt x="1528" y="840"/>
                      </a:lnTo>
                      <a:lnTo>
                        <a:pt x="1544" y="840"/>
                      </a:lnTo>
                      <a:lnTo>
                        <a:pt x="1576" y="840"/>
                      </a:lnTo>
                      <a:lnTo>
                        <a:pt x="1592" y="832"/>
                      </a:lnTo>
                      <a:lnTo>
                        <a:pt x="1600" y="840"/>
                      </a:lnTo>
                      <a:lnTo>
                        <a:pt x="1624" y="840"/>
                      </a:lnTo>
                      <a:lnTo>
                        <a:pt x="1632" y="840"/>
                      </a:lnTo>
                      <a:lnTo>
                        <a:pt x="1656" y="840"/>
                      </a:lnTo>
                      <a:lnTo>
                        <a:pt x="1672" y="832"/>
                      </a:lnTo>
                      <a:lnTo>
                        <a:pt x="1680" y="808"/>
                      </a:lnTo>
                      <a:lnTo>
                        <a:pt x="1696" y="800"/>
                      </a:lnTo>
                      <a:lnTo>
                        <a:pt x="1720" y="792"/>
                      </a:lnTo>
                      <a:lnTo>
                        <a:pt x="1736" y="784"/>
                      </a:lnTo>
                      <a:lnTo>
                        <a:pt x="1744" y="784"/>
                      </a:lnTo>
                      <a:lnTo>
                        <a:pt x="1744" y="768"/>
                      </a:lnTo>
                      <a:lnTo>
                        <a:pt x="1736" y="760"/>
                      </a:lnTo>
                      <a:lnTo>
                        <a:pt x="1744" y="744"/>
                      </a:lnTo>
                      <a:lnTo>
                        <a:pt x="1736" y="728"/>
                      </a:lnTo>
                      <a:lnTo>
                        <a:pt x="1720" y="720"/>
                      </a:lnTo>
                      <a:lnTo>
                        <a:pt x="1712" y="728"/>
                      </a:lnTo>
                      <a:lnTo>
                        <a:pt x="1704" y="720"/>
                      </a:lnTo>
                      <a:lnTo>
                        <a:pt x="1712" y="704"/>
                      </a:lnTo>
                      <a:lnTo>
                        <a:pt x="1696" y="704"/>
                      </a:lnTo>
                      <a:lnTo>
                        <a:pt x="1680" y="720"/>
                      </a:lnTo>
                      <a:lnTo>
                        <a:pt x="1672" y="720"/>
                      </a:lnTo>
                      <a:lnTo>
                        <a:pt x="1656" y="736"/>
                      </a:lnTo>
                      <a:lnTo>
                        <a:pt x="1648" y="736"/>
                      </a:lnTo>
                      <a:lnTo>
                        <a:pt x="1648" y="720"/>
                      </a:lnTo>
                      <a:lnTo>
                        <a:pt x="1656" y="728"/>
                      </a:lnTo>
                      <a:lnTo>
                        <a:pt x="1664" y="720"/>
                      </a:lnTo>
                      <a:lnTo>
                        <a:pt x="1688" y="704"/>
                      </a:lnTo>
                      <a:lnTo>
                        <a:pt x="1712" y="696"/>
                      </a:lnTo>
                      <a:lnTo>
                        <a:pt x="1712" y="688"/>
                      </a:lnTo>
                      <a:lnTo>
                        <a:pt x="1696" y="688"/>
                      </a:lnTo>
                      <a:lnTo>
                        <a:pt x="1688" y="680"/>
                      </a:lnTo>
                      <a:lnTo>
                        <a:pt x="1672" y="672"/>
                      </a:lnTo>
                      <a:lnTo>
                        <a:pt x="1664" y="672"/>
                      </a:lnTo>
                      <a:lnTo>
                        <a:pt x="1648" y="664"/>
                      </a:lnTo>
                      <a:lnTo>
                        <a:pt x="1648" y="656"/>
                      </a:lnTo>
                      <a:lnTo>
                        <a:pt x="1640" y="640"/>
                      </a:lnTo>
                      <a:lnTo>
                        <a:pt x="1632" y="640"/>
                      </a:lnTo>
                      <a:lnTo>
                        <a:pt x="1632" y="632"/>
                      </a:lnTo>
                      <a:lnTo>
                        <a:pt x="1616" y="632"/>
                      </a:lnTo>
                      <a:lnTo>
                        <a:pt x="1616" y="608"/>
                      </a:lnTo>
                      <a:lnTo>
                        <a:pt x="1624" y="608"/>
                      </a:lnTo>
                      <a:lnTo>
                        <a:pt x="1624" y="600"/>
                      </a:lnTo>
                      <a:lnTo>
                        <a:pt x="1616" y="592"/>
                      </a:lnTo>
                      <a:lnTo>
                        <a:pt x="1616" y="568"/>
                      </a:lnTo>
                      <a:lnTo>
                        <a:pt x="1600" y="560"/>
                      </a:lnTo>
                      <a:lnTo>
                        <a:pt x="1600" y="544"/>
                      </a:lnTo>
                      <a:lnTo>
                        <a:pt x="1592" y="544"/>
                      </a:lnTo>
                      <a:lnTo>
                        <a:pt x="1592" y="520"/>
                      </a:lnTo>
                      <a:lnTo>
                        <a:pt x="1584" y="520"/>
                      </a:lnTo>
                      <a:lnTo>
                        <a:pt x="1576" y="496"/>
                      </a:lnTo>
                      <a:lnTo>
                        <a:pt x="1568" y="488"/>
                      </a:lnTo>
                      <a:lnTo>
                        <a:pt x="1568" y="472"/>
                      </a:lnTo>
                      <a:lnTo>
                        <a:pt x="1560" y="472"/>
                      </a:lnTo>
                      <a:lnTo>
                        <a:pt x="1552" y="480"/>
                      </a:lnTo>
                      <a:lnTo>
                        <a:pt x="1552" y="488"/>
                      </a:lnTo>
                      <a:lnTo>
                        <a:pt x="1544" y="496"/>
                      </a:lnTo>
                      <a:lnTo>
                        <a:pt x="1544" y="512"/>
                      </a:lnTo>
                      <a:lnTo>
                        <a:pt x="1536" y="536"/>
                      </a:lnTo>
                      <a:lnTo>
                        <a:pt x="1528" y="544"/>
                      </a:lnTo>
                      <a:lnTo>
                        <a:pt x="1528" y="536"/>
                      </a:lnTo>
                      <a:lnTo>
                        <a:pt x="1520" y="536"/>
                      </a:lnTo>
                      <a:lnTo>
                        <a:pt x="1512" y="536"/>
                      </a:lnTo>
                      <a:lnTo>
                        <a:pt x="1512" y="544"/>
                      </a:lnTo>
                      <a:lnTo>
                        <a:pt x="1504" y="552"/>
                      </a:lnTo>
                      <a:lnTo>
                        <a:pt x="1496" y="560"/>
                      </a:lnTo>
                      <a:lnTo>
                        <a:pt x="1488" y="552"/>
                      </a:lnTo>
                      <a:lnTo>
                        <a:pt x="1488" y="544"/>
                      </a:lnTo>
                      <a:lnTo>
                        <a:pt x="1472" y="528"/>
                      </a:lnTo>
                      <a:lnTo>
                        <a:pt x="1456" y="536"/>
                      </a:lnTo>
                      <a:lnTo>
                        <a:pt x="1448" y="536"/>
                      </a:lnTo>
                      <a:lnTo>
                        <a:pt x="1464" y="528"/>
                      </a:lnTo>
                      <a:lnTo>
                        <a:pt x="1464" y="520"/>
                      </a:lnTo>
                      <a:lnTo>
                        <a:pt x="1456" y="512"/>
                      </a:lnTo>
                      <a:lnTo>
                        <a:pt x="1448" y="512"/>
                      </a:lnTo>
                      <a:lnTo>
                        <a:pt x="1456" y="504"/>
                      </a:lnTo>
                      <a:lnTo>
                        <a:pt x="1456" y="496"/>
                      </a:lnTo>
                      <a:lnTo>
                        <a:pt x="1448" y="488"/>
                      </a:lnTo>
                      <a:lnTo>
                        <a:pt x="1456" y="480"/>
                      </a:lnTo>
                      <a:lnTo>
                        <a:pt x="1456" y="456"/>
                      </a:lnTo>
                      <a:lnTo>
                        <a:pt x="1464" y="456"/>
                      </a:lnTo>
                      <a:lnTo>
                        <a:pt x="1464" y="440"/>
                      </a:lnTo>
                      <a:lnTo>
                        <a:pt x="1456" y="440"/>
                      </a:lnTo>
                      <a:lnTo>
                        <a:pt x="1448" y="448"/>
                      </a:lnTo>
                      <a:lnTo>
                        <a:pt x="1448" y="440"/>
                      </a:lnTo>
                      <a:lnTo>
                        <a:pt x="1424" y="440"/>
                      </a:lnTo>
                      <a:lnTo>
                        <a:pt x="1416" y="424"/>
                      </a:lnTo>
                      <a:lnTo>
                        <a:pt x="1416" y="416"/>
                      </a:lnTo>
                      <a:lnTo>
                        <a:pt x="1408" y="416"/>
                      </a:lnTo>
                      <a:lnTo>
                        <a:pt x="1400" y="400"/>
                      </a:lnTo>
                      <a:lnTo>
                        <a:pt x="1392" y="392"/>
                      </a:lnTo>
                      <a:lnTo>
                        <a:pt x="1384" y="392"/>
                      </a:lnTo>
                      <a:lnTo>
                        <a:pt x="1376" y="384"/>
                      </a:lnTo>
                      <a:lnTo>
                        <a:pt x="1360" y="384"/>
                      </a:lnTo>
                      <a:lnTo>
                        <a:pt x="1352" y="392"/>
                      </a:lnTo>
                      <a:lnTo>
                        <a:pt x="1344" y="392"/>
                      </a:lnTo>
                      <a:lnTo>
                        <a:pt x="1328" y="392"/>
                      </a:lnTo>
                      <a:lnTo>
                        <a:pt x="1312" y="384"/>
                      </a:lnTo>
                      <a:lnTo>
                        <a:pt x="1304" y="376"/>
                      </a:lnTo>
                      <a:lnTo>
                        <a:pt x="1296" y="376"/>
                      </a:lnTo>
                      <a:lnTo>
                        <a:pt x="1288" y="384"/>
                      </a:lnTo>
                      <a:lnTo>
                        <a:pt x="1288" y="408"/>
                      </a:lnTo>
                      <a:lnTo>
                        <a:pt x="1296" y="416"/>
                      </a:lnTo>
                      <a:lnTo>
                        <a:pt x="1296" y="432"/>
                      </a:lnTo>
                      <a:lnTo>
                        <a:pt x="1288" y="440"/>
                      </a:lnTo>
                      <a:lnTo>
                        <a:pt x="1280" y="440"/>
                      </a:lnTo>
                      <a:lnTo>
                        <a:pt x="1288" y="448"/>
                      </a:lnTo>
                      <a:lnTo>
                        <a:pt x="1296" y="456"/>
                      </a:lnTo>
                      <a:lnTo>
                        <a:pt x="1296" y="472"/>
                      </a:lnTo>
                      <a:lnTo>
                        <a:pt x="1304" y="488"/>
                      </a:lnTo>
                      <a:lnTo>
                        <a:pt x="1296" y="496"/>
                      </a:lnTo>
                      <a:lnTo>
                        <a:pt x="1288" y="512"/>
                      </a:lnTo>
                      <a:lnTo>
                        <a:pt x="1288" y="520"/>
                      </a:lnTo>
                      <a:lnTo>
                        <a:pt x="1280" y="528"/>
                      </a:lnTo>
                      <a:lnTo>
                        <a:pt x="1280" y="544"/>
                      </a:lnTo>
                      <a:lnTo>
                        <a:pt x="1296" y="560"/>
                      </a:lnTo>
                      <a:lnTo>
                        <a:pt x="1312" y="568"/>
                      </a:lnTo>
                      <a:lnTo>
                        <a:pt x="1320" y="608"/>
                      </a:lnTo>
                      <a:lnTo>
                        <a:pt x="1312" y="640"/>
                      </a:lnTo>
                      <a:lnTo>
                        <a:pt x="1304" y="656"/>
                      </a:lnTo>
                      <a:lnTo>
                        <a:pt x="1296" y="656"/>
                      </a:lnTo>
                      <a:lnTo>
                        <a:pt x="1288" y="672"/>
                      </a:lnTo>
                      <a:lnTo>
                        <a:pt x="1272" y="672"/>
                      </a:lnTo>
                      <a:lnTo>
                        <a:pt x="1272" y="680"/>
                      </a:lnTo>
                      <a:lnTo>
                        <a:pt x="1264" y="688"/>
                      </a:lnTo>
                      <a:lnTo>
                        <a:pt x="1256" y="696"/>
                      </a:lnTo>
                      <a:lnTo>
                        <a:pt x="1264" y="704"/>
                      </a:lnTo>
                      <a:lnTo>
                        <a:pt x="1272" y="720"/>
                      </a:lnTo>
                      <a:lnTo>
                        <a:pt x="1272" y="744"/>
                      </a:lnTo>
                      <a:lnTo>
                        <a:pt x="1272" y="760"/>
                      </a:lnTo>
                      <a:lnTo>
                        <a:pt x="1280" y="768"/>
                      </a:lnTo>
                      <a:lnTo>
                        <a:pt x="1280" y="776"/>
                      </a:lnTo>
                      <a:lnTo>
                        <a:pt x="1272" y="792"/>
                      </a:lnTo>
                      <a:lnTo>
                        <a:pt x="1272" y="800"/>
                      </a:lnTo>
                      <a:lnTo>
                        <a:pt x="1256" y="792"/>
                      </a:lnTo>
                      <a:lnTo>
                        <a:pt x="1256" y="808"/>
                      </a:lnTo>
                      <a:lnTo>
                        <a:pt x="1248" y="800"/>
                      </a:lnTo>
                      <a:lnTo>
                        <a:pt x="1240" y="800"/>
                      </a:lnTo>
                      <a:lnTo>
                        <a:pt x="1240" y="792"/>
                      </a:lnTo>
                      <a:lnTo>
                        <a:pt x="1224" y="776"/>
                      </a:lnTo>
                      <a:lnTo>
                        <a:pt x="1216" y="776"/>
                      </a:lnTo>
                      <a:lnTo>
                        <a:pt x="1216" y="768"/>
                      </a:lnTo>
                      <a:lnTo>
                        <a:pt x="1208" y="752"/>
                      </a:lnTo>
                      <a:lnTo>
                        <a:pt x="1208" y="744"/>
                      </a:lnTo>
                      <a:lnTo>
                        <a:pt x="1208" y="712"/>
                      </a:lnTo>
                      <a:lnTo>
                        <a:pt x="1208" y="704"/>
                      </a:lnTo>
                      <a:lnTo>
                        <a:pt x="1208" y="672"/>
                      </a:lnTo>
                      <a:lnTo>
                        <a:pt x="1200" y="664"/>
                      </a:lnTo>
                      <a:lnTo>
                        <a:pt x="1176" y="664"/>
                      </a:lnTo>
                      <a:lnTo>
                        <a:pt x="1160" y="664"/>
                      </a:lnTo>
                      <a:lnTo>
                        <a:pt x="1152" y="656"/>
                      </a:lnTo>
                      <a:lnTo>
                        <a:pt x="1136" y="656"/>
                      </a:lnTo>
                      <a:lnTo>
                        <a:pt x="1128" y="648"/>
                      </a:lnTo>
                      <a:lnTo>
                        <a:pt x="1104" y="640"/>
                      </a:lnTo>
                      <a:lnTo>
                        <a:pt x="1096" y="632"/>
                      </a:lnTo>
                      <a:lnTo>
                        <a:pt x="1088" y="624"/>
                      </a:lnTo>
                      <a:lnTo>
                        <a:pt x="1088" y="616"/>
                      </a:lnTo>
                      <a:lnTo>
                        <a:pt x="1080" y="616"/>
                      </a:lnTo>
                      <a:lnTo>
                        <a:pt x="1072" y="608"/>
                      </a:lnTo>
                      <a:lnTo>
                        <a:pt x="1048" y="592"/>
                      </a:lnTo>
                      <a:lnTo>
                        <a:pt x="1040" y="592"/>
                      </a:lnTo>
                      <a:lnTo>
                        <a:pt x="1032" y="592"/>
                      </a:lnTo>
                      <a:lnTo>
                        <a:pt x="1016" y="592"/>
                      </a:lnTo>
                      <a:lnTo>
                        <a:pt x="992" y="600"/>
                      </a:lnTo>
                      <a:lnTo>
                        <a:pt x="992" y="592"/>
                      </a:lnTo>
                      <a:lnTo>
                        <a:pt x="1000" y="576"/>
                      </a:lnTo>
                      <a:lnTo>
                        <a:pt x="992" y="568"/>
                      </a:lnTo>
                      <a:lnTo>
                        <a:pt x="984" y="536"/>
                      </a:lnTo>
                      <a:lnTo>
                        <a:pt x="976" y="536"/>
                      </a:lnTo>
                      <a:lnTo>
                        <a:pt x="960" y="528"/>
                      </a:lnTo>
                      <a:lnTo>
                        <a:pt x="944" y="520"/>
                      </a:lnTo>
                      <a:lnTo>
                        <a:pt x="944" y="496"/>
                      </a:lnTo>
                      <a:lnTo>
                        <a:pt x="952" y="488"/>
                      </a:lnTo>
                      <a:lnTo>
                        <a:pt x="952" y="456"/>
                      </a:lnTo>
                      <a:lnTo>
                        <a:pt x="960" y="440"/>
                      </a:lnTo>
                      <a:lnTo>
                        <a:pt x="968" y="416"/>
                      </a:lnTo>
                      <a:lnTo>
                        <a:pt x="976" y="408"/>
                      </a:lnTo>
                      <a:lnTo>
                        <a:pt x="976" y="400"/>
                      </a:lnTo>
                      <a:lnTo>
                        <a:pt x="984" y="400"/>
                      </a:lnTo>
                      <a:lnTo>
                        <a:pt x="992" y="384"/>
                      </a:lnTo>
                      <a:lnTo>
                        <a:pt x="1000" y="376"/>
                      </a:lnTo>
                      <a:lnTo>
                        <a:pt x="1000" y="360"/>
                      </a:lnTo>
                      <a:lnTo>
                        <a:pt x="1008" y="352"/>
                      </a:lnTo>
                      <a:lnTo>
                        <a:pt x="1008" y="360"/>
                      </a:lnTo>
                      <a:lnTo>
                        <a:pt x="1016" y="360"/>
                      </a:lnTo>
                      <a:lnTo>
                        <a:pt x="1032" y="352"/>
                      </a:lnTo>
                      <a:lnTo>
                        <a:pt x="1032" y="344"/>
                      </a:lnTo>
                      <a:lnTo>
                        <a:pt x="1024" y="336"/>
                      </a:lnTo>
                      <a:lnTo>
                        <a:pt x="1016" y="328"/>
                      </a:lnTo>
                      <a:lnTo>
                        <a:pt x="1024" y="320"/>
                      </a:lnTo>
                      <a:lnTo>
                        <a:pt x="1032" y="328"/>
                      </a:lnTo>
                      <a:lnTo>
                        <a:pt x="1048" y="328"/>
                      </a:lnTo>
                      <a:lnTo>
                        <a:pt x="1056" y="312"/>
                      </a:lnTo>
                      <a:lnTo>
                        <a:pt x="1064" y="320"/>
                      </a:lnTo>
                      <a:lnTo>
                        <a:pt x="1080" y="312"/>
                      </a:lnTo>
                      <a:lnTo>
                        <a:pt x="1088" y="304"/>
                      </a:lnTo>
                      <a:lnTo>
                        <a:pt x="1096" y="288"/>
                      </a:lnTo>
                      <a:lnTo>
                        <a:pt x="1096" y="280"/>
                      </a:lnTo>
                      <a:lnTo>
                        <a:pt x="1104" y="264"/>
                      </a:lnTo>
                      <a:lnTo>
                        <a:pt x="1096" y="256"/>
                      </a:lnTo>
                      <a:lnTo>
                        <a:pt x="1096" y="248"/>
                      </a:lnTo>
                      <a:lnTo>
                        <a:pt x="1072" y="248"/>
                      </a:lnTo>
                      <a:lnTo>
                        <a:pt x="1056" y="232"/>
                      </a:lnTo>
                      <a:lnTo>
                        <a:pt x="1048" y="224"/>
                      </a:lnTo>
                      <a:lnTo>
                        <a:pt x="1064" y="224"/>
                      </a:lnTo>
                      <a:lnTo>
                        <a:pt x="1080" y="240"/>
                      </a:lnTo>
                      <a:lnTo>
                        <a:pt x="1104" y="248"/>
                      </a:lnTo>
                      <a:lnTo>
                        <a:pt x="1112" y="232"/>
                      </a:lnTo>
                      <a:lnTo>
                        <a:pt x="1128" y="216"/>
                      </a:lnTo>
                      <a:lnTo>
                        <a:pt x="1136" y="200"/>
                      </a:lnTo>
                      <a:lnTo>
                        <a:pt x="1120" y="200"/>
                      </a:lnTo>
                      <a:lnTo>
                        <a:pt x="1120" y="192"/>
                      </a:lnTo>
                      <a:lnTo>
                        <a:pt x="1136" y="184"/>
                      </a:lnTo>
                      <a:lnTo>
                        <a:pt x="1144" y="200"/>
                      </a:lnTo>
                      <a:lnTo>
                        <a:pt x="1152" y="200"/>
                      </a:lnTo>
                      <a:lnTo>
                        <a:pt x="1160" y="200"/>
                      </a:lnTo>
                      <a:lnTo>
                        <a:pt x="1168" y="200"/>
                      </a:lnTo>
                      <a:lnTo>
                        <a:pt x="1168" y="192"/>
                      </a:lnTo>
                      <a:lnTo>
                        <a:pt x="1160" y="184"/>
                      </a:lnTo>
                      <a:lnTo>
                        <a:pt x="1152" y="176"/>
                      </a:lnTo>
                      <a:lnTo>
                        <a:pt x="1160" y="176"/>
                      </a:lnTo>
                      <a:lnTo>
                        <a:pt x="1168" y="176"/>
                      </a:lnTo>
                      <a:lnTo>
                        <a:pt x="1176" y="184"/>
                      </a:lnTo>
                      <a:lnTo>
                        <a:pt x="1176" y="192"/>
                      </a:lnTo>
                      <a:lnTo>
                        <a:pt x="1192" y="192"/>
                      </a:lnTo>
                      <a:lnTo>
                        <a:pt x="1200" y="184"/>
                      </a:lnTo>
                      <a:lnTo>
                        <a:pt x="1216" y="176"/>
                      </a:lnTo>
                      <a:lnTo>
                        <a:pt x="1216" y="168"/>
                      </a:lnTo>
                      <a:lnTo>
                        <a:pt x="1232" y="160"/>
                      </a:lnTo>
                      <a:lnTo>
                        <a:pt x="1216" y="144"/>
                      </a:lnTo>
                      <a:lnTo>
                        <a:pt x="1208" y="136"/>
                      </a:lnTo>
                      <a:lnTo>
                        <a:pt x="1200" y="128"/>
                      </a:lnTo>
                      <a:lnTo>
                        <a:pt x="1208" y="128"/>
                      </a:lnTo>
                      <a:lnTo>
                        <a:pt x="1224" y="128"/>
                      </a:lnTo>
                      <a:lnTo>
                        <a:pt x="1224" y="120"/>
                      </a:lnTo>
                      <a:lnTo>
                        <a:pt x="1216" y="112"/>
                      </a:lnTo>
                      <a:lnTo>
                        <a:pt x="1224" y="104"/>
                      </a:lnTo>
                      <a:lnTo>
                        <a:pt x="1224" y="96"/>
                      </a:lnTo>
                      <a:lnTo>
                        <a:pt x="1208" y="96"/>
                      </a:lnTo>
                      <a:lnTo>
                        <a:pt x="1200" y="96"/>
                      </a:lnTo>
                      <a:lnTo>
                        <a:pt x="1200" y="88"/>
                      </a:lnTo>
                      <a:lnTo>
                        <a:pt x="1208" y="88"/>
                      </a:lnTo>
                      <a:lnTo>
                        <a:pt x="1200" y="80"/>
                      </a:lnTo>
                      <a:lnTo>
                        <a:pt x="1184" y="80"/>
                      </a:lnTo>
                      <a:lnTo>
                        <a:pt x="1168" y="80"/>
                      </a:lnTo>
                      <a:lnTo>
                        <a:pt x="1160" y="80"/>
                      </a:lnTo>
                      <a:lnTo>
                        <a:pt x="1144" y="80"/>
                      </a:lnTo>
                      <a:lnTo>
                        <a:pt x="1144" y="104"/>
                      </a:lnTo>
                      <a:lnTo>
                        <a:pt x="1152" y="104"/>
                      </a:lnTo>
                      <a:lnTo>
                        <a:pt x="1144" y="112"/>
                      </a:lnTo>
                      <a:lnTo>
                        <a:pt x="1136" y="112"/>
                      </a:lnTo>
                      <a:lnTo>
                        <a:pt x="1136" y="128"/>
                      </a:lnTo>
                      <a:lnTo>
                        <a:pt x="1128" y="136"/>
                      </a:lnTo>
                      <a:lnTo>
                        <a:pt x="1120" y="152"/>
                      </a:lnTo>
                      <a:lnTo>
                        <a:pt x="1120" y="160"/>
                      </a:lnTo>
                      <a:lnTo>
                        <a:pt x="1104" y="160"/>
                      </a:lnTo>
                      <a:lnTo>
                        <a:pt x="1104" y="168"/>
                      </a:lnTo>
                      <a:lnTo>
                        <a:pt x="1080" y="152"/>
                      </a:lnTo>
                      <a:lnTo>
                        <a:pt x="1080" y="128"/>
                      </a:lnTo>
                      <a:lnTo>
                        <a:pt x="1096" y="128"/>
                      </a:lnTo>
                      <a:lnTo>
                        <a:pt x="1096" y="120"/>
                      </a:lnTo>
                      <a:lnTo>
                        <a:pt x="1088" y="112"/>
                      </a:lnTo>
                      <a:lnTo>
                        <a:pt x="1072" y="104"/>
                      </a:lnTo>
                      <a:lnTo>
                        <a:pt x="1064" y="104"/>
                      </a:lnTo>
                      <a:lnTo>
                        <a:pt x="1056" y="104"/>
                      </a:lnTo>
                      <a:lnTo>
                        <a:pt x="1056" y="112"/>
                      </a:lnTo>
                      <a:lnTo>
                        <a:pt x="1048" y="128"/>
                      </a:lnTo>
                      <a:lnTo>
                        <a:pt x="1040" y="128"/>
                      </a:lnTo>
                      <a:lnTo>
                        <a:pt x="1040" y="112"/>
                      </a:lnTo>
                      <a:lnTo>
                        <a:pt x="1024" y="96"/>
                      </a:lnTo>
                      <a:lnTo>
                        <a:pt x="1040" y="96"/>
                      </a:lnTo>
                      <a:lnTo>
                        <a:pt x="1032" y="88"/>
                      </a:lnTo>
                      <a:lnTo>
                        <a:pt x="1024" y="80"/>
                      </a:lnTo>
                      <a:lnTo>
                        <a:pt x="1008" y="88"/>
                      </a:lnTo>
                      <a:lnTo>
                        <a:pt x="992" y="80"/>
                      </a:lnTo>
                      <a:lnTo>
                        <a:pt x="1000" y="72"/>
                      </a:lnTo>
                      <a:lnTo>
                        <a:pt x="1000" y="64"/>
                      </a:lnTo>
                      <a:lnTo>
                        <a:pt x="1016" y="64"/>
                      </a:lnTo>
                      <a:lnTo>
                        <a:pt x="1016" y="56"/>
                      </a:lnTo>
                      <a:lnTo>
                        <a:pt x="992" y="40"/>
                      </a:lnTo>
                      <a:lnTo>
                        <a:pt x="984" y="24"/>
                      </a:lnTo>
                      <a:lnTo>
                        <a:pt x="984" y="16"/>
                      </a:lnTo>
                      <a:lnTo>
                        <a:pt x="976" y="8"/>
                      </a:lnTo>
                      <a:lnTo>
                        <a:pt x="968" y="8"/>
                      </a:lnTo>
                      <a:lnTo>
                        <a:pt x="960" y="8"/>
                      </a:lnTo>
                      <a:lnTo>
                        <a:pt x="952" y="0"/>
                      </a:lnTo>
                      <a:lnTo>
                        <a:pt x="944" y="0"/>
                      </a:lnTo>
                      <a:lnTo>
                        <a:pt x="944" y="8"/>
                      </a:lnTo>
                      <a:lnTo>
                        <a:pt x="936" y="8"/>
                      </a:lnTo>
                      <a:lnTo>
                        <a:pt x="928" y="16"/>
                      </a:lnTo>
                      <a:lnTo>
                        <a:pt x="936" y="16"/>
                      </a:lnTo>
                      <a:lnTo>
                        <a:pt x="928" y="24"/>
                      </a:lnTo>
                      <a:lnTo>
                        <a:pt x="920" y="24"/>
                      </a:lnTo>
                      <a:lnTo>
                        <a:pt x="912" y="40"/>
                      </a:lnTo>
                      <a:lnTo>
                        <a:pt x="920" y="48"/>
                      </a:lnTo>
                      <a:lnTo>
                        <a:pt x="928" y="48"/>
                      </a:lnTo>
                      <a:lnTo>
                        <a:pt x="928" y="56"/>
                      </a:lnTo>
                      <a:lnTo>
                        <a:pt x="912" y="48"/>
                      </a:lnTo>
                      <a:lnTo>
                        <a:pt x="912" y="64"/>
                      </a:lnTo>
                      <a:lnTo>
                        <a:pt x="920" y="72"/>
                      </a:lnTo>
                      <a:lnTo>
                        <a:pt x="928" y="80"/>
                      </a:lnTo>
                      <a:lnTo>
                        <a:pt x="944" y="80"/>
                      </a:lnTo>
                      <a:lnTo>
                        <a:pt x="952" y="80"/>
                      </a:lnTo>
                      <a:lnTo>
                        <a:pt x="952" y="88"/>
                      </a:lnTo>
                      <a:lnTo>
                        <a:pt x="960" y="88"/>
                      </a:lnTo>
                      <a:lnTo>
                        <a:pt x="968" y="88"/>
                      </a:lnTo>
                      <a:lnTo>
                        <a:pt x="976" y="88"/>
                      </a:lnTo>
                      <a:lnTo>
                        <a:pt x="960" y="96"/>
                      </a:lnTo>
                      <a:lnTo>
                        <a:pt x="952" y="112"/>
                      </a:lnTo>
                      <a:lnTo>
                        <a:pt x="960" y="112"/>
                      </a:lnTo>
                      <a:lnTo>
                        <a:pt x="968" y="112"/>
                      </a:lnTo>
                      <a:lnTo>
                        <a:pt x="976" y="112"/>
                      </a:lnTo>
                      <a:lnTo>
                        <a:pt x="968" y="120"/>
                      </a:lnTo>
                      <a:lnTo>
                        <a:pt x="960" y="128"/>
                      </a:lnTo>
                      <a:lnTo>
                        <a:pt x="952" y="136"/>
                      </a:lnTo>
                      <a:lnTo>
                        <a:pt x="944" y="136"/>
                      </a:lnTo>
                      <a:lnTo>
                        <a:pt x="928" y="144"/>
                      </a:lnTo>
                      <a:lnTo>
                        <a:pt x="944" y="160"/>
                      </a:lnTo>
                      <a:lnTo>
                        <a:pt x="936" y="160"/>
                      </a:lnTo>
                      <a:lnTo>
                        <a:pt x="920" y="160"/>
                      </a:lnTo>
                      <a:lnTo>
                        <a:pt x="920" y="144"/>
                      </a:lnTo>
                      <a:lnTo>
                        <a:pt x="920" y="136"/>
                      </a:lnTo>
                      <a:lnTo>
                        <a:pt x="912" y="136"/>
                      </a:lnTo>
                      <a:lnTo>
                        <a:pt x="896" y="128"/>
                      </a:lnTo>
                      <a:lnTo>
                        <a:pt x="888" y="128"/>
                      </a:lnTo>
                      <a:lnTo>
                        <a:pt x="880" y="128"/>
                      </a:lnTo>
                      <a:lnTo>
                        <a:pt x="872" y="128"/>
                      </a:lnTo>
                      <a:lnTo>
                        <a:pt x="864" y="152"/>
                      </a:lnTo>
                      <a:lnTo>
                        <a:pt x="856" y="144"/>
                      </a:lnTo>
                      <a:lnTo>
                        <a:pt x="840" y="144"/>
                      </a:lnTo>
                      <a:lnTo>
                        <a:pt x="816" y="152"/>
                      </a:lnTo>
                      <a:lnTo>
                        <a:pt x="808" y="144"/>
                      </a:lnTo>
                      <a:lnTo>
                        <a:pt x="800" y="152"/>
                      </a:lnTo>
                      <a:lnTo>
                        <a:pt x="784" y="144"/>
                      </a:lnTo>
                      <a:lnTo>
                        <a:pt x="776" y="136"/>
                      </a:lnTo>
                      <a:lnTo>
                        <a:pt x="752" y="136"/>
                      </a:lnTo>
                      <a:lnTo>
                        <a:pt x="744" y="136"/>
                      </a:lnTo>
                      <a:lnTo>
                        <a:pt x="728" y="128"/>
                      </a:lnTo>
                      <a:lnTo>
                        <a:pt x="728" y="120"/>
                      </a:lnTo>
                      <a:lnTo>
                        <a:pt x="720" y="128"/>
                      </a:lnTo>
                      <a:lnTo>
                        <a:pt x="712" y="128"/>
                      </a:lnTo>
                      <a:lnTo>
                        <a:pt x="696" y="136"/>
                      </a:lnTo>
                      <a:lnTo>
                        <a:pt x="680" y="136"/>
                      </a:lnTo>
                      <a:lnTo>
                        <a:pt x="680" y="152"/>
                      </a:lnTo>
                      <a:lnTo>
                        <a:pt x="688" y="160"/>
                      </a:lnTo>
                      <a:lnTo>
                        <a:pt x="696" y="168"/>
                      </a:lnTo>
                      <a:lnTo>
                        <a:pt x="688" y="176"/>
                      </a:lnTo>
                      <a:lnTo>
                        <a:pt x="688" y="184"/>
                      </a:lnTo>
                      <a:lnTo>
                        <a:pt x="672" y="176"/>
                      </a:lnTo>
                      <a:lnTo>
                        <a:pt x="664" y="176"/>
                      </a:lnTo>
                      <a:lnTo>
                        <a:pt x="672" y="168"/>
                      </a:lnTo>
                      <a:lnTo>
                        <a:pt x="664" y="160"/>
                      </a:lnTo>
                      <a:lnTo>
                        <a:pt x="656" y="152"/>
                      </a:lnTo>
                      <a:lnTo>
                        <a:pt x="648" y="152"/>
                      </a:lnTo>
                      <a:lnTo>
                        <a:pt x="640" y="144"/>
                      </a:lnTo>
                      <a:lnTo>
                        <a:pt x="632" y="144"/>
                      </a:lnTo>
                      <a:lnTo>
                        <a:pt x="608" y="152"/>
                      </a:lnTo>
                      <a:lnTo>
                        <a:pt x="592" y="152"/>
                      </a:lnTo>
                      <a:lnTo>
                        <a:pt x="552" y="152"/>
                      </a:lnTo>
                      <a:lnTo>
                        <a:pt x="544" y="144"/>
                      </a:lnTo>
                      <a:lnTo>
                        <a:pt x="528" y="144"/>
                      </a:lnTo>
                      <a:lnTo>
                        <a:pt x="520" y="144"/>
                      </a:lnTo>
                      <a:lnTo>
                        <a:pt x="528" y="136"/>
                      </a:lnTo>
                      <a:lnTo>
                        <a:pt x="536" y="136"/>
                      </a:lnTo>
                      <a:lnTo>
                        <a:pt x="536" y="128"/>
                      </a:lnTo>
                      <a:lnTo>
                        <a:pt x="552" y="128"/>
                      </a:lnTo>
                      <a:lnTo>
                        <a:pt x="520" y="104"/>
                      </a:lnTo>
                      <a:lnTo>
                        <a:pt x="512" y="104"/>
                      </a:lnTo>
                      <a:lnTo>
                        <a:pt x="504" y="112"/>
                      </a:lnTo>
                      <a:lnTo>
                        <a:pt x="496" y="112"/>
                      </a:lnTo>
                      <a:lnTo>
                        <a:pt x="480" y="104"/>
                      </a:lnTo>
                      <a:lnTo>
                        <a:pt x="472" y="104"/>
                      </a:lnTo>
                      <a:lnTo>
                        <a:pt x="456" y="96"/>
                      </a:lnTo>
                      <a:lnTo>
                        <a:pt x="432" y="96"/>
                      </a:lnTo>
                      <a:lnTo>
                        <a:pt x="424" y="96"/>
                      </a:lnTo>
                      <a:lnTo>
                        <a:pt x="392" y="80"/>
                      </a:lnTo>
                      <a:lnTo>
                        <a:pt x="368" y="80"/>
                      </a:lnTo>
                      <a:lnTo>
                        <a:pt x="368" y="88"/>
                      </a:lnTo>
                      <a:lnTo>
                        <a:pt x="352" y="96"/>
                      </a:lnTo>
                      <a:lnTo>
                        <a:pt x="336" y="96"/>
                      </a:lnTo>
                      <a:lnTo>
                        <a:pt x="344" y="88"/>
                      </a:lnTo>
                      <a:lnTo>
                        <a:pt x="336" y="80"/>
                      </a:lnTo>
                      <a:lnTo>
                        <a:pt x="344" y="72"/>
                      </a:lnTo>
                      <a:lnTo>
                        <a:pt x="336" y="64"/>
                      </a:lnTo>
                      <a:lnTo>
                        <a:pt x="320" y="72"/>
                      </a:lnTo>
                      <a:lnTo>
                        <a:pt x="320" y="88"/>
                      </a:lnTo>
                      <a:lnTo>
                        <a:pt x="320" y="96"/>
                      </a:lnTo>
                      <a:lnTo>
                        <a:pt x="304" y="96"/>
                      </a:lnTo>
                      <a:lnTo>
                        <a:pt x="288" y="80"/>
                      </a:lnTo>
                      <a:lnTo>
                        <a:pt x="288" y="72"/>
                      </a:lnTo>
                      <a:lnTo>
                        <a:pt x="264" y="48"/>
                      </a:lnTo>
                      <a:lnTo>
                        <a:pt x="264" y="56"/>
                      </a:lnTo>
                      <a:lnTo>
                        <a:pt x="272" y="64"/>
                      </a:lnTo>
                      <a:lnTo>
                        <a:pt x="264" y="64"/>
                      </a:lnTo>
                      <a:lnTo>
                        <a:pt x="256" y="64"/>
                      </a:lnTo>
                      <a:lnTo>
                        <a:pt x="256" y="72"/>
                      </a:lnTo>
                      <a:lnTo>
                        <a:pt x="248" y="80"/>
                      </a:lnTo>
                      <a:lnTo>
                        <a:pt x="248" y="72"/>
                      </a:lnTo>
                      <a:lnTo>
                        <a:pt x="240" y="80"/>
                      </a:lnTo>
                      <a:lnTo>
                        <a:pt x="216" y="80"/>
                      </a:lnTo>
                      <a:lnTo>
                        <a:pt x="200" y="96"/>
                      </a:lnTo>
                      <a:lnTo>
                        <a:pt x="176" y="104"/>
                      </a:lnTo>
                      <a:lnTo>
                        <a:pt x="168" y="112"/>
                      </a:lnTo>
                      <a:lnTo>
                        <a:pt x="152" y="112"/>
                      </a:lnTo>
                      <a:lnTo>
                        <a:pt x="160" y="104"/>
                      </a:lnTo>
                      <a:lnTo>
                        <a:pt x="176" y="96"/>
                      </a:lnTo>
                      <a:lnTo>
                        <a:pt x="192" y="88"/>
                      </a:lnTo>
                      <a:lnTo>
                        <a:pt x="200" y="88"/>
                      </a:lnTo>
                      <a:lnTo>
                        <a:pt x="232" y="72"/>
                      </a:lnTo>
                      <a:lnTo>
                        <a:pt x="224" y="72"/>
                      </a:lnTo>
                      <a:lnTo>
                        <a:pt x="216" y="72"/>
                      </a:lnTo>
                      <a:lnTo>
                        <a:pt x="208" y="72"/>
                      </a:lnTo>
                      <a:lnTo>
                        <a:pt x="200" y="72"/>
                      </a:lnTo>
                      <a:lnTo>
                        <a:pt x="184" y="80"/>
                      </a:lnTo>
                      <a:lnTo>
                        <a:pt x="176" y="80"/>
                      </a:lnTo>
                      <a:lnTo>
                        <a:pt x="160" y="88"/>
                      </a:lnTo>
                      <a:lnTo>
                        <a:pt x="160" y="96"/>
                      </a:lnTo>
                      <a:lnTo>
                        <a:pt x="144" y="96"/>
                      </a:lnTo>
                      <a:lnTo>
                        <a:pt x="144" y="88"/>
                      </a:lnTo>
                      <a:lnTo>
                        <a:pt x="128" y="88"/>
                      </a:lnTo>
                      <a:lnTo>
                        <a:pt x="120" y="96"/>
                      </a:lnTo>
                      <a:lnTo>
                        <a:pt x="112" y="96"/>
                      </a:lnTo>
                      <a:lnTo>
                        <a:pt x="104" y="104"/>
                      </a:lnTo>
                      <a:lnTo>
                        <a:pt x="104" y="112"/>
                      </a:lnTo>
                      <a:lnTo>
                        <a:pt x="120" y="112"/>
                      </a:lnTo>
                      <a:lnTo>
                        <a:pt x="120" y="120"/>
                      </a:lnTo>
                      <a:lnTo>
                        <a:pt x="112" y="120"/>
                      </a:lnTo>
                      <a:lnTo>
                        <a:pt x="96" y="120"/>
                      </a:lnTo>
                      <a:lnTo>
                        <a:pt x="80" y="112"/>
                      </a:lnTo>
                      <a:lnTo>
                        <a:pt x="64" y="112"/>
                      </a:lnTo>
                      <a:lnTo>
                        <a:pt x="48" y="104"/>
                      </a:lnTo>
                      <a:lnTo>
                        <a:pt x="32" y="88"/>
                      </a:lnTo>
                      <a:lnTo>
                        <a:pt x="8" y="88"/>
                      </a:lnTo>
                      <a:lnTo>
                        <a:pt x="0" y="88"/>
                      </a:lnTo>
                      <a:lnTo>
                        <a:pt x="0" y="472"/>
                      </a:lnTo>
                      <a:lnTo>
                        <a:pt x="16" y="488"/>
                      </a:lnTo>
                      <a:lnTo>
                        <a:pt x="24" y="472"/>
                      </a:lnTo>
                      <a:lnTo>
                        <a:pt x="32" y="464"/>
                      </a:lnTo>
                      <a:lnTo>
                        <a:pt x="40" y="480"/>
                      </a:lnTo>
                      <a:lnTo>
                        <a:pt x="72" y="520"/>
                      </a:lnTo>
                      <a:lnTo>
                        <a:pt x="80" y="520"/>
                      </a:lnTo>
                      <a:lnTo>
                        <a:pt x="96" y="504"/>
                      </a:lnTo>
                      <a:lnTo>
                        <a:pt x="112" y="504"/>
                      </a:lnTo>
                      <a:lnTo>
                        <a:pt x="128" y="512"/>
                      </a:lnTo>
                      <a:lnTo>
                        <a:pt x="144" y="544"/>
                      </a:lnTo>
                      <a:lnTo>
                        <a:pt x="160" y="552"/>
                      </a:lnTo>
                      <a:lnTo>
                        <a:pt x="184" y="608"/>
                      </a:lnTo>
                      <a:lnTo>
                        <a:pt x="200" y="624"/>
                      </a:lnTo>
                      <a:lnTo>
                        <a:pt x="224" y="640"/>
                      </a:lnTo>
                      <a:lnTo>
                        <a:pt x="224" y="664"/>
                      </a:lnTo>
                      <a:lnTo>
                        <a:pt x="224" y="680"/>
                      </a:lnTo>
                      <a:lnTo>
                        <a:pt x="216" y="688"/>
                      </a:lnTo>
                      <a:lnTo>
                        <a:pt x="216" y="696"/>
                      </a:lnTo>
                      <a:lnTo>
                        <a:pt x="224" y="712"/>
                      </a:lnTo>
                      <a:lnTo>
                        <a:pt x="224" y="728"/>
                      </a:lnTo>
                      <a:lnTo>
                        <a:pt x="232" y="736"/>
                      </a:lnTo>
                      <a:lnTo>
                        <a:pt x="240" y="728"/>
                      </a:lnTo>
                      <a:lnTo>
                        <a:pt x="248" y="744"/>
                      </a:lnTo>
                      <a:lnTo>
                        <a:pt x="240" y="744"/>
                      </a:lnTo>
                      <a:lnTo>
                        <a:pt x="240" y="752"/>
                      </a:lnTo>
                      <a:lnTo>
                        <a:pt x="248" y="760"/>
                      </a:lnTo>
                      <a:lnTo>
                        <a:pt x="256" y="752"/>
                      </a:lnTo>
                      <a:lnTo>
                        <a:pt x="264" y="768"/>
                      </a:lnTo>
                      <a:lnTo>
                        <a:pt x="264" y="776"/>
                      </a:lnTo>
                      <a:lnTo>
                        <a:pt x="264" y="792"/>
                      </a:lnTo>
                      <a:lnTo>
                        <a:pt x="272" y="808"/>
                      </a:lnTo>
                      <a:lnTo>
                        <a:pt x="280" y="808"/>
                      </a:lnTo>
                      <a:lnTo>
                        <a:pt x="296" y="816"/>
                      </a:lnTo>
                      <a:lnTo>
                        <a:pt x="304" y="824"/>
                      </a:lnTo>
                      <a:lnTo>
                        <a:pt x="320" y="824"/>
                      </a:lnTo>
                      <a:lnTo>
                        <a:pt x="328" y="832"/>
                      </a:lnTo>
                      <a:lnTo>
                        <a:pt x="336" y="848"/>
                      </a:lnTo>
                      <a:lnTo>
                        <a:pt x="344" y="848"/>
                      </a:lnTo>
                      <a:lnTo>
                        <a:pt x="352" y="856"/>
                      </a:lnTo>
                      <a:lnTo>
                        <a:pt x="360" y="856"/>
                      </a:lnTo>
                      <a:lnTo>
                        <a:pt x="368" y="872"/>
                      </a:lnTo>
                      <a:lnTo>
                        <a:pt x="376" y="880"/>
                      </a:lnTo>
                      <a:lnTo>
                        <a:pt x="384" y="88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54" name="Freeform 63">
                  <a:extLst>
                    <a:ext uri="{FF2B5EF4-FFF2-40B4-BE49-F238E27FC236}">
                      <a16:creationId xmlns:a16="http://schemas.microsoft.com/office/drawing/2014/main" id="{13B9FF96-A3CB-534E-72D7-8523226556D2}"/>
                    </a:ext>
                  </a:extLst>
                </p:cNvPr>
                <p:cNvSpPr/>
                <p:nvPr/>
              </p:nvSpPr>
              <p:spPr bwMode="gray">
                <a:xfrm>
                  <a:off x="2323386" y="3596615"/>
                  <a:ext cx="912743" cy="530524"/>
                </a:xfrm>
                <a:custGeom>
                  <a:avLst/>
                  <a:gdLst>
                    <a:gd name="T0" fmla="*/ 212 w 624"/>
                    <a:gd name="T1" fmla="*/ 112 h 400"/>
                    <a:gd name="T2" fmla="*/ 215 w 624"/>
                    <a:gd name="T3" fmla="*/ 95 h 400"/>
                    <a:gd name="T4" fmla="*/ 212 w 624"/>
                    <a:gd name="T5" fmla="*/ 90 h 400"/>
                    <a:gd name="T6" fmla="*/ 198 w 624"/>
                    <a:gd name="T7" fmla="*/ 90 h 400"/>
                    <a:gd name="T8" fmla="*/ 192 w 624"/>
                    <a:gd name="T9" fmla="*/ 101 h 400"/>
                    <a:gd name="T10" fmla="*/ 173 w 624"/>
                    <a:gd name="T11" fmla="*/ 112 h 400"/>
                    <a:gd name="T12" fmla="*/ 159 w 624"/>
                    <a:gd name="T13" fmla="*/ 109 h 400"/>
                    <a:gd name="T14" fmla="*/ 151 w 624"/>
                    <a:gd name="T15" fmla="*/ 104 h 400"/>
                    <a:gd name="T16" fmla="*/ 142 w 624"/>
                    <a:gd name="T17" fmla="*/ 90 h 400"/>
                    <a:gd name="T18" fmla="*/ 139 w 624"/>
                    <a:gd name="T19" fmla="*/ 65 h 400"/>
                    <a:gd name="T20" fmla="*/ 136 w 624"/>
                    <a:gd name="T21" fmla="*/ 53 h 400"/>
                    <a:gd name="T22" fmla="*/ 117 w 624"/>
                    <a:gd name="T23" fmla="*/ 27 h 400"/>
                    <a:gd name="T24" fmla="*/ 103 w 624"/>
                    <a:gd name="T25" fmla="*/ 27 h 400"/>
                    <a:gd name="T26" fmla="*/ 92 w 624"/>
                    <a:gd name="T27" fmla="*/ 23 h 400"/>
                    <a:gd name="T28" fmla="*/ 86 w 624"/>
                    <a:gd name="T29" fmla="*/ 14 h 400"/>
                    <a:gd name="T30" fmla="*/ 67 w 624"/>
                    <a:gd name="T31" fmla="*/ 6 h 400"/>
                    <a:gd name="T32" fmla="*/ 42 w 624"/>
                    <a:gd name="T33" fmla="*/ 11 h 400"/>
                    <a:gd name="T34" fmla="*/ 17 w 624"/>
                    <a:gd name="T35" fmla="*/ 0 h 400"/>
                    <a:gd name="T36" fmla="*/ 3 w 624"/>
                    <a:gd name="T37" fmla="*/ 6 h 400"/>
                    <a:gd name="T38" fmla="*/ 11 w 624"/>
                    <a:gd name="T39" fmla="*/ 23 h 400"/>
                    <a:gd name="T40" fmla="*/ 23 w 624"/>
                    <a:gd name="T41" fmla="*/ 31 h 400"/>
                    <a:gd name="T42" fmla="*/ 17 w 624"/>
                    <a:gd name="T43" fmla="*/ 42 h 400"/>
                    <a:gd name="T44" fmla="*/ 34 w 624"/>
                    <a:gd name="T45" fmla="*/ 53 h 400"/>
                    <a:gd name="T46" fmla="*/ 42 w 624"/>
                    <a:gd name="T47" fmla="*/ 67 h 400"/>
                    <a:gd name="T48" fmla="*/ 50 w 624"/>
                    <a:gd name="T49" fmla="*/ 78 h 400"/>
                    <a:gd name="T50" fmla="*/ 53 w 624"/>
                    <a:gd name="T51" fmla="*/ 70 h 400"/>
                    <a:gd name="T52" fmla="*/ 48 w 624"/>
                    <a:gd name="T53" fmla="*/ 61 h 400"/>
                    <a:gd name="T54" fmla="*/ 42 w 624"/>
                    <a:gd name="T55" fmla="*/ 51 h 400"/>
                    <a:gd name="T56" fmla="*/ 31 w 624"/>
                    <a:gd name="T57" fmla="*/ 36 h 400"/>
                    <a:gd name="T58" fmla="*/ 19 w 624"/>
                    <a:gd name="T59" fmla="*/ 19 h 400"/>
                    <a:gd name="T60" fmla="*/ 19 w 624"/>
                    <a:gd name="T61" fmla="*/ 8 h 400"/>
                    <a:gd name="T62" fmla="*/ 27 w 624"/>
                    <a:gd name="T63" fmla="*/ 11 h 400"/>
                    <a:gd name="T64" fmla="*/ 31 w 624"/>
                    <a:gd name="T65" fmla="*/ 23 h 400"/>
                    <a:gd name="T66" fmla="*/ 39 w 624"/>
                    <a:gd name="T67" fmla="*/ 34 h 400"/>
                    <a:gd name="T68" fmla="*/ 48 w 624"/>
                    <a:gd name="T69" fmla="*/ 42 h 400"/>
                    <a:gd name="T70" fmla="*/ 58 w 624"/>
                    <a:gd name="T71" fmla="*/ 51 h 400"/>
                    <a:gd name="T72" fmla="*/ 61 w 624"/>
                    <a:gd name="T73" fmla="*/ 59 h 400"/>
                    <a:gd name="T74" fmla="*/ 67 w 624"/>
                    <a:gd name="T75" fmla="*/ 65 h 400"/>
                    <a:gd name="T76" fmla="*/ 75 w 624"/>
                    <a:gd name="T77" fmla="*/ 73 h 400"/>
                    <a:gd name="T78" fmla="*/ 86 w 624"/>
                    <a:gd name="T79" fmla="*/ 90 h 400"/>
                    <a:gd name="T80" fmla="*/ 84 w 624"/>
                    <a:gd name="T81" fmla="*/ 101 h 400"/>
                    <a:gd name="T82" fmla="*/ 92 w 624"/>
                    <a:gd name="T83" fmla="*/ 106 h 400"/>
                    <a:gd name="T84" fmla="*/ 101 w 624"/>
                    <a:gd name="T85" fmla="*/ 112 h 400"/>
                    <a:gd name="T86" fmla="*/ 115 w 624"/>
                    <a:gd name="T87" fmla="*/ 118 h 400"/>
                    <a:gd name="T88" fmla="*/ 122 w 624"/>
                    <a:gd name="T89" fmla="*/ 123 h 400"/>
                    <a:gd name="T90" fmla="*/ 134 w 624"/>
                    <a:gd name="T91" fmla="*/ 129 h 400"/>
                    <a:gd name="T92" fmla="*/ 142 w 624"/>
                    <a:gd name="T93" fmla="*/ 132 h 400"/>
                    <a:gd name="T94" fmla="*/ 161 w 624"/>
                    <a:gd name="T95" fmla="*/ 126 h 400"/>
                    <a:gd name="T96" fmla="*/ 170 w 624"/>
                    <a:gd name="T97" fmla="*/ 132 h 400"/>
                    <a:gd name="T98" fmla="*/ 189 w 624"/>
                    <a:gd name="T99" fmla="*/ 129 h 400"/>
                    <a:gd name="T100" fmla="*/ 186 w 624"/>
                    <a:gd name="T101" fmla="*/ 121 h 400"/>
                    <a:gd name="T102" fmla="*/ 198 w 624"/>
                    <a:gd name="T103" fmla="*/ 115 h 400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624"/>
                    <a:gd name="T157" fmla="*/ 0 h 400"/>
                    <a:gd name="T158" fmla="*/ 624 w 624"/>
                    <a:gd name="T159" fmla="*/ 400 h 400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624" h="400">
                      <a:moveTo>
                        <a:pt x="576" y="328"/>
                      </a:moveTo>
                      <a:lnTo>
                        <a:pt x="584" y="320"/>
                      </a:lnTo>
                      <a:lnTo>
                        <a:pt x="608" y="320"/>
                      </a:lnTo>
                      <a:lnTo>
                        <a:pt x="608" y="312"/>
                      </a:lnTo>
                      <a:lnTo>
                        <a:pt x="608" y="288"/>
                      </a:lnTo>
                      <a:lnTo>
                        <a:pt x="616" y="272"/>
                      </a:lnTo>
                      <a:lnTo>
                        <a:pt x="624" y="256"/>
                      </a:lnTo>
                      <a:lnTo>
                        <a:pt x="616" y="248"/>
                      </a:lnTo>
                      <a:lnTo>
                        <a:pt x="608" y="256"/>
                      </a:lnTo>
                      <a:lnTo>
                        <a:pt x="600" y="248"/>
                      </a:lnTo>
                      <a:lnTo>
                        <a:pt x="584" y="248"/>
                      </a:lnTo>
                      <a:lnTo>
                        <a:pt x="568" y="256"/>
                      </a:lnTo>
                      <a:lnTo>
                        <a:pt x="560" y="256"/>
                      </a:lnTo>
                      <a:lnTo>
                        <a:pt x="552" y="272"/>
                      </a:lnTo>
                      <a:lnTo>
                        <a:pt x="552" y="288"/>
                      </a:lnTo>
                      <a:lnTo>
                        <a:pt x="536" y="304"/>
                      </a:lnTo>
                      <a:lnTo>
                        <a:pt x="536" y="312"/>
                      </a:lnTo>
                      <a:lnTo>
                        <a:pt x="496" y="320"/>
                      </a:lnTo>
                      <a:lnTo>
                        <a:pt x="488" y="320"/>
                      </a:lnTo>
                      <a:lnTo>
                        <a:pt x="472" y="320"/>
                      </a:lnTo>
                      <a:lnTo>
                        <a:pt x="456" y="312"/>
                      </a:lnTo>
                      <a:lnTo>
                        <a:pt x="448" y="312"/>
                      </a:lnTo>
                      <a:lnTo>
                        <a:pt x="440" y="304"/>
                      </a:lnTo>
                      <a:lnTo>
                        <a:pt x="432" y="296"/>
                      </a:lnTo>
                      <a:lnTo>
                        <a:pt x="424" y="288"/>
                      </a:lnTo>
                      <a:lnTo>
                        <a:pt x="416" y="272"/>
                      </a:lnTo>
                      <a:lnTo>
                        <a:pt x="408" y="256"/>
                      </a:lnTo>
                      <a:lnTo>
                        <a:pt x="400" y="232"/>
                      </a:lnTo>
                      <a:lnTo>
                        <a:pt x="400" y="208"/>
                      </a:lnTo>
                      <a:lnTo>
                        <a:pt x="400" y="184"/>
                      </a:lnTo>
                      <a:lnTo>
                        <a:pt x="408" y="168"/>
                      </a:lnTo>
                      <a:lnTo>
                        <a:pt x="408" y="160"/>
                      </a:lnTo>
                      <a:lnTo>
                        <a:pt x="392" y="152"/>
                      </a:lnTo>
                      <a:lnTo>
                        <a:pt x="368" y="136"/>
                      </a:lnTo>
                      <a:lnTo>
                        <a:pt x="368" y="120"/>
                      </a:lnTo>
                      <a:lnTo>
                        <a:pt x="336" y="80"/>
                      </a:lnTo>
                      <a:lnTo>
                        <a:pt x="312" y="64"/>
                      </a:lnTo>
                      <a:lnTo>
                        <a:pt x="296" y="72"/>
                      </a:lnTo>
                      <a:lnTo>
                        <a:pt x="296" y="80"/>
                      </a:lnTo>
                      <a:lnTo>
                        <a:pt x="296" y="88"/>
                      </a:lnTo>
                      <a:lnTo>
                        <a:pt x="280" y="80"/>
                      </a:lnTo>
                      <a:lnTo>
                        <a:pt x="264" y="64"/>
                      </a:lnTo>
                      <a:lnTo>
                        <a:pt x="264" y="48"/>
                      </a:lnTo>
                      <a:lnTo>
                        <a:pt x="256" y="40"/>
                      </a:lnTo>
                      <a:lnTo>
                        <a:pt x="248" y="40"/>
                      </a:lnTo>
                      <a:lnTo>
                        <a:pt x="224" y="24"/>
                      </a:lnTo>
                      <a:lnTo>
                        <a:pt x="208" y="16"/>
                      </a:lnTo>
                      <a:lnTo>
                        <a:pt x="192" y="16"/>
                      </a:lnTo>
                      <a:lnTo>
                        <a:pt x="184" y="32"/>
                      </a:lnTo>
                      <a:lnTo>
                        <a:pt x="168" y="32"/>
                      </a:lnTo>
                      <a:lnTo>
                        <a:pt x="120" y="32"/>
                      </a:lnTo>
                      <a:lnTo>
                        <a:pt x="112" y="32"/>
                      </a:lnTo>
                      <a:lnTo>
                        <a:pt x="80" y="16"/>
                      </a:lnTo>
                      <a:lnTo>
                        <a:pt x="48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8" y="32"/>
                      </a:lnTo>
                      <a:lnTo>
                        <a:pt x="32" y="48"/>
                      </a:lnTo>
                      <a:lnTo>
                        <a:pt x="32" y="64"/>
                      </a:lnTo>
                      <a:lnTo>
                        <a:pt x="40" y="72"/>
                      </a:lnTo>
                      <a:lnTo>
                        <a:pt x="48" y="72"/>
                      </a:lnTo>
                      <a:lnTo>
                        <a:pt x="64" y="88"/>
                      </a:lnTo>
                      <a:lnTo>
                        <a:pt x="64" y="104"/>
                      </a:lnTo>
                      <a:lnTo>
                        <a:pt x="64" y="120"/>
                      </a:lnTo>
                      <a:lnTo>
                        <a:pt x="48" y="120"/>
                      </a:lnTo>
                      <a:lnTo>
                        <a:pt x="72" y="136"/>
                      </a:lnTo>
                      <a:lnTo>
                        <a:pt x="80" y="136"/>
                      </a:lnTo>
                      <a:lnTo>
                        <a:pt x="96" y="152"/>
                      </a:lnTo>
                      <a:lnTo>
                        <a:pt x="104" y="160"/>
                      </a:lnTo>
                      <a:lnTo>
                        <a:pt x="112" y="176"/>
                      </a:lnTo>
                      <a:lnTo>
                        <a:pt x="120" y="192"/>
                      </a:lnTo>
                      <a:lnTo>
                        <a:pt x="128" y="192"/>
                      </a:lnTo>
                      <a:lnTo>
                        <a:pt x="144" y="208"/>
                      </a:lnTo>
                      <a:lnTo>
                        <a:pt x="144" y="224"/>
                      </a:lnTo>
                      <a:lnTo>
                        <a:pt x="160" y="224"/>
                      </a:lnTo>
                      <a:lnTo>
                        <a:pt x="160" y="216"/>
                      </a:lnTo>
                      <a:lnTo>
                        <a:pt x="152" y="200"/>
                      </a:lnTo>
                      <a:lnTo>
                        <a:pt x="144" y="192"/>
                      </a:lnTo>
                      <a:lnTo>
                        <a:pt x="136" y="192"/>
                      </a:lnTo>
                      <a:lnTo>
                        <a:pt x="136" y="176"/>
                      </a:lnTo>
                      <a:lnTo>
                        <a:pt x="128" y="168"/>
                      </a:lnTo>
                      <a:lnTo>
                        <a:pt x="120" y="160"/>
                      </a:lnTo>
                      <a:lnTo>
                        <a:pt x="120" y="144"/>
                      </a:lnTo>
                      <a:lnTo>
                        <a:pt x="96" y="120"/>
                      </a:lnTo>
                      <a:lnTo>
                        <a:pt x="96" y="112"/>
                      </a:lnTo>
                      <a:lnTo>
                        <a:pt x="88" y="104"/>
                      </a:lnTo>
                      <a:lnTo>
                        <a:pt x="88" y="96"/>
                      </a:lnTo>
                      <a:lnTo>
                        <a:pt x="56" y="64"/>
                      </a:lnTo>
                      <a:lnTo>
                        <a:pt x="56" y="56"/>
                      </a:lnTo>
                      <a:lnTo>
                        <a:pt x="48" y="24"/>
                      </a:lnTo>
                      <a:lnTo>
                        <a:pt x="56" y="16"/>
                      </a:lnTo>
                      <a:lnTo>
                        <a:pt x="56" y="24"/>
                      </a:lnTo>
                      <a:lnTo>
                        <a:pt x="72" y="24"/>
                      </a:lnTo>
                      <a:lnTo>
                        <a:pt x="72" y="32"/>
                      </a:lnTo>
                      <a:lnTo>
                        <a:pt x="80" y="32"/>
                      </a:lnTo>
                      <a:lnTo>
                        <a:pt x="88" y="40"/>
                      </a:lnTo>
                      <a:lnTo>
                        <a:pt x="80" y="56"/>
                      </a:lnTo>
                      <a:lnTo>
                        <a:pt x="88" y="64"/>
                      </a:lnTo>
                      <a:lnTo>
                        <a:pt x="96" y="72"/>
                      </a:lnTo>
                      <a:lnTo>
                        <a:pt x="104" y="88"/>
                      </a:lnTo>
                      <a:lnTo>
                        <a:pt x="112" y="96"/>
                      </a:lnTo>
                      <a:lnTo>
                        <a:pt x="120" y="104"/>
                      </a:lnTo>
                      <a:lnTo>
                        <a:pt x="136" y="112"/>
                      </a:lnTo>
                      <a:lnTo>
                        <a:pt x="136" y="120"/>
                      </a:lnTo>
                      <a:lnTo>
                        <a:pt x="152" y="136"/>
                      </a:lnTo>
                      <a:lnTo>
                        <a:pt x="160" y="136"/>
                      </a:lnTo>
                      <a:lnTo>
                        <a:pt x="168" y="144"/>
                      </a:lnTo>
                      <a:lnTo>
                        <a:pt x="160" y="152"/>
                      </a:lnTo>
                      <a:lnTo>
                        <a:pt x="160" y="160"/>
                      </a:lnTo>
                      <a:lnTo>
                        <a:pt x="176" y="168"/>
                      </a:lnTo>
                      <a:lnTo>
                        <a:pt x="184" y="168"/>
                      </a:lnTo>
                      <a:lnTo>
                        <a:pt x="192" y="176"/>
                      </a:lnTo>
                      <a:lnTo>
                        <a:pt x="192" y="184"/>
                      </a:lnTo>
                      <a:lnTo>
                        <a:pt x="200" y="200"/>
                      </a:lnTo>
                      <a:lnTo>
                        <a:pt x="208" y="200"/>
                      </a:lnTo>
                      <a:lnTo>
                        <a:pt x="216" y="208"/>
                      </a:lnTo>
                      <a:lnTo>
                        <a:pt x="232" y="232"/>
                      </a:lnTo>
                      <a:lnTo>
                        <a:pt x="240" y="240"/>
                      </a:lnTo>
                      <a:lnTo>
                        <a:pt x="248" y="256"/>
                      </a:lnTo>
                      <a:lnTo>
                        <a:pt x="240" y="272"/>
                      </a:lnTo>
                      <a:lnTo>
                        <a:pt x="240" y="280"/>
                      </a:lnTo>
                      <a:lnTo>
                        <a:pt x="240" y="288"/>
                      </a:lnTo>
                      <a:lnTo>
                        <a:pt x="240" y="296"/>
                      </a:lnTo>
                      <a:lnTo>
                        <a:pt x="256" y="296"/>
                      </a:lnTo>
                      <a:lnTo>
                        <a:pt x="264" y="304"/>
                      </a:lnTo>
                      <a:lnTo>
                        <a:pt x="272" y="304"/>
                      </a:lnTo>
                      <a:lnTo>
                        <a:pt x="280" y="320"/>
                      </a:lnTo>
                      <a:lnTo>
                        <a:pt x="288" y="320"/>
                      </a:lnTo>
                      <a:lnTo>
                        <a:pt x="304" y="328"/>
                      </a:lnTo>
                      <a:lnTo>
                        <a:pt x="312" y="328"/>
                      </a:lnTo>
                      <a:lnTo>
                        <a:pt x="328" y="336"/>
                      </a:lnTo>
                      <a:lnTo>
                        <a:pt x="336" y="344"/>
                      </a:lnTo>
                      <a:lnTo>
                        <a:pt x="344" y="352"/>
                      </a:lnTo>
                      <a:lnTo>
                        <a:pt x="352" y="352"/>
                      </a:lnTo>
                      <a:lnTo>
                        <a:pt x="360" y="360"/>
                      </a:lnTo>
                      <a:lnTo>
                        <a:pt x="368" y="360"/>
                      </a:lnTo>
                      <a:lnTo>
                        <a:pt x="384" y="368"/>
                      </a:lnTo>
                      <a:lnTo>
                        <a:pt x="392" y="368"/>
                      </a:lnTo>
                      <a:lnTo>
                        <a:pt x="400" y="368"/>
                      </a:lnTo>
                      <a:lnTo>
                        <a:pt x="408" y="376"/>
                      </a:lnTo>
                      <a:lnTo>
                        <a:pt x="416" y="376"/>
                      </a:lnTo>
                      <a:lnTo>
                        <a:pt x="440" y="376"/>
                      </a:lnTo>
                      <a:lnTo>
                        <a:pt x="464" y="360"/>
                      </a:lnTo>
                      <a:lnTo>
                        <a:pt x="472" y="368"/>
                      </a:lnTo>
                      <a:lnTo>
                        <a:pt x="488" y="368"/>
                      </a:lnTo>
                      <a:lnTo>
                        <a:pt x="488" y="376"/>
                      </a:lnTo>
                      <a:lnTo>
                        <a:pt x="512" y="400"/>
                      </a:lnTo>
                      <a:lnTo>
                        <a:pt x="520" y="368"/>
                      </a:lnTo>
                      <a:lnTo>
                        <a:pt x="544" y="368"/>
                      </a:lnTo>
                      <a:lnTo>
                        <a:pt x="552" y="368"/>
                      </a:lnTo>
                      <a:lnTo>
                        <a:pt x="552" y="360"/>
                      </a:lnTo>
                      <a:lnTo>
                        <a:pt x="536" y="344"/>
                      </a:lnTo>
                      <a:lnTo>
                        <a:pt x="544" y="336"/>
                      </a:lnTo>
                      <a:lnTo>
                        <a:pt x="544" y="328"/>
                      </a:lnTo>
                      <a:lnTo>
                        <a:pt x="568" y="328"/>
                      </a:lnTo>
                      <a:lnTo>
                        <a:pt x="576" y="32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55" name="Freeform 64">
                  <a:extLst>
                    <a:ext uri="{FF2B5EF4-FFF2-40B4-BE49-F238E27FC236}">
                      <a16:creationId xmlns:a16="http://schemas.microsoft.com/office/drawing/2014/main" id="{702020E4-2B4E-858B-0514-1375BDA0FB46}"/>
                    </a:ext>
                  </a:extLst>
                </p:cNvPr>
                <p:cNvSpPr/>
                <p:nvPr/>
              </p:nvSpPr>
              <p:spPr bwMode="gray">
                <a:xfrm>
                  <a:off x="3165438" y="4019906"/>
                  <a:ext cx="45741" cy="63964"/>
                </a:xfrm>
                <a:custGeom>
                  <a:avLst/>
                  <a:gdLst>
                    <a:gd name="T0" fmla="*/ 3 w 32"/>
                    <a:gd name="T1" fmla="*/ 17 h 48"/>
                    <a:gd name="T2" fmla="*/ 0 w 32"/>
                    <a:gd name="T3" fmla="*/ 14 h 48"/>
                    <a:gd name="T4" fmla="*/ 0 w 32"/>
                    <a:gd name="T5" fmla="*/ 3 h 48"/>
                    <a:gd name="T6" fmla="*/ 3 w 32"/>
                    <a:gd name="T7" fmla="*/ 0 h 48"/>
                    <a:gd name="T8" fmla="*/ 10 w 32"/>
                    <a:gd name="T9" fmla="*/ 0 h 48"/>
                    <a:gd name="T10" fmla="*/ 8 w 32"/>
                    <a:gd name="T11" fmla="*/ 3 h 48"/>
                    <a:gd name="T12" fmla="*/ 8 w 32"/>
                    <a:gd name="T13" fmla="*/ 9 h 48"/>
                    <a:gd name="T14" fmla="*/ 3 w 32"/>
                    <a:gd name="T15" fmla="*/ 17 h 4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2"/>
                    <a:gd name="T25" fmla="*/ 0 h 48"/>
                    <a:gd name="T26" fmla="*/ 32 w 32"/>
                    <a:gd name="T27" fmla="*/ 48 h 4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2" h="48">
                      <a:moveTo>
                        <a:pt x="8" y="48"/>
                      </a:moveTo>
                      <a:lnTo>
                        <a:pt x="0" y="40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8" y="4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56" name="Freeform 65">
                  <a:extLst>
                    <a:ext uri="{FF2B5EF4-FFF2-40B4-BE49-F238E27FC236}">
                      <a16:creationId xmlns:a16="http://schemas.microsoft.com/office/drawing/2014/main" id="{B95B2D94-5098-342B-8B8B-B0E95765B1FB}"/>
                    </a:ext>
                  </a:extLst>
                </p:cNvPr>
                <p:cNvSpPr/>
                <p:nvPr/>
              </p:nvSpPr>
              <p:spPr bwMode="gray">
                <a:xfrm>
                  <a:off x="3071876" y="4031194"/>
                  <a:ext cx="128907" cy="116640"/>
                </a:xfrm>
                <a:custGeom>
                  <a:avLst/>
                  <a:gdLst>
                    <a:gd name="T0" fmla="*/ 14 w 88"/>
                    <a:gd name="T1" fmla="*/ 31 h 88"/>
                    <a:gd name="T2" fmla="*/ 3 w 88"/>
                    <a:gd name="T3" fmla="*/ 27 h 88"/>
                    <a:gd name="T4" fmla="*/ 0 w 88"/>
                    <a:gd name="T5" fmla="*/ 25 h 88"/>
                    <a:gd name="T6" fmla="*/ 3 w 88"/>
                    <a:gd name="T7" fmla="*/ 14 h 88"/>
                    <a:gd name="T8" fmla="*/ 11 w 88"/>
                    <a:gd name="T9" fmla="*/ 14 h 88"/>
                    <a:gd name="T10" fmla="*/ 14 w 88"/>
                    <a:gd name="T11" fmla="*/ 14 h 88"/>
                    <a:gd name="T12" fmla="*/ 14 w 88"/>
                    <a:gd name="T13" fmla="*/ 11 h 88"/>
                    <a:gd name="T14" fmla="*/ 8 w 88"/>
                    <a:gd name="T15" fmla="*/ 6 h 88"/>
                    <a:gd name="T16" fmla="*/ 11 w 88"/>
                    <a:gd name="T17" fmla="*/ 3 h 88"/>
                    <a:gd name="T18" fmla="*/ 11 w 88"/>
                    <a:gd name="T19" fmla="*/ 0 h 88"/>
                    <a:gd name="T20" fmla="*/ 19 w 88"/>
                    <a:gd name="T21" fmla="*/ 0 h 88"/>
                    <a:gd name="T22" fmla="*/ 23 w 88"/>
                    <a:gd name="T23" fmla="*/ 0 h 88"/>
                    <a:gd name="T24" fmla="*/ 23 w 88"/>
                    <a:gd name="T25" fmla="*/ 11 h 88"/>
                    <a:gd name="T26" fmla="*/ 25 w 88"/>
                    <a:gd name="T27" fmla="*/ 14 h 88"/>
                    <a:gd name="T28" fmla="*/ 31 w 88"/>
                    <a:gd name="T29" fmla="*/ 17 h 88"/>
                    <a:gd name="T30" fmla="*/ 27 w 88"/>
                    <a:gd name="T31" fmla="*/ 19 h 88"/>
                    <a:gd name="T32" fmla="*/ 19 w 88"/>
                    <a:gd name="T33" fmla="*/ 27 h 88"/>
                    <a:gd name="T34" fmla="*/ 14 w 88"/>
                    <a:gd name="T35" fmla="*/ 31 h 8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8"/>
                    <a:gd name="T55" fmla="*/ 0 h 88"/>
                    <a:gd name="T56" fmla="*/ 88 w 88"/>
                    <a:gd name="T57" fmla="*/ 88 h 8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8" h="88">
                      <a:moveTo>
                        <a:pt x="40" y="88"/>
                      </a:moveTo>
                      <a:lnTo>
                        <a:pt x="8" y="80"/>
                      </a:lnTo>
                      <a:lnTo>
                        <a:pt x="0" y="72"/>
                      </a:lnTo>
                      <a:lnTo>
                        <a:pt x="8" y="40"/>
                      </a:lnTo>
                      <a:lnTo>
                        <a:pt x="32" y="40"/>
                      </a:lnTo>
                      <a:lnTo>
                        <a:pt x="40" y="40"/>
                      </a:lnTo>
                      <a:lnTo>
                        <a:pt x="40" y="32"/>
                      </a:lnTo>
                      <a:lnTo>
                        <a:pt x="24" y="16"/>
                      </a:lnTo>
                      <a:lnTo>
                        <a:pt x="32" y="8"/>
                      </a:lnTo>
                      <a:lnTo>
                        <a:pt x="32" y="0"/>
                      </a:lnTo>
                      <a:lnTo>
                        <a:pt x="56" y="0"/>
                      </a:lnTo>
                      <a:lnTo>
                        <a:pt x="64" y="0"/>
                      </a:lnTo>
                      <a:lnTo>
                        <a:pt x="64" y="32"/>
                      </a:lnTo>
                      <a:lnTo>
                        <a:pt x="72" y="40"/>
                      </a:lnTo>
                      <a:lnTo>
                        <a:pt x="88" y="48"/>
                      </a:lnTo>
                      <a:lnTo>
                        <a:pt x="80" y="56"/>
                      </a:lnTo>
                      <a:lnTo>
                        <a:pt x="56" y="80"/>
                      </a:lnTo>
                      <a:lnTo>
                        <a:pt x="40" y="8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57" name="Freeform 66">
                  <a:extLst>
                    <a:ext uri="{FF2B5EF4-FFF2-40B4-BE49-F238E27FC236}">
                      <a16:creationId xmlns:a16="http://schemas.microsoft.com/office/drawing/2014/main" id="{008FF29D-1E13-6715-9DC2-64CB9198AF7D}"/>
                    </a:ext>
                  </a:extLst>
                </p:cNvPr>
                <p:cNvSpPr/>
                <p:nvPr/>
              </p:nvSpPr>
              <p:spPr bwMode="gray">
                <a:xfrm>
                  <a:off x="3152963" y="4083870"/>
                  <a:ext cx="187123" cy="84658"/>
                </a:xfrm>
                <a:custGeom>
                  <a:avLst/>
                  <a:gdLst>
                    <a:gd name="T0" fmla="*/ 14 w 128"/>
                    <a:gd name="T1" fmla="*/ 23 h 64"/>
                    <a:gd name="T2" fmla="*/ 17 w 128"/>
                    <a:gd name="T3" fmla="*/ 23 h 64"/>
                    <a:gd name="T4" fmla="*/ 19 w 128"/>
                    <a:gd name="T5" fmla="*/ 23 h 64"/>
                    <a:gd name="T6" fmla="*/ 19 w 128"/>
                    <a:gd name="T7" fmla="*/ 17 h 64"/>
                    <a:gd name="T8" fmla="*/ 25 w 128"/>
                    <a:gd name="T9" fmla="*/ 14 h 64"/>
                    <a:gd name="T10" fmla="*/ 27 w 128"/>
                    <a:gd name="T11" fmla="*/ 14 h 64"/>
                    <a:gd name="T12" fmla="*/ 34 w 128"/>
                    <a:gd name="T13" fmla="*/ 8 h 64"/>
                    <a:gd name="T14" fmla="*/ 39 w 128"/>
                    <a:gd name="T15" fmla="*/ 8 h 64"/>
                    <a:gd name="T16" fmla="*/ 44 w 128"/>
                    <a:gd name="T17" fmla="*/ 8 h 64"/>
                    <a:gd name="T18" fmla="*/ 41 w 128"/>
                    <a:gd name="T19" fmla="*/ 6 h 64"/>
                    <a:gd name="T20" fmla="*/ 36 w 128"/>
                    <a:gd name="T21" fmla="*/ 0 h 64"/>
                    <a:gd name="T22" fmla="*/ 25 w 128"/>
                    <a:gd name="T23" fmla="*/ 3 h 64"/>
                    <a:gd name="T24" fmla="*/ 11 w 128"/>
                    <a:gd name="T25" fmla="*/ 3 h 64"/>
                    <a:gd name="T26" fmla="*/ 8 w 128"/>
                    <a:gd name="T27" fmla="*/ 6 h 64"/>
                    <a:gd name="T28" fmla="*/ 0 w 128"/>
                    <a:gd name="T29" fmla="*/ 14 h 64"/>
                    <a:gd name="T30" fmla="*/ 8 w 128"/>
                    <a:gd name="T31" fmla="*/ 14 h 64"/>
                    <a:gd name="T32" fmla="*/ 11 w 128"/>
                    <a:gd name="T33" fmla="*/ 19 h 64"/>
                    <a:gd name="T34" fmla="*/ 14 w 128"/>
                    <a:gd name="T35" fmla="*/ 23 h 64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28"/>
                    <a:gd name="T55" fmla="*/ 0 h 64"/>
                    <a:gd name="T56" fmla="*/ 128 w 128"/>
                    <a:gd name="T57" fmla="*/ 64 h 64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28" h="64">
                      <a:moveTo>
                        <a:pt x="40" y="64"/>
                      </a:moveTo>
                      <a:lnTo>
                        <a:pt x="48" y="64"/>
                      </a:lnTo>
                      <a:lnTo>
                        <a:pt x="56" y="64"/>
                      </a:lnTo>
                      <a:lnTo>
                        <a:pt x="56" y="48"/>
                      </a:lnTo>
                      <a:lnTo>
                        <a:pt x="72" y="40"/>
                      </a:lnTo>
                      <a:lnTo>
                        <a:pt x="80" y="40"/>
                      </a:lnTo>
                      <a:lnTo>
                        <a:pt x="96" y="24"/>
                      </a:lnTo>
                      <a:lnTo>
                        <a:pt x="112" y="24"/>
                      </a:lnTo>
                      <a:lnTo>
                        <a:pt x="128" y="24"/>
                      </a:lnTo>
                      <a:lnTo>
                        <a:pt x="120" y="16"/>
                      </a:lnTo>
                      <a:lnTo>
                        <a:pt x="104" y="0"/>
                      </a:lnTo>
                      <a:lnTo>
                        <a:pt x="72" y="8"/>
                      </a:lnTo>
                      <a:lnTo>
                        <a:pt x="32" y="8"/>
                      </a:lnTo>
                      <a:lnTo>
                        <a:pt x="24" y="16"/>
                      </a:lnTo>
                      <a:lnTo>
                        <a:pt x="0" y="40"/>
                      </a:lnTo>
                      <a:lnTo>
                        <a:pt x="24" y="40"/>
                      </a:lnTo>
                      <a:lnTo>
                        <a:pt x="32" y="56"/>
                      </a:lnTo>
                      <a:lnTo>
                        <a:pt x="40" y="64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58" name="Freeform 67">
                  <a:extLst>
                    <a:ext uri="{FF2B5EF4-FFF2-40B4-BE49-F238E27FC236}">
                      <a16:creationId xmlns:a16="http://schemas.microsoft.com/office/drawing/2014/main" id="{6C06F39F-4DE9-F9D9-CB1B-67C5A5C12893}"/>
                    </a:ext>
                  </a:extLst>
                </p:cNvPr>
                <p:cNvSpPr/>
                <p:nvPr/>
              </p:nvSpPr>
              <p:spPr bwMode="gray">
                <a:xfrm>
                  <a:off x="3211179" y="4115852"/>
                  <a:ext cx="128907" cy="116640"/>
                </a:xfrm>
                <a:custGeom>
                  <a:avLst/>
                  <a:gdLst>
                    <a:gd name="T0" fmla="*/ 31 w 88"/>
                    <a:gd name="T1" fmla="*/ 0 h 88"/>
                    <a:gd name="T2" fmla="*/ 25 w 88"/>
                    <a:gd name="T3" fmla="*/ 0 h 88"/>
                    <a:gd name="T4" fmla="*/ 19 w 88"/>
                    <a:gd name="T5" fmla="*/ 0 h 88"/>
                    <a:gd name="T6" fmla="*/ 14 w 88"/>
                    <a:gd name="T7" fmla="*/ 6 h 88"/>
                    <a:gd name="T8" fmla="*/ 11 w 88"/>
                    <a:gd name="T9" fmla="*/ 6 h 88"/>
                    <a:gd name="T10" fmla="*/ 6 w 88"/>
                    <a:gd name="T11" fmla="*/ 8 h 88"/>
                    <a:gd name="T12" fmla="*/ 6 w 88"/>
                    <a:gd name="T13" fmla="*/ 14 h 88"/>
                    <a:gd name="T14" fmla="*/ 3 w 88"/>
                    <a:gd name="T15" fmla="*/ 14 h 88"/>
                    <a:gd name="T16" fmla="*/ 0 w 88"/>
                    <a:gd name="T17" fmla="*/ 14 h 88"/>
                    <a:gd name="T18" fmla="*/ 0 w 88"/>
                    <a:gd name="T19" fmla="*/ 17 h 88"/>
                    <a:gd name="T20" fmla="*/ 3 w 88"/>
                    <a:gd name="T21" fmla="*/ 17 h 88"/>
                    <a:gd name="T22" fmla="*/ 8 w 88"/>
                    <a:gd name="T23" fmla="*/ 23 h 88"/>
                    <a:gd name="T24" fmla="*/ 14 w 88"/>
                    <a:gd name="T25" fmla="*/ 27 h 88"/>
                    <a:gd name="T26" fmla="*/ 19 w 88"/>
                    <a:gd name="T27" fmla="*/ 31 h 88"/>
                    <a:gd name="T28" fmla="*/ 25 w 88"/>
                    <a:gd name="T29" fmla="*/ 31 h 88"/>
                    <a:gd name="T30" fmla="*/ 27 w 88"/>
                    <a:gd name="T31" fmla="*/ 31 h 88"/>
                    <a:gd name="T32" fmla="*/ 27 w 88"/>
                    <a:gd name="T33" fmla="*/ 25 h 88"/>
                    <a:gd name="T34" fmla="*/ 27 w 88"/>
                    <a:gd name="T35" fmla="*/ 19 h 88"/>
                    <a:gd name="T36" fmla="*/ 27 w 88"/>
                    <a:gd name="T37" fmla="*/ 14 h 88"/>
                    <a:gd name="T38" fmla="*/ 31 w 88"/>
                    <a:gd name="T39" fmla="*/ 6 h 88"/>
                    <a:gd name="T40" fmla="*/ 31 w 88"/>
                    <a:gd name="T41" fmla="*/ 0 h 8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88"/>
                    <a:gd name="T64" fmla="*/ 0 h 88"/>
                    <a:gd name="T65" fmla="*/ 88 w 88"/>
                    <a:gd name="T66" fmla="*/ 88 h 8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88" h="88">
                      <a:moveTo>
                        <a:pt x="88" y="0"/>
                      </a:move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16" y="24"/>
                      </a:lnTo>
                      <a:lnTo>
                        <a:pt x="16" y="40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8" y="48"/>
                      </a:lnTo>
                      <a:lnTo>
                        <a:pt x="24" y="64"/>
                      </a:lnTo>
                      <a:lnTo>
                        <a:pt x="40" y="80"/>
                      </a:lnTo>
                      <a:lnTo>
                        <a:pt x="56" y="88"/>
                      </a:lnTo>
                      <a:lnTo>
                        <a:pt x="72" y="88"/>
                      </a:lnTo>
                      <a:lnTo>
                        <a:pt x="80" y="88"/>
                      </a:lnTo>
                      <a:lnTo>
                        <a:pt x="80" y="72"/>
                      </a:lnTo>
                      <a:lnTo>
                        <a:pt x="80" y="56"/>
                      </a:lnTo>
                      <a:lnTo>
                        <a:pt x="80" y="40"/>
                      </a:lnTo>
                      <a:lnTo>
                        <a:pt x="88" y="16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59" name="Freeform 68">
                  <a:extLst>
                    <a:ext uri="{FF2B5EF4-FFF2-40B4-BE49-F238E27FC236}">
                      <a16:creationId xmlns:a16="http://schemas.microsoft.com/office/drawing/2014/main" id="{F4027322-668E-89E9-F9D8-B1CDE810D9AF}"/>
                    </a:ext>
                  </a:extLst>
                </p:cNvPr>
                <p:cNvSpPr/>
                <p:nvPr/>
              </p:nvSpPr>
              <p:spPr bwMode="gray">
                <a:xfrm>
                  <a:off x="3130092" y="4136546"/>
                  <a:ext cx="70691" cy="31982"/>
                </a:xfrm>
                <a:custGeom>
                  <a:avLst/>
                  <a:gdLst>
                    <a:gd name="T0" fmla="*/ 6 w 48"/>
                    <a:gd name="T1" fmla="*/ 0 h 24"/>
                    <a:gd name="T2" fmla="*/ 14 w 48"/>
                    <a:gd name="T3" fmla="*/ 0 h 24"/>
                    <a:gd name="T4" fmla="*/ 17 w 48"/>
                    <a:gd name="T5" fmla="*/ 6 h 24"/>
                    <a:gd name="T6" fmla="*/ 17 w 48"/>
                    <a:gd name="T7" fmla="*/ 9 h 24"/>
                    <a:gd name="T8" fmla="*/ 11 w 48"/>
                    <a:gd name="T9" fmla="*/ 9 h 24"/>
                    <a:gd name="T10" fmla="*/ 0 w 48"/>
                    <a:gd name="T11" fmla="*/ 3 h 24"/>
                    <a:gd name="T12" fmla="*/ 6 w 48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8"/>
                    <a:gd name="T22" fmla="*/ 0 h 24"/>
                    <a:gd name="T23" fmla="*/ 48 w 48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8" h="24">
                      <a:moveTo>
                        <a:pt x="16" y="0"/>
                      </a:moveTo>
                      <a:lnTo>
                        <a:pt x="40" y="0"/>
                      </a:lnTo>
                      <a:lnTo>
                        <a:pt x="48" y="16"/>
                      </a:lnTo>
                      <a:lnTo>
                        <a:pt x="48" y="24"/>
                      </a:lnTo>
                      <a:lnTo>
                        <a:pt x="32" y="24"/>
                      </a:lnTo>
                      <a:lnTo>
                        <a:pt x="0" y="8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60" name="Freeform 69">
                  <a:extLst>
                    <a:ext uri="{FF2B5EF4-FFF2-40B4-BE49-F238E27FC236}">
                      <a16:creationId xmlns:a16="http://schemas.microsoft.com/office/drawing/2014/main" id="{4B0F4DD8-9FD6-812F-A4D2-FCE649C1811B}"/>
                    </a:ext>
                  </a:extLst>
                </p:cNvPr>
                <p:cNvSpPr/>
                <p:nvPr/>
              </p:nvSpPr>
              <p:spPr bwMode="gray">
                <a:xfrm>
                  <a:off x="591461" y="2031380"/>
                  <a:ext cx="174648" cy="201298"/>
                </a:xfrm>
                <a:custGeom>
                  <a:avLst/>
                  <a:gdLst>
                    <a:gd name="T0" fmla="*/ 0 w 120"/>
                    <a:gd name="T1" fmla="*/ 0 h 152"/>
                    <a:gd name="T2" fmla="*/ 6 w 120"/>
                    <a:gd name="T3" fmla="*/ 6 h 152"/>
                    <a:gd name="T4" fmla="*/ 8 w 120"/>
                    <a:gd name="T5" fmla="*/ 11 h 152"/>
                    <a:gd name="T6" fmla="*/ 3 w 120"/>
                    <a:gd name="T7" fmla="*/ 11 h 152"/>
                    <a:gd name="T8" fmla="*/ 11 w 120"/>
                    <a:gd name="T9" fmla="*/ 17 h 152"/>
                    <a:gd name="T10" fmla="*/ 11 w 120"/>
                    <a:gd name="T11" fmla="*/ 14 h 152"/>
                    <a:gd name="T12" fmla="*/ 11 w 120"/>
                    <a:gd name="T13" fmla="*/ 11 h 152"/>
                    <a:gd name="T14" fmla="*/ 8 w 120"/>
                    <a:gd name="T15" fmla="*/ 8 h 152"/>
                    <a:gd name="T16" fmla="*/ 17 w 120"/>
                    <a:gd name="T17" fmla="*/ 8 h 152"/>
                    <a:gd name="T18" fmla="*/ 19 w 120"/>
                    <a:gd name="T19" fmla="*/ 8 h 152"/>
                    <a:gd name="T20" fmla="*/ 25 w 120"/>
                    <a:gd name="T21" fmla="*/ 8 h 152"/>
                    <a:gd name="T22" fmla="*/ 33 w 120"/>
                    <a:gd name="T23" fmla="*/ 14 h 152"/>
                    <a:gd name="T24" fmla="*/ 41 w 120"/>
                    <a:gd name="T25" fmla="*/ 19 h 152"/>
                    <a:gd name="T26" fmla="*/ 41 w 120"/>
                    <a:gd name="T27" fmla="*/ 23 h 152"/>
                    <a:gd name="T28" fmla="*/ 36 w 120"/>
                    <a:gd name="T29" fmla="*/ 23 h 152"/>
                    <a:gd name="T30" fmla="*/ 36 w 120"/>
                    <a:gd name="T31" fmla="*/ 27 h 152"/>
                    <a:gd name="T32" fmla="*/ 33 w 120"/>
                    <a:gd name="T33" fmla="*/ 31 h 152"/>
                    <a:gd name="T34" fmla="*/ 25 w 120"/>
                    <a:gd name="T35" fmla="*/ 31 h 152"/>
                    <a:gd name="T36" fmla="*/ 22 w 120"/>
                    <a:gd name="T37" fmla="*/ 34 h 152"/>
                    <a:gd name="T38" fmla="*/ 22 w 120"/>
                    <a:gd name="T39" fmla="*/ 36 h 152"/>
                    <a:gd name="T40" fmla="*/ 25 w 120"/>
                    <a:gd name="T41" fmla="*/ 39 h 152"/>
                    <a:gd name="T42" fmla="*/ 19 w 120"/>
                    <a:gd name="T43" fmla="*/ 42 h 152"/>
                    <a:gd name="T44" fmla="*/ 19 w 120"/>
                    <a:gd name="T45" fmla="*/ 48 h 152"/>
                    <a:gd name="T46" fmla="*/ 22 w 120"/>
                    <a:gd name="T47" fmla="*/ 50 h 152"/>
                    <a:gd name="T48" fmla="*/ 17 w 120"/>
                    <a:gd name="T49" fmla="*/ 53 h 152"/>
                    <a:gd name="T50" fmla="*/ 11 w 120"/>
                    <a:gd name="T51" fmla="*/ 50 h 152"/>
                    <a:gd name="T52" fmla="*/ 8 w 120"/>
                    <a:gd name="T53" fmla="*/ 44 h 152"/>
                    <a:gd name="T54" fmla="*/ 6 w 120"/>
                    <a:gd name="T55" fmla="*/ 42 h 152"/>
                    <a:gd name="T56" fmla="*/ 0 w 120"/>
                    <a:gd name="T57" fmla="*/ 44 h 152"/>
                    <a:gd name="T58" fmla="*/ 0 w 120"/>
                    <a:gd name="T59" fmla="*/ 0 h 15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20"/>
                    <a:gd name="T91" fmla="*/ 0 h 152"/>
                    <a:gd name="T92" fmla="*/ 120 w 120"/>
                    <a:gd name="T93" fmla="*/ 152 h 152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20" h="152">
                      <a:moveTo>
                        <a:pt x="0" y="0"/>
                      </a:moveTo>
                      <a:lnTo>
                        <a:pt x="16" y="16"/>
                      </a:lnTo>
                      <a:lnTo>
                        <a:pt x="24" y="32"/>
                      </a:lnTo>
                      <a:lnTo>
                        <a:pt x="8" y="32"/>
                      </a:lnTo>
                      <a:lnTo>
                        <a:pt x="32" y="48"/>
                      </a:lnTo>
                      <a:lnTo>
                        <a:pt x="32" y="40"/>
                      </a:lnTo>
                      <a:lnTo>
                        <a:pt x="32" y="32"/>
                      </a:lnTo>
                      <a:lnTo>
                        <a:pt x="24" y="24"/>
                      </a:lnTo>
                      <a:lnTo>
                        <a:pt x="48" y="24"/>
                      </a:lnTo>
                      <a:lnTo>
                        <a:pt x="56" y="24"/>
                      </a:lnTo>
                      <a:lnTo>
                        <a:pt x="72" y="24"/>
                      </a:lnTo>
                      <a:lnTo>
                        <a:pt x="96" y="40"/>
                      </a:lnTo>
                      <a:lnTo>
                        <a:pt x="120" y="56"/>
                      </a:lnTo>
                      <a:lnTo>
                        <a:pt x="120" y="64"/>
                      </a:lnTo>
                      <a:lnTo>
                        <a:pt x="104" y="64"/>
                      </a:lnTo>
                      <a:lnTo>
                        <a:pt x="104" y="80"/>
                      </a:lnTo>
                      <a:lnTo>
                        <a:pt x="96" y="88"/>
                      </a:lnTo>
                      <a:lnTo>
                        <a:pt x="72" y="88"/>
                      </a:lnTo>
                      <a:lnTo>
                        <a:pt x="64" y="96"/>
                      </a:lnTo>
                      <a:lnTo>
                        <a:pt x="64" y="104"/>
                      </a:lnTo>
                      <a:lnTo>
                        <a:pt x="72" y="112"/>
                      </a:lnTo>
                      <a:lnTo>
                        <a:pt x="56" y="120"/>
                      </a:lnTo>
                      <a:lnTo>
                        <a:pt x="56" y="136"/>
                      </a:lnTo>
                      <a:lnTo>
                        <a:pt x="64" y="144"/>
                      </a:lnTo>
                      <a:lnTo>
                        <a:pt x="48" y="152"/>
                      </a:lnTo>
                      <a:lnTo>
                        <a:pt x="32" y="144"/>
                      </a:lnTo>
                      <a:lnTo>
                        <a:pt x="24" y="128"/>
                      </a:lnTo>
                      <a:lnTo>
                        <a:pt x="16" y="120"/>
                      </a:lnTo>
                      <a:lnTo>
                        <a:pt x="0" y="12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61" name="Freeform 70">
                  <a:extLst>
                    <a:ext uri="{FF2B5EF4-FFF2-40B4-BE49-F238E27FC236}">
                      <a16:creationId xmlns:a16="http://schemas.microsoft.com/office/drawing/2014/main" id="{48009216-CE0A-6EB7-26FC-10624AF6E139}"/>
                    </a:ext>
                  </a:extLst>
                </p:cNvPr>
                <p:cNvSpPr/>
                <p:nvPr/>
              </p:nvSpPr>
              <p:spPr bwMode="gray">
                <a:xfrm>
                  <a:off x="2100918" y="3015296"/>
                  <a:ext cx="1706975" cy="814600"/>
                </a:xfrm>
                <a:custGeom>
                  <a:avLst/>
                  <a:gdLst>
                    <a:gd name="T0" fmla="*/ 70 w 1168"/>
                    <a:gd name="T1" fmla="*/ 153 h 616"/>
                    <a:gd name="T2" fmla="*/ 94 w 1168"/>
                    <a:gd name="T3" fmla="*/ 164 h 616"/>
                    <a:gd name="T4" fmla="*/ 119 w 1168"/>
                    <a:gd name="T5" fmla="*/ 159 h 616"/>
                    <a:gd name="T6" fmla="*/ 139 w 1168"/>
                    <a:gd name="T7" fmla="*/ 167 h 616"/>
                    <a:gd name="T8" fmla="*/ 144 w 1168"/>
                    <a:gd name="T9" fmla="*/ 175 h 616"/>
                    <a:gd name="T10" fmla="*/ 155 w 1168"/>
                    <a:gd name="T11" fmla="*/ 181 h 616"/>
                    <a:gd name="T12" fmla="*/ 169 w 1168"/>
                    <a:gd name="T13" fmla="*/ 181 h 616"/>
                    <a:gd name="T14" fmla="*/ 189 w 1168"/>
                    <a:gd name="T15" fmla="*/ 205 h 616"/>
                    <a:gd name="T16" fmla="*/ 195 w 1168"/>
                    <a:gd name="T17" fmla="*/ 200 h 616"/>
                    <a:gd name="T18" fmla="*/ 205 w 1168"/>
                    <a:gd name="T19" fmla="*/ 183 h 616"/>
                    <a:gd name="T20" fmla="*/ 222 w 1168"/>
                    <a:gd name="T21" fmla="*/ 178 h 616"/>
                    <a:gd name="T22" fmla="*/ 236 w 1168"/>
                    <a:gd name="T23" fmla="*/ 178 h 616"/>
                    <a:gd name="T24" fmla="*/ 250 w 1168"/>
                    <a:gd name="T25" fmla="*/ 183 h 616"/>
                    <a:gd name="T26" fmla="*/ 253 w 1168"/>
                    <a:gd name="T27" fmla="*/ 178 h 616"/>
                    <a:gd name="T28" fmla="*/ 264 w 1168"/>
                    <a:gd name="T29" fmla="*/ 172 h 616"/>
                    <a:gd name="T30" fmla="*/ 280 w 1168"/>
                    <a:gd name="T31" fmla="*/ 175 h 616"/>
                    <a:gd name="T32" fmla="*/ 286 w 1168"/>
                    <a:gd name="T33" fmla="*/ 175 h 616"/>
                    <a:gd name="T34" fmla="*/ 297 w 1168"/>
                    <a:gd name="T35" fmla="*/ 181 h 616"/>
                    <a:gd name="T36" fmla="*/ 300 w 1168"/>
                    <a:gd name="T37" fmla="*/ 189 h 616"/>
                    <a:gd name="T38" fmla="*/ 303 w 1168"/>
                    <a:gd name="T39" fmla="*/ 203 h 616"/>
                    <a:gd name="T40" fmla="*/ 311 w 1168"/>
                    <a:gd name="T41" fmla="*/ 214 h 616"/>
                    <a:gd name="T42" fmla="*/ 313 w 1168"/>
                    <a:gd name="T43" fmla="*/ 189 h 616"/>
                    <a:gd name="T44" fmla="*/ 309 w 1168"/>
                    <a:gd name="T45" fmla="*/ 167 h 616"/>
                    <a:gd name="T46" fmla="*/ 317 w 1168"/>
                    <a:gd name="T47" fmla="*/ 155 h 616"/>
                    <a:gd name="T48" fmla="*/ 336 w 1168"/>
                    <a:gd name="T49" fmla="*/ 139 h 616"/>
                    <a:gd name="T50" fmla="*/ 344 w 1168"/>
                    <a:gd name="T51" fmla="*/ 131 h 616"/>
                    <a:gd name="T52" fmla="*/ 344 w 1168"/>
                    <a:gd name="T53" fmla="*/ 122 h 616"/>
                    <a:gd name="T54" fmla="*/ 342 w 1168"/>
                    <a:gd name="T55" fmla="*/ 105 h 616"/>
                    <a:gd name="T56" fmla="*/ 344 w 1168"/>
                    <a:gd name="T57" fmla="*/ 94 h 616"/>
                    <a:gd name="T58" fmla="*/ 344 w 1168"/>
                    <a:gd name="T59" fmla="*/ 111 h 616"/>
                    <a:gd name="T60" fmla="*/ 350 w 1168"/>
                    <a:gd name="T61" fmla="*/ 100 h 616"/>
                    <a:gd name="T62" fmla="*/ 353 w 1168"/>
                    <a:gd name="T63" fmla="*/ 97 h 616"/>
                    <a:gd name="T64" fmla="*/ 361 w 1168"/>
                    <a:gd name="T65" fmla="*/ 86 h 616"/>
                    <a:gd name="T66" fmla="*/ 361 w 1168"/>
                    <a:gd name="T67" fmla="*/ 81 h 616"/>
                    <a:gd name="T68" fmla="*/ 370 w 1168"/>
                    <a:gd name="T69" fmla="*/ 77 h 616"/>
                    <a:gd name="T70" fmla="*/ 378 w 1168"/>
                    <a:gd name="T71" fmla="*/ 77 h 616"/>
                    <a:gd name="T72" fmla="*/ 380 w 1168"/>
                    <a:gd name="T73" fmla="*/ 72 h 616"/>
                    <a:gd name="T74" fmla="*/ 383 w 1168"/>
                    <a:gd name="T75" fmla="*/ 61 h 616"/>
                    <a:gd name="T76" fmla="*/ 387 w 1168"/>
                    <a:gd name="T77" fmla="*/ 53 h 616"/>
                    <a:gd name="T78" fmla="*/ 395 w 1168"/>
                    <a:gd name="T79" fmla="*/ 47 h 616"/>
                    <a:gd name="T80" fmla="*/ 406 w 1168"/>
                    <a:gd name="T81" fmla="*/ 44 h 616"/>
                    <a:gd name="T82" fmla="*/ 400 w 1168"/>
                    <a:gd name="T83" fmla="*/ 19 h 616"/>
                    <a:gd name="T84" fmla="*/ 378 w 1168"/>
                    <a:gd name="T85" fmla="*/ 36 h 616"/>
                    <a:gd name="T86" fmla="*/ 356 w 1168"/>
                    <a:gd name="T87" fmla="*/ 39 h 616"/>
                    <a:gd name="T88" fmla="*/ 325 w 1168"/>
                    <a:gd name="T89" fmla="*/ 56 h 616"/>
                    <a:gd name="T90" fmla="*/ 300 w 1168"/>
                    <a:gd name="T91" fmla="*/ 67 h 616"/>
                    <a:gd name="T92" fmla="*/ 289 w 1168"/>
                    <a:gd name="T93" fmla="*/ 31 h 616"/>
                    <a:gd name="T94" fmla="*/ 247 w 1168"/>
                    <a:gd name="T95" fmla="*/ 11 h 616"/>
                    <a:gd name="T96" fmla="*/ 228 w 1168"/>
                    <a:gd name="T97" fmla="*/ 6 h 616"/>
                    <a:gd name="T98" fmla="*/ 17 w 1168"/>
                    <a:gd name="T99" fmla="*/ 0 h 616"/>
                    <a:gd name="T100" fmla="*/ 17 w 1168"/>
                    <a:gd name="T101" fmla="*/ 17 h 616"/>
                    <a:gd name="T102" fmla="*/ 8 w 1168"/>
                    <a:gd name="T103" fmla="*/ 8 h 616"/>
                    <a:gd name="T104" fmla="*/ 3 w 1168"/>
                    <a:gd name="T105" fmla="*/ 19 h 616"/>
                    <a:gd name="T106" fmla="*/ 3 w 1168"/>
                    <a:gd name="T107" fmla="*/ 47 h 616"/>
                    <a:gd name="T108" fmla="*/ 3 w 1168"/>
                    <a:gd name="T109" fmla="*/ 75 h 616"/>
                    <a:gd name="T110" fmla="*/ 6 w 1168"/>
                    <a:gd name="T111" fmla="*/ 89 h 616"/>
                    <a:gd name="T112" fmla="*/ 11 w 1168"/>
                    <a:gd name="T113" fmla="*/ 105 h 616"/>
                    <a:gd name="T114" fmla="*/ 17 w 1168"/>
                    <a:gd name="T115" fmla="*/ 111 h 616"/>
                    <a:gd name="T116" fmla="*/ 19 w 1168"/>
                    <a:gd name="T117" fmla="*/ 122 h 616"/>
                    <a:gd name="T118" fmla="*/ 27 w 1168"/>
                    <a:gd name="T119" fmla="*/ 136 h 616"/>
                    <a:gd name="T120" fmla="*/ 39 w 1168"/>
                    <a:gd name="T121" fmla="*/ 142 h 616"/>
                    <a:gd name="T122" fmla="*/ 50 w 1168"/>
                    <a:gd name="T123" fmla="*/ 147 h 61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168"/>
                    <a:gd name="T187" fmla="*/ 0 h 616"/>
                    <a:gd name="T188" fmla="*/ 1168 w 1168"/>
                    <a:gd name="T189" fmla="*/ 616 h 61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168" h="616">
                      <a:moveTo>
                        <a:pt x="152" y="448"/>
                      </a:moveTo>
                      <a:lnTo>
                        <a:pt x="168" y="440"/>
                      </a:lnTo>
                      <a:lnTo>
                        <a:pt x="200" y="440"/>
                      </a:lnTo>
                      <a:lnTo>
                        <a:pt x="232" y="456"/>
                      </a:lnTo>
                      <a:lnTo>
                        <a:pt x="264" y="472"/>
                      </a:lnTo>
                      <a:lnTo>
                        <a:pt x="272" y="472"/>
                      </a:lnTo>
                      <a:lnTo>
                        <a:pt x="320" y="472"/>
                      </a:lnTo>
                      <a:lnTo>
                        <a:pt x="336" y="472"/>
                      </a:lnTo>
                      <a:lnTo>
                        <a:pt x="344" y="456"/>
                      </a:lnTo>
                      <a:lnTo>
                        <a:pt x="360" y="456"/>
                      </a:lnTo>
                      <a:lnTo>
                        <a:pt x="376" y="464"/>
                      </a:lnTo>
                      <a:lnTo>
                        <a:pt x="400" y="480"/>
                      </a:lnTo>
                      <a:lnTo>
                        <a:pt x="408" y="480"/>
                      </a:lnTo>
                      <a:lnTo>
                        <a:pt x="416" y="488"/>
                      </a:lnTo>
                      <a:lnTo>
                        <a:pt x="416" y="504"/>
                      </a:lnTo>
                      <a:lnTo>
                        <a:pt x="432" y="520"/>
                      </a:lnTo>
                      <a:lnTo>
                        <a:pt x="448" y="528"/>
                      </a:lnTo>
                      <a:lnTo>
                        <a:pt x="448" y="520"/>
                      </a:lnTo>
                      <a:lnTo>
                        <a:pt x="448" y="512"/>
                      </a:lnTo>
                      <a:lnTo>
                        <a:pt x="464" y="504"/>
                      </a:lnTo>
                      <a:lnTo>
                        <a:pt x="488" y="520"/>
                      </a:lnTo>
                      <a:lnTo>
                        <a:pt x="520" y="560"/>
                      </a:lnTo>
                      <a:lnTo>
                        <a:pt x="520" y="576"/>
                      </a:lnTo>
                      <a:lnTo>
                        <a:pt x="544" y="592"/>
                      </a:lnTo>
                      <a:lnTo>
                        <a:pt x="560" y="600"/>
                      </a:lnTo>
                      <a:lnTo>
                        <a:pt x="560" y="584"/>
                      </a:lnTo>
                      <a:lnTo>
                        <a:pt x="560" y="576"/>
                      </a:lnTo>
                      <a:lnTo>
                        <a:pt x="568" y="568"/>
                      </a:lnTo>
                      <a:lnTo>
                        <a:pt x="568" y="552"/>
                      </a:lnTo>
                      <a:lnTo>
                        <a:pt x="592" y="528"/>
                      </a:lnTo>
                      <a:lnTo>
                        <a:pt x="608" y="528"/>
                      </a:lnTo>
                      <a:lnTo>
                        <a:pt x="624" y="520"/>
                      </a:lnTo>
                      <a:lnTo>
                        <a:pt x="640" y="512"/>
                      </a:lnTo>
                      <a:lnTo>
                        <a:pt x="648" y="512"/>
                      </a:lnTo>
                      <a:lnTo>
                        <a:pt x="672" y="512"/>
                      </a:lnTo>
                      <a:lnTo>
                        <a:pt x="680" y="512"/>
                      </a:lnTo>
                      <a:lnTo>
                        <a:pt x="696" y="528"/>
                      </a:lnTo>
                      <a:lnTo>
                        <a:pt x="712" y="520"/>
                      </a:lnTo>
                      <a:lnTo>
                        <a:pt x="720" y="528"/>
                      </a:lnTo>
                      <a:lnTo>
                        <a:pt x="728" y="528"/>
                      </a:lnTo>
                      <a:lnTo>
                        <a:pt x="736" y="520"/>
                      </a:lnTo>
                      <a:lnTo>
                        <a:pt x="728" y="512"/>
                      </a:lnTo>
                      <a:lnTo>
                        <a:pt x="728" y="504"/>
                      </a:lnTo>
                      <a:lnTo>
                        <a:pt x="736" y="496"/>
                      </a:lnTo>
                      <a:lnTo>
                        <a:pt x="760" y="496"/>
                      </a:lnTo>
                      <a:lnTo>
                        <a:pt x="784" y="496"/>
                      </a:lnTo>
                      <a:lnTo>
                        <a:pt x="792" y="496"/>
                      </a:lnTo>
                      <a:lnTo>
                        <a:pt x="808" y="504"/>
                      </a:lnTo>
                      <a:lnTo>
                        <a:pt x="816" y="512"/>
                      </a:lnTo>
                      <a:lnTo>
                        <a:pt x="824" y="512"/>
                      </a:lnTo>
                      <a:lnTo>
                        <a:pt x="824" y="504"/>
                      </a:lnTo>
                      <a:lnTo>
                        <a:pt x="832" y="504"/>
                      </a:lnTo>
                      <a:lnTo>
                        <a:pt x="848" y="512"/>
                      </a:lnTo>
                      <a:lnTo>
                        <a:pt x="856" y="520"/>
                      </a:lnTo>
                      <a:lnTo>
                        <a:pt x="864" y="528"/>
                      </a:lnTo>
                      <a:lnTo>
                        <a:pt x="864" y="536"/>
                      </a:lnTo>
                      <a:lnTo>
                        <a:pt x="864" y="544"/>
                      </a:lnTo>
                      <a:lnTo>
                        <a:pt x="864" y="560"/>
                      </a:lnTo>
                      <a:lnTo>
                        <a:pt x="872" y="568"/>
                      </a:lnTo>
                      <a:lnTo>
                        <a:pt x="872" y="584"/>
                      </a:lnTo>
                      <a:lnTo>
                        <a:pt x="880" y="600"/>
                      </a:lnTo>
                      <a:lnTo>
                        <a:pt x="888" y="616"/>
                      </a:lnTo>
                      <a:lnTo>
                        <a:pt x="896" y="616"/>
                      </a:lnTo>
                      <a:lnTo>
                        <a:pt x="912" y="616"/>
                      </a:lnTo>
                      <a:lnTo>
                        <a:pt x="912" y="584"/>
                      </a:lnTo>
                      <a:lnTo>
                        <a:pt x="904" y="544"/>
                      </a:lnTo>
                      <a:lnTo>
                        <a:pt x="896" y="520"/>
                      </a:lnTo>
                      <a:lnTo>
                        <a:pt x="888" y="496"/>
                      </a:lnTo>
                      <a:lnTo>
                        <a:pt x="888" y="480"/>
                      </a:lnTo>
                      <a:lnTo>
                        <a:pt x="896" y="456"/>
                      </a:lnTo>
                      <a:lnTo>
                        <a:pt x="904" y="448"/>
                      </a:lnTo>
                      <a:lnTo>
                        <a:pt x="912" y="448"/>
                      </a:lnTo>
                      <a:lnTo>
                        <a:pt x="936" y="416"/>
                      </a:lnTo>
                      <a:lnTo>
                        <a:pt x="952" y="416"/>
                      </a:lnTo>
                      <a:lnTo>
                        <a:pt x="968" y="400"/>
                      </a:lnTo>
                      <a:lnTo>
                        <a:pt x="976" y="392"/>
                      </a:lnTo>
                      <a:lnTo>
                        <a:pt x="976" y="384"/>
                      </a:lnTo>
                      <a:lnTo>
                        <a:pt x="992" y="376"/>
                      </a:lnTo>
                      <a:lnTo>
                        <a:pt x="992" y="368"/>
                      </a:lnTo>
                      <a:lnTo>
                        <a:pt x="984" y="360"/>
                      </a:lnTo>
                      <a:lnTo>
                        <a:pt x="992" y="352"/>
                      </a:lnTo>
                      <a:lnTo>
                        <a:pt x="992" y="344"/>
                      </a:lnTo>
                      <a:lnTo>
                        <a:pt x="984" y="328"/>
                      </a:lnTo>
                      <a:lnTo>
                        <a:pt x="984" y="304"/>
                      </a:lnTo>
                      <a:lnTo>
                        <a:pt x="976" y="288"/>
                      </a:lnTo>
                      <a:lnTo>
                        <a:pt x="976" y="272"/>
                      </a:lnTo>
                      <a:lnTo>
                        <a:pt x="992" y="272"/>
                      </a:lnTo>
                      <a:lnTo>
                        <a:pt x="992" y="288"/>
                      </a:lnTo>
                      <a:lnTo>
                        <a:pt x="992" y="304"/>
                      </a:lnTo>
                      <a:lnTo>
                        <a:pt x="992" y="320"/>
                      </a:lnTo>
                      <a:lnTo>
                        <a:pt x="1000" y="328"/>
                      </a:lnTo>
                      <a:lnTo>
                        <a:pt x="1008" y="304"/>
                      </a:lnTo>
                      <a:lnTo>
                        <a:pt x="1008" y="288"/>
                      </a:lnTo>
                      <a:lnTo>
                        <a:pt x="1008" y="280"/>
                      </a:lnTo>
                      <a:lnTo>
                        <a:pt x="1008" y="272"/>
                      </a:lnTo>
                      <a:lnTo>
                        <a:pt x="1016" y="280"/>
                      </a:lnTo>
                      <a:lnTo>
                        <a:pt x="1024" y="272"/>
                      </a:lnTo>
                      <a:lnTo>
                        <a:pt x="1032" y="256"/>
                      </a:lnTo>
                      <a:lnTo>
                        <a:pt x="1040" y="248"/>
                      </a:lnTo>
                      <a:lnTo>
                        <a:pt x="1040" y="240"/>
                      </a:lnTo>
                      <a:lnTo>
                        <a:pt x="1032" y="232"/>
                      </a:lnTo>
                      <a:lnTo>
                        <a:pt x="1040" y="232"/>
                      </a:lnTo>
                      <a:lnTo>
                        <a:pt x="1048" y="216"/>
                      </a:lnTo>
                      <a:lnTo>
                        <a:pt x="1056" y="216"/>
                      </a:lnTo>
                      <a:lnTo>
                        <a:pt x="1064" y="224"/>
                      </a:lnTo>
                      <a:lnTo>
                        <a:pt x="1072" y="224"/>
                      </a:lnTo>
                      <a:lnTo>
                        <a:pt x="1080" y="216"/>
                      </a:lnTo>
                      <a:lnTo>
                        <a:pt x="1088" y="224"/>
                      </a:lnTo>
                      <a:lnTo>
                        <a:pt x="1104" y="216"/>
                      </a:lnTo>
                      <a:lnTo>
                        <a:pt x="1112" y="208"/>
                      </a:lnTo>
                      <a:lnTo>
                        <a:pt x="1096" y="208"/>
                      </a:lnTo>
                      <a:lnTo>
                        <a:pt x="1096" y="200"/>
                      </a:lnTo>
                      <a:lnTo>
                        <a:pt x="1088" y="192"/>
                      </a:lnTo>
                      <a:lnTo>
                        <a:pt x="1104" y="176"/>
                      </a:lnTo>
                      <a:lnTo>
                        <a:pt x="1104" y="168"/>
                      </a:lnTo>
                      <a:lnTo>
                        <a:pt x="1112" y="160"/>
                      </a:lnTo>
                      <a:lnTo>
                        <a:pt x="1112" y="152"/>
                      </a:lnTo>
                      <a:lnTo>
                        <a:pt x="1128" y="152"/>
                      </a:lnTo>
                      <a:lnTo>
                        <a:pt x="1136" y="144"/>
                      </a:lnTo>
                      <a:lnTo>
                        <a:pt x="1136" y="136"/>
                      </a:lnTo>
                      <a:lnTo>
                        <a:pt x="1144" y="136"/>
                      </a:lnTo>
                      <a:lnTo>
                        <a:pt x="1152" y="136"/>
                      </a:lnTo>
                      <a:lnTo>
                        <a:pt x="1168" y="128"/>
                      </a:lnTo>
                      <a:lnTo>
                        <a:pt x="1168" y="104"/>
                      </a:lnTo>
                      <a:lnTo>
                        <a:pt x="1152" y="88"/>
                      </a:lnTo>
                      <a:lnTo>
                        <a:pt x="1152" y="56"/>
                      </a:lnTo>
                      <a:lnTo>
                        <a:pt x="1128" y="48"/>
                      </a:lnTo>
                      <a:lnTo>
                        <a:pt x="1120" y="56"/>
                      </a:lnTo>
                      <a:lnTo>
                        <a:pt x="1088" y="104"/>
                      </a:lnTo>
                      <a:lnTo>
                        <a:pt x="1056" y="112"/>
                      </a:lnTo>
                      <a:lnTo>
                        <a:pt x="1040" y="112"/>
                      </a:lnTo>
                      <a:lnTo>
                        <a:pt x="1024" y="112"/>
                      </a:lnTo>
                      <a:lnTo>
                        <a:pt x="1016" y="120"/>
                      </a:lnTo>
                      <a:lnTo>
                        <a:pt x="984" y="144"/>
                      </a:lnTo>
                      <a:lnTo>
                        <a:pt x="936" y="160"/>
                      </a:lnTo>
                      <a:lnTo>
                        <a:pt x="928" y="176"/>
                      </a:lnTo>
                      <a:lnTo>
                        <a:pt x="864" y="208"/>
                      </a:lnTo>
                      <a:lnTo>
                        <a:pt x="864" y="192"/>
                      </a:lnTo>
                      <a:lnTo>
                        <a:pt x="872" y="152"/>
                      </a:lnTo>
                      <a:lnTo>
                        <a:pt x="872" y="128"/>
                      </a:lnTo>
                      <a:lnTo>
                        <a:pt x="832" y="88"/>
                      </a:lnTo>
                      <a:lnTo>
                        <a:pt x="816" y="56"/>
                      </a:lnTo>
                      <a:lnTo>
                        <a:pt x="752" y="24"/>
                      </a:lnTo>
                      <a:lnTo>
                        <a:pt x="712" y="32"/>
                      </a:lnTo>
                      <a:lnTo>
                        <a:pt x="696" y="24"/>
                      </a:lnTo>
                      <a:lnTo>
                        <a:pt x="672" y="24"/>
                      </a:lnTo>
                      <a:lnTo>
                        <a:pt x="656" y="16"/>
                      </a:lnTo>
                      <a:lnTo>
                        <a:pt x="632" y="16"/>
                      </a:lnTo>
                      <a:lnTo>
                        <a:pt x="616" y="0"/>
                      </a:lnTo>
                      <a:lnTo>
                        <a:pt x="48" y="0"/>
                      </a:lnTo>
                      <a:lnTo>
                        <a:pt x="48" y="16"/>
                      </a:lnTo>
                      <a:lnTo>
                        <a:pt x="48" y="32"/>
                      </a:lnTo>
                      <a:lnTo>
                        <a:pt x="48" y="48"/>
                      </a:lnTo>
                      <a:lnTo>
                        <a:pt x="40" y="48"/>
                      </a:lnTo>
                      <a:lnTo>
                        <a:pt x="48" y="24"/>
                      </a:lnTo>
                      <a:lnTo>
                        <a:pt x="24" y="24"/>
                      </a:lnTo>
                      <a:lnTo>
                        <a:pt x="8" y="24"/>
                      </a:lnTo>
                      <a:lnTo>
                        <a:pt x="0" y="24"/>
                      </a:lnTo>
                      <a:lnTo>
                        <a:pt x="8" y="56"/>
                      </a:lnTo>
                      <a:lnTo>
                        <a:pt x="16" y="80"/>
                      </a:lnTo>
                      <a:lnTo>
                        <a:pt x="8" y="104"/>
                      </a:lnTo>
                      <a:lnTo>
                        <a:pt x="8" y="136"/>
                      </a:lnTo>
                      <a:lnTo>
                        <a:pt x="0" y="168"/>
                      </a:lnTo>
                      <a:lnTo>
                        <a:pt x="0" y="184"/>
                      </a:lnTo>
                      <a:lnTo>
                        <a:pt x="8" y="216"/>
                      </a:lnTo>
                      <a:lnTo>
                        <a:pt x="8" y="232"/>
                      </a:lnTo>
                      <a:lnTo>
                        <a:pt x="8" y="248"/>
                      </a:lnTo>
                      <a:lnTo>
                        <a:pt x="16" y="256"/>
                      </a:lnTo>
                      <a:lnTo>
                        <a:pt x="16" y="272"/>
                      </a:lnTo>
                      <a:lnTo>
                        <a:pt x="32" y="288"/>
                      </a:lnTo>
                      <a:lnTo>
                        <a:pt x="32" y="304"/>
                      </a:lnTo>
                      <a:lnTo>
                        <a:pt x="48" y="304"/>
                      </a:lnTo>
                      <a:lnTo>
                        <a:pt x="48" y="312"/>
                      </a:lnTo>
                      <a:lnTo>
                        <a:pt x="48" y="320"/>
                      </a:lnTo>
                      <a:lnTo>
                        <a:pt x="48" y="336"/>
                      </a:lnTo>
                      <a:lnTo>
                        <a:pt x="56" y="336"/>
                      </a:lnTo>
                      <a:lnTo>
                        <a:pt x="56" y="352"/>
                      </a:lnTo>
                      <a:lnTo>
                        <a:pt x="64" y="360"/>
                      </a:lnTo>
                      <a:lnTo>
                        <a:pt x="80" y="376"/>
                      </a:lnTo>
                      <a:lnTo>
                        <a:pt x="80" y="392"/>
                      </a:lnTo>
                      <a:lnTo>
                        <a:pt x="96" y="392"/>
                      </a:lnTo>
                      <a:lnTo>
                        <a:pt x="104" y="400"/>
                      </a:lnTo>
                      <a:lnTo>
                        <a:pt x="112" y="408"/>
                      </a:lnTo>
                      <a:lnTo>
                        <a:pt x="120" y="408"/>
                      </a:lnTo>
                      <a:lnTo>
                        <a:pt x="128" y="408"/>
                      </a:lnTo>
                      <a:lnTo>
                        <a:pt x="144" y="424"/>
                      </a:lnTo>
                      <a:lnTo>
                        <a:pt x="152" y="440"/>
                      </a:lnTo>
                      <a:lnTo>
                        <a:pt x="152" y="44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349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Hitachi Sans"/>
                      <a:ea typeface="Verdana" panose="020D0603020503020204" pitchFamily="34" charset="0"/>
                      <a:cs typeface="Verdana" panose="020D0603020503020204" pitchFamily="34" charset="0"/>
                    </a:rPr>
                    <a:t>                           </a:t>
                  </a:r>
                </a:p>
              </p:txBody>
            </p:sp>
            <p:sp>
              <p:nvSpPr>
                <p:cNvPr id="1462" name="Freeform 71">
                  <a:extLst>
                    <a:ext uri="{FF2B5EF4-FFF2-40B4-BE49-F238E27FC236}">
                      <a16:creationId xmlns:a16="http://schemas.microsoft.com/office/drawing/2014/main" id="{8A0DF88A-E0BD-C7A4-57B9-ED733461AB47}"/>
                    </a:ext>
                  </a:extLst>
                </p:cNvPr>
                <p:cNvSpPr/>
                <p:nvPr/>
              </p:nvSpPr>
              <p:spPr bwMode="gray">
                <a:xfrm>
                  <a:off x="2872279" y="1734136"/>
                  <a:ext cx="35345" cy="11288"/>
                </a:xfrm>
                <a:custGeom>
                  <a:avLst/>
                  <a:gdLst>
                    <a:gd name="T0" fmla="*/ 6 w 24"/>
                    <a:gd name="T1" fmla="*/ 4 h 8"/>
                    <a:gd name="T2" fmla="*/ 9 w 24"/>
                    <a:gd name="T3" fmla="*/ 0 h 8"/>
                    <a:gd name="T4" fmla="*/ 3 w 24"/>
                    <a:gd name="T5" fmla="*/ 0 h 8"/>
                    <a:gd name="T6" fmla="*/ 0 w 24"/>
                    <a:gd name="T7" fmla="*/ 0 h 8"/>
                    <a:gd name="T8" fmla="*/ 0 w 24"/>
                    <a:gd name="T9" fmla="*/ 4 h 8"/>
                    <a:gd name="T10" fmla="*/ 3 w 24"/>
                    <a:gd name="T11" fmla="*/ 4 h 8"/>
                    <a:gd name="T12" fmla="*/ 6 w 24"/>
                    <a:gd name="T13" fmla="*/ 4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8"/>
                    <a:gd name="T23" fmla="*/ 24 w 24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8">
                      <a:moveTo>
                        <a:pt x="16" y="8"/>
                      </a:move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63" name="Freeform 72">
                  <a:extLst>
                    <a:ext uri="{FF2B5EF4-FFF2-40B4-BE49-F238E27FC236}">
                      <a16:creationId xmlns:a16="http://schemas.microsoft.com/office/drawing/2014/main" id="{4F841457-A21E-1817-E359-1F832F88FE46}"/>
                    </a:ext>
                  </a:extLst>
                </p:cNvPr>
                <p:cNvSpPr/>
                <p:nvPr/>
              </p:nvSpPr>
              <p:spPr bwMode="gray">
                <a:xfrm>
                  <a:off x="3423251" y="1754830"/>
                  <a:ext cx="139302" cy="54557"/>
                </a:xfrm>
                <a:custGeom>
                  <a:avLst/>
                  <a:gdLst>
                    <a:gd name="T0" fmla="*/ 24 w 96"/>
                    <a:gd name="T1" fmla="*/ 3 h 40"/>
                    <a:gd name="T2" fmla="*/ 22 w 96"/>
                    <a:gd name="T3" fmla="*/ 3 h 40"/>
                    <a:gd name="T4" fmla="*/ 14 w 96"/>
                    <a:gd name="T5" fmla="*/ 0 h 40"/>
                    <a:gd name="T6" fmla="*/ 6 w 96"/>
                    <a:gd name="T7" fmla="*/ 0 h 40"/>
                    <a:gd name="T8" fmla="*/ 3 w 96"/>
                    <a:gd name="T9" fmla="*/ 0 h 40"/>
                    <a:gd name="T10" fmla="*/ 0 w 96"/>
                    <a:gd name="T11" fmla="*/ 0 h 40"/>
                    <a:gd name="T12" fmla="*/ 0 w 96"/>
                    <a:gd name="T13" fmla="*/ 3 h 40"/>
                    <a:gd name="T14" fmla="*/ 3 w 96"/>
                    <a:gd name="T15" fmla="*/ 7 h 40"/>
                    <a:gd name="T16" fmla="*/ 3 w 96"/>
                    <a:gd name="T17" fmla="*/ 15 h 40"/>
                    <a:gd name="T18" fmla="*/ 6 w 96"/>
                    <a:gd name="T19" fmla="*/ 15 h 40"/>
                    <a:gd name="T20" fmla="*/ 10 w 96"/>
                    <a:gd name="T21" fmla="*/ 15 h 40"/>
                    <a:gd name="T22" fmla="*/ 10 w 96"/>
                    <a:gd name="T23" fmla="*/ 12 h 40"/>
                    <a:gd name="T24" fmla="*/ 22 w 96"/>
                    <a:gd name="T25" fmla="*/ 12 h 40"/>
                    <a:gd name="T26" fmla="*/ 30 w 96"/>
                    <a:gd name="T27" fmla="*/ 15 h 40"/>
                    <a:gd name="T28" fmla="*/ 33 w 96"/>
                    <a:gd name="T29" fmla="*/ 12 h 40"/>
                    <a:gd name="T30" fmla="*/ 27 w 96"/>
                    <a:gd name="T31" fmla="*/ 9 h 40"/>
                    <a:gd name="T32" fmla="*/ 27 w 96"/>
                    <a:gd name="T33" fmla="*/ 7 h 40"/>
                    <a:gd name="T34" fmla="*/ 24 w 96"/>
                    <a:gd name="T35" fmla="*/ 3 h 4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96"/>
                    <a:gd name="T55" fmla="*/ 0 h 40"/>
                    <a:gd name="T56" fmla="*/ 96 w 96"/>
                    <a:gd name="T57" fmla="*/ 40 h 4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96" h="40">
                      <a:moveTo>
                        <a:pt x="72" y="8"/>
                      </a:moveTo>
                      <a:lnTo>
                        <a:pt x="64" y="8"/>
                      </a:lnTo>
                      <a:lnTo>
                        <a:pt x="40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8" y="40"/>
                      </a:lnTo>
                      <a:lnTo>
                        <a:pt x="16" y="40"/>
                      </a:lnTo>
                      <a:lnTo>
                        <a:pt x="32" y="40"/>
                      </a:lnTo>
                      <a:lnTo>
                        <a:pt x="32" y="32"/>
                      </a:lnTo>
                      <a:lnTo>
                        <a:pt x="64" y="32"/>
                      </a:lnTo>
                      <a:lnTo>
                        <a:pt x="88" y="40"/>
                      </a:lnTo>
                      <a:lnTo>
                        <a:pt x="96" y="32"/>
                      </a:lnTo>
                      <a:lnTo>
                        <a:pt x="80" y="24"/>
                      </a:lnTo>
                      <a:lnTo>
                        <a:pt x="80" y="16"/>
                      </a:lnTo>
                      <a:lnTo>
                        <a:pt x="72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64" name="Freeform 73">
                  <a:extLst>
                    <a:ext uri="{FF2B5EF4-FFF2-40B4-BE49-F238E27FC236}">
                      <a16:creationId xmlns:a16="http://schemas.microsoft.com/office/drawing/2014/main" id="{249789AF-D71A-7F05-A546-BDE314D5EF02}"/>
                    </a:ext>
                  </a:extLst>
                </p:cNvPr>
                <p:cNvSpPr/>
                <p:nvPr/>
              </p:nvSpPr>
              <p:spPr bwMode="gray">
                <a:xfrm>
                  <a:off x="3223654" y="2148020"/>
                  <a:ext cx="199598" cy="169316"/>
                </a:xfrm>
                <a:custGeom>
                  <a:avLst/>
                  <a:gdLst>
                    <a:gd name="T0" fmla="*/ 48 w 136"/>
                    <a:gd name="T1" fmla="*/ 34 h 128"/>
                    <a:gd name="T2" fmla="*/ 48 w 136"/>
                    <a:gd name="T3" fmla="*/ 31 h 128"/>
                    <a:gd name="T4" fmla="*/ 37 w 136"/>
                    <a:gd name="T5" fmla="*/ 31 h 128"/>
                    <a:gd name="T6" fmla="*/ 40 w 136"/>
                    <a:gd name="T7" fmla="*/ 25 h 128"/>
                    <a:gd name="T8" fmla="*/ 37 w 136"/>
                    <a:gd name="T9" fmla="*/ 19 h 128"/>
                    <a:gd name="T10" fmla="*/ 28 w 136"/>
                    <a:gd name="T11" fmla="*/ 14 h 128"/>
                    <a:gd name="T12" fmla="*/ 25 w 136"/>
                    <a:gd name="T13" fmla="*/ 11 h 128"/>
                    <a:gd name="T14" fmla="*/ 20 w 136"/>
                    <a:gd name="T15" fmla="*/ 8 h 128"/>
                    <a:gd name="T16" fmla="*/ 17 w 136"/>
                    <a:gd name="T17" fmla="*/ 11 h 128"/>
                    <a:gd name="T18" fmla="*/ 14 w 136"/>
                    <a:gd name="T19" fmla="*/ 6 h 128"/>
                    <a:gd name="T20" fmla="*/ 14 w 136"/>
                    <a:gd name="T21" fmla="*/ 0 h 128"/>
                    <a:gd name="T22" fmla="*/ 11 w 136"/>
                    <a:gd name="T23" fmla="*/ 0 h 128"/>
                    <a:gd name="T24" fmla="*/ 8 w 136"/>
                    <a:gd name="T25" fmla="*/ 3 h 128"/>
                    <a:gd name="T26" fmla="*/ 8 w 136"/>
                    <a:gd name="T27" fmla="*/ 6 h 128"/>
                    <a:gd name="T28" fmla="*/ 8 w 136"/>
                    <a:gd name="T29" fmla="*/ 19 h 128"/>
                    <a:gd name="T30" fmla="*/ 0 w 136"/>
                    <a:gd name="T31" fmla="*/ 34 h 128"/>
                    <a:gd name="T32" fmla="*/ 3 w 136"/>
                    <a:gd name="T33" fmla="*/ 36 h 128"/>
                    <a:gd name="T34" fmla="*/ 11 w 136"/>
                    <a:gd name="T35" fmla="*/ 36 h 128"/>
                    <a:gd name="T36" fmla="*/ 11 w 136"/>
                    <a:gd name="T37" fmla="*/ 44 h 128"/>
                    <a:gd name="T38" fmla="*/ 17 w 136"/>
                    <a:gd name="T39" fmla="*/ 41 h 128"/>
                    <a:gd name="T40" fmla="*/ 20 w 136"/>
                    <a:gd name="T41" fmla="*/ 36 h 128"/>
                    <a:gd name="T42" fmla="*/ 25 w 136"/>
                    <a:gd name="T43" fmla="*/ 36 h 128"/>
                    <a:gd name="T44" fmla="*/ 28 w 136"/>
                    <a:gd name="T45" fmla="*/ 31 h 128"/>
                    <a:gd name="T46" fmla="*/ 31 w 136"/>
                    <a:gd name="T47" fmla="*/ 31 h 128"/>
                    <a:gd name="T48" fmla="*/ 34 w 136"/>
                    <a:gd name="T49" fmla="*/ 31 h 128"/>
                    <a:gd name="T50" fmla="*/ 34 w 136"/>
                    <a:gd name="T51" fmla="*/ 36 h 128"/>
                    <a:gd name="T52" fmla="*/ 37 w 136"/>
                    <a:gd name="T53" fmla="*/ 36 h 128"/>
                    <a:gd name="T54" fmla="*/ 48 w 136"/>
                    <a:gd name="T55" fmla="*/ 39 h 128"/>
                    <a:gd name="T56" fmla="*/ 48 w 136"/>
                    <a:gd name="T57" fmla="*/ 34 h 12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"/>
                    <a:gd name="T88" fmla="*/ 0 h 128"/>
                    <a:gd name="T89" fmla="*/ 136 w 136"/>
                    <a:gd name="T90" fmla="*/ 128 h 12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" h="128">
                      <a:moveTo>
                        <a:pt x="136" y="96"/>
                      </a:moveTo>
                      <a:lnTo>
                        <a:pt x="136" y="88"/>
                      </a:lnTo>
                      <a:lnTo>
                        <a:pt x="104" y="88"/>
                      </a:lnTo>
                      <a:lnTo>
                        <a:pt x="112" y="72"/>
                      </a:lnTo>
                      <a:lnTo>
                        <a:pt x="104" y="56"/>
                      </a:lnTo>
                      <a:lnTo>
                        <a:pt x="80" y="40"/>
                      </a:lnTo>
                      <a:lnTo>
                        <a:pt x="72" y="32"/>
                      </a:lnTo>
                      <a:lnTo>
                        <a:pt x="56" y="24"/>
                      </a:lnTo>
                      <a:lnTo>
                        <a:pt x="48" y="32"/>
                      </a:lnTo>
                      <a:lnTo>
                        <a:pt x="40" y="16"/>
                      </a:ln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24" y="16"/>
                      </a:lnTo>
                      <a:lnTo>
                        <a:pt x="24" y="56"/>
                      </a:lnTo>
                      <a:lnTo>
                        <a:pt x="0" y="96"/>
                      </a:lnTo>
                      <a:lnTo>
                        <a:pt x="8" y="104"/>
                      </a:lnTo>
                      <a:lnTo>
                        <a:pt x="32" y="104"/>
                      </a:lnTo>
                      <a:lnTo>
                        <a:pt x="32" y="128"/>
                      </a:lnTo>
                      <a:lnTo>
                        <a:pt x="48" y="120"/>
                      </a:lnTo>
                      <a:lnTo>
                        <a:pt x="56" y="104"/>
                      </a:lnTo>
                      <a:lnTo>
                        <a:pt x="72" y="104"/>
                      </a:lnTo>
                      <a:lnTo>
                        <a:pt x="80" y="88"/>
                      </a:lnTo>
                      <a:lnTo>
                        <a:pt x="88" y="88"/>
                      </a:lnTo>
                      <a:lnTo>
                        <a:pt x="96" y="88"/>
                      </a:lnTo>
                      <a:lnTo>
                        <a:pt x="96" y="104"/>
                      </a:lnTo>
                      <a:lnTo>
                        <a:pt x="104" y="104"/>
                      </a:lnTo>
                      <a:lnTo>
                        <a:pt x="136" y="112"/>
                      </a:lnTo>
                      <a:lnTo>
                        <a:pt x="136" y="9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65" name="Freeform 74">
                  <a:extLst>
                    <a:ext uri="{FF2B5EF4-FFF2-40B4-BE49-F238E27FC236}">
                      <a16:creationId xmlns:a16="http://schemas.microsoft.com/office/drawing/2014/main" id="{F29A74DA-47D9-6C97-4C90-4E1EFBD1CFC9}"/>
                    </a:ext>
                  </a:extLst>
                </p:cNvPr>
                <p:cNvSpPr/>
                <p:nvPr/>
              </p:nvSpPr>
              <p:spPr bwMode="gray">
                <a:xfrm>
                  <a:off x="2978315" y="1342827"/>
                  <a:ext cx="22871" cy="1881"/>
                </a:xfrm>
                <a:custGeom>
                  <a:avLst/>
                  <a:gdLst>
                    <a:gd name="T0" fmla="*/ 6 w 16"/>
                    <a:gd name="T1" fmla="*/ 0 h 1"/>
                    <a:gd name="T2" fmla="*/ 3 w 16"/>
                    <a:gd name="T3" fmla="*/ 0 h 1"/>
                    <a:gd name="T4" fmla="*/ 0 w 16"/>
                    <a:gd name="T5" fmla="*/ 0 h 1"/>
                    <a:gd name="T6" fmla="*/ 3 w 16"/>
                    <a:gd name="T7" fmla="*/ 0 h 1"/>
                    <a:gd name="T8" fmla="*/ 6 w 16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"/>
                    <a:gd name="T17" fmla="*/ 16 w 16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">
                      <a:moveTo>
                        <a:pt x="16" y="0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66" name="Freeform 75">
                  <a:extLst>
                    <a:ext uri="{FF2B5EF4-FFF2-40B4-BE49-F238E27FC236}">
                      <a16:creationId xmlns:a16="http://schemas.microsoft.com/office/drawing/2014/main" id="{9ED19BE3-2EEF-F6D5-E0B6-8B0334D06194}"/>
                    </a:ext>
                  </a:extLst>
                </p:cNvPr>
                <p:cNvSpPr/>
                <p:nvPr/>
              </p:nvSpPr>
              <p:spPr bwMode="gray">
                <a:xfrm>
                  <a:off x="3246524" y="1448180"/>
                  <a:ext cx="47820" cy="11288"/>
                </a:xfrm>
                <a:custGeom>
                  <a:avLst/>
                  <a:gdLst>
                    <a:gd name="T0" fmla="*/ 12 w 32"/>
                    <a:gd name="T1" fmla="*/ 4 h 8"/>
                    <a:gd name="T2" fmla="*/ 9 w 32"/>
                    <a:gd name="T3" fmla="*/ 0 h 8"/>
                    <a:gd name="T4" fmla="*/ 3 w 32"/>
                    <a:gd name="T5" fmla="*/ 4 h 8"/>
                    <a:gd name="T6" fmla="*/ 0 w 32"/>
                    <a:gd name="T7" fmla="*/ 4 h 8"/>
                    <a:gd name="T8" fmla="*/ 6 w 32"/>
                    <a:gd name="T9" fmla="*/ 4 h 8"/>
                    <a:gd name="T10" fmla="*/ 12 w 32"/>
                    <a:gd name="T11" fmla="*/ 4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8"/>
                    <a:gd name="T20" fmla="*/ 32 w 32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8">
                      <a:moveTo>
                        <a:pt x="32" y="8"/>
                      </a:moveTo>
                      <a:lnTo>
                        <a:pt x="24" y="0"/>
                      </a:ln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16" y="8"/>
                      </a:lnTo>
                      <a:lnTo>
                        <a:pt x="32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67" name="Freeform 76">
                  <a:extLst>
                    <a:ext uri="{FF2B5EF4-FFF2-40B4-BE49-F238E27FC236}">
                      <a16:creationId xmlns:a16="http://schemas.microsoft.com/office/drawing/2014/main" id="{A061E021-1D9C-F045-C182-8E1CE2F79585}"/>
                    </a:ext>
                  </a:extLst>
                </p:cNvPr>
                <p:cNvSpPr/>
                <p:nvPr/>
              </p:nvSpPr>
              <p:spPr bwMode="gray">
                <a:xfrm>
                  <a:off x="4042835" y="2898656"/>
                  <a:ext cx="199598" cy="212586"/>
                </a:xfrm>
                <a:custGeom>
                  <a:avLst/>
                  <a:gdLst>
                    <a:gd name="T0" fmla="*/ 28 w 136"/>
                    <a:gd name="T1" fmla="*/ 0 h 160"/>
                    <a:gd name="T2" fmla="*/ 20 w 136"/>
                    <a:gd name="T3" fmla="*/ 3 h 160"/>
                    <a:gd name="T4" fmla="*/ 17 w 136"/>
                    <a:gd name="T5" fmla="*/ 11 h 160"/>
                    <a:gd name="T6" fmla="*/ 11 w 136"/>
                    <a:gd name="T7" fmla="*/ 20 h 160"/>
                    <a:gd name="T8" fmla="*/ 11 w 136"/>
                    <a:gd name="T9" fmla="*/ 25 h 160"/>
                    <a:gd name="T10" fmla="*/ 8 w 136"/>
                    <a:gd name="T11" fmla="*/ 28 h 160"/>
                    <a:gd name="T12" fmla="*/ 6 w 136"/>
                    <a:gd name="T13" fmla="*/ 31 h 160"/>
                    <a:gd name="T14" fmla="*/ 0 w 136"/>
                    <a:gd name="T15" fmla="*/ 34 h 160"/>
                    <a:gd name="T16" fmla="*/ 0 w 136"/>
                    <a:gd name="T17" fmla="*/ 37 h 160"/>
                    <a:gd name="T18" fmla="*/ 6 w 136"/>
                    <a:gd name="T19" fmla="*/ 37 h 160"/>
                    <a:gd name="T20" fmla="*/ 0 w 136"/>
                    <a:gd name="T21" fmla="*/ 40 h 160"/>
                    <a:gd name="T22" fmla="*/ 3 w 136"/>
                    <a:gd name="T23" fmla="*/ 45 h 160"/>
                    <a:gd name="T24" fmla="*/ 14 w 136"/>
                    <a:gd name="T25" fmla="*/ 45 h 160"/>
                    <a:gd name="T26" fmla="*/ 17 w 136"/>
                    <a:gd name="T27" fmla="*/ 45 h 160"/>
                    <a:gd name="T28" fmla="*/ 23 w 136"/>
                    <a:gd name="T29" fmla="*/ 42 h 160"/>
                    <a:gd name="T30" fmla="*/ 25 w 136"/>
                    <a:gd name="T31" fmla="*/ 45 h 160"/>
                    <a:gd name="T32" fmla="*/ 31 w 136"/>
                    <a:gd name="T33" fmla="*/ 42 h 160"/>
                    <a:gd name="T34" fmla="*/ 31 w 136"/>
                    <a:gd name="T35" fmla="*/ 48 h 160"/>
                    <a:gd name="T36" fmla="*/ 34 w 136"/>
                    <a:gd name="T37" fmla="*/ 48 h 160"/>
                    <a:gd name="T38" fmla="*/ 40 w 136"/>
                    <a:gd name="T39" fmla="*/ 45 h 160"/>
                    <a:gd name="T40" fmla="*/ 40 w 136"/>
                    <a:gd name="T41" fmla="*/ 48 h 160"/>
                    <a:gd name="T42" fmla="*/ 40 w 136"/>
                    <a:gd name="T43" fmla="*/ 51 h 160"/>
                    <a:gd name="T44" fmla="*/ 42 w 136"/>
                    <a:gd name="T45" fmla="*/ 54 h 160"/>
                    <a:gd name="T46" fmla="*/ 42 w 136"/>
                    <a:gd name="T47" fmla="*/ 57 h 160"/>
                    <a:gd name="T48" fmla="*/ 48 w 136"/>
                    <a:gd name="T49" fmla="*/ 57 h 160"/>
                    <a:gd name="T50" fmla="*/ 48 w 136"/>
                    <a:gd name="T51" fmla="*/ 42 h 160"/>
                    <a:gd name="T52" fmla="*/ 45 w 136"/>
                    <a:gd name="T53" fmla="*/ 40 h 160"/>
                    <a:gd name="T54" fmla="*/ 48 w 136"/>
                    <a:gd name="T55" fmla="*/ 40 h 160"/>
                    <a:gd name="T56" fmla="*/ 48 w 136"/>
                    <a:gd name="T57" fmla="*/ 34 h 160"/>
                    <a:gd name="T58" fmla="*/ 40 w 136"/>
                    <a:gd name="T59" fmla="*/ 37 h 160"/>
                    <a:gd name="T60" fmla="*/ 42 w 136"/>
                    <a:gd name="T61" fmla="*/ 25 h 160"/>
                    <a:gd name="T62" fmla="*/ 37 w 136"/>
                    <a:gd name="T63" fmla="*/ 25 h 160"/>
                    <a:gd name="T64" fmla="*/ 31 w 136"/>
                    <a:gd name="T65" fmla="*/ 25 h 160"/>
                    <a:gd name="T66" fmla="*/ 25 w 136"/>
                    <a:gd name="T67" fmla="*/ 23 h 160"/>
                    <a:gd name="T68" fmla="*/ 25 w 136"/>
                    <a:gd name="T69" fmla="*/ 20 h 160"/>
                    <a:gd name="T70" fmla="*/ 23 w 136"/>
                    <a:gd name="T71" fmla="*/ 17 h 160"/>
                    <a:gd name="T72" fmla="*/ 20 w 136"/>
                    <a:gd name="T73" fmla="*/ 23 h 160"/>
                    <a:gd name="T74" fmla="*/ 20 w 136"/>
                    <a:gd name="T75" fmla="*/ 20 h 160"/>
                    <a:gd name="T76" fmla="*/ 28 w 136"/>
                    <a:gd name="T77" fmla="*/ 0 h 160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136"/>
                    <a:gd name="T118" fmla="*/ 0 h 160"/>
                    <a:gd name="T119" fmla="*/ 136 w 136"/>
                    <a:gd name="T120" fmla="*/ 160 h 160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136" h="160">
                      <a:moveTo>
                        <a:pt x="80" y="0"/>
                      </a:moveTo>
                      <a:lnTo>
                        <a:pt x="56" y="8"/>
                      </a:lnTo>
                      <a:lnTo>
                        <a:pt x="48" y="32"/>
                      </a:lnTo>
                      <a:lnTo>
                        <a:pt x="32" y="56"/>
                      </a:lnTo>
                      <a:lnTo>
                        <a:pt x="32" y="72"/>
                      </a:lnTo>
                      <a:lnTo>
                        <a:pt x="24" y="80"/>
                      </a:lnTo>
                      <a:lnTo>
                        <a:pt x="16" y="88"/>
                      </a:lnTo>
                      <a:lnTo>
                        <a:pt x="0" y="96"/>
                      </a:lnTo>
                      <a:lnTo>
                        <a:pt x="0" y="104"/>
                      </a:lnTo>
                      <a:lnTo>
                        <a:pt x="16" y="104"/>
                      </a:lnTo>
                      <a:lnTo>
                        <a:pt x="0" y="112"/>
                      </a:lnTo>
                      <a:lnTo>
                        <a:pt x="8" y="128"/>
                      </a:lnTo>
                      <a:lnTo>
                        <a:pt x="40" y="128"/>
                      </a:lnTo>
                      <a:lnTo>
                        <a:pt x="48" y="128"/>
                      </a:lnTo>
                      <a:lnTo>
                        <a:pt x="64" y="120"/>
                      </a:lnTo>
                      <a:lnTo>
                        <a:pt x="72" y="128"/>
                      </a:lnTo>
                      <a:lnTo>
                        <a:pt x="88" y="120"/>
                      </a:lnTo>
                      <a:lnTo>
                        <a:pt x="88" y="136"/>
                      </a:lnTo>
                      <a:lnTo>
                        <a:pt x="96" y="136"/>
                      </a:lnTo>
                      <a:lnTo>
                        <a:pt x="112" y="128"/>
                      </a:lnTo>
                      <a:lnTo>
                        <a:pt x="112" y="136"/>
                      </a:lnTo>
                      <a:lnTo>
                        <a:pt x="112" y="144"/>
                      </a:lnTo>
                      <a:lnTo>
                        <a:pt x="120" y="152"/>
                      </a:lnTo>
                      <a:lnTo>
                        <a:pt x="120" y="160"/>
                      </a:lnTo>
                      <a:lnTo>
                        <a:pt x="136" y="160"/>
                      </a:lnTo>
                      <a:lnTo>
                        <a:pt x="136" y="120"/>
                      </a:lnTo>
                      <a:lnTo>
                        <a:pt x="128" y="112"/>
                      </a:lnTo>
                      <a:lnTo>
                        <a:pt x="136" y="112"/>
                      </a:lnTo>
                      <a:lnTo>
                        <a:pt x="136" y="96"/>
                      </a:lnTo>
                      <a:lnTo>
                        <a:pt x="112" y="104"/>
                      </a:lnTo>
                      <a:lnTo>
                        <a:pt x="120" y="72"/>
                      </a:lnTo>
                      <a:lnTo>
                        <a:pt x="104" y="72"/>
                      </a:lnTo>
                      <a:lnTo>
                        <a:pt x="88" y="72"/>
                      </a:lnTo>
                      <a:lnTo>
                        <a:pt x="72" y="64"/>
                      </a:lnTo>
                      <a:lnTo>
                        <a:pt x="72" y="56"/>
                      </a:lnTo>
                      <a:lnTo>
                        <a:pt x="64" y="48"/>
                      </a:lnTo>
                      <a:lnTo>
                        <a:pt x="56" y="64"/>
                      </a:lnTo>
                      <a:lnTo>
                        <a:pt x="56" y="56"/>
                      </a:ln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</p:grpSp>
          <p:grpSp>
            <p:nvGrpSpPr>
              <p:cNvPr id="1112" name="Group 77">
                <a:extLst>
                  <a:ext uri="{FF2B5EF4-FFF2-40B4-BE49-F238E27FC236}">
                    <a16:creationId xmlns:a16="http://schemas.microsoft.com/office/drawing/2014/main" id="{61D19AFC-1C0C-2BF9-D332-0D022C5459FC}"/>
                  </a:ext>
                </a:extLst>
              </p:cNvPr>
              <p:cNvGrpSpPr/>
              <p:nvPr/>
            </p:nvGrpSpPr>
            <p:grpSpPr bwMode="gray">
              <a:xfrm>
                <a:off x="7633540" y="3385902"/>
                <a:ext cx="3592765" cy="2530328"/>
                <a:chOff x="3627" y="2290"/>
                <a:chExt cx="1728" cy="1345"/>
              </a:xfrm>
              <a:solidFill>
                <a:srgbClr val="D9D9D9"/>
              </a:solidFill>
            </p:grpSpPr>
            <p:sp>
              <p:nvSpPr>
                <p:cNvPr id="1347" name="Freeform 78">
                  <a:extLst>
                    <a:ext uri="{FF2B5EF4-FFF2-40B4-BE49-F238E27FC236}">
                      <a16:creationId xmlns:a16="http://schemas.microsoft.com/office/drawing/2014/main" id="{563E6DBE-1DC7-FE74-5C8F-45970650D688}"/>
                    </a:ext>
                  </a:extLst>
                </p:cNvPr>
                <p:cNvSpPr/>
                <p:nvPr/>
              </p:nvSpPr>
              <p:spPr bwMode="gray">
                <a:xfrm>
                  <a:off x="4331" y="2594"/>
                  <a:ext cx="34" cy="28"/>
                </a:xfrm>
                <a:custGeom>
                  <a:avLst/>
                  <a:gdLst>
                    <a:gd name="T0" fmla="*/ 17 w 48"/>
                    <a:gd name="T1" fmla="*/ 0 h 40"/>
                    <a:gd name="T2" fmla="*/ 11 w 48"/>
                    <a:gd name="T3" fmla="*/ 0 h 40"/>
                    <a:gd name="T4" fmla="*/ 9 w 48"/>
                    <a:gd name="T5" fmla="*/ 0 h 40"/>
                    <a:gd name="T6" fmla="*/ 6 w 48"/>
                    <a:gd name="T7" fmla="*/ 0 h 40"/>
                    <a:gd name="T8" fmla="*/ 3 w 48"/>
                    <a:gd name="T9" fmla="*/ 0 h 40"/>
                    <a:gd name="T10" fmla="*/ 0 w 48"/>
                    <a:gd name="T11" fmla="*/ 6 h 40"/>
                    <a:gd name="T12" fmla="*/ 0 w 48"/>
                    <a:gd name="T13" fmla="*/ 10 h 40"/>
                    <a:gd name="T14" fmla="*/ 3 w 48"/>
                    <a:gd name="T15" fmla="*/ 14 h 40"/>
                    <a:gd name="T16" fmla="*/ 9 w 48"/>
                    <a:gd name="T17" fmla="*/ 14 h 40"/>
                    <a:gd name="T18" fmla="*/ 11 w 48"/>
                    <a:gd name="T19" fmla="*/ 8 h 40"/>
                    <a:gd name="T20" fmla="*/ 14 w 48"/>
                    <a:gd name="T21" fmla="*/ 3 h 40"/>
                    <a:gd name="T22" fmla="*/ 17 w 48"/>
                    <a:gd name="T23" fmla="*/ 0 h 4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8"/>
                    <a:gd name="T37" fmla="*/ 0 h 40"/>
                    <a:gd name="T38" fmla="*/ 48 w 48"/>
                    <a:gd name="T39" fmla="*/ 40 h 4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8" h="40">
                      <a:moveTo>
                        <a:pt x="48" y="0"/>
                      </a:move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0" y="32"/>
                      </a:lnTo>
                      <a:lnTo>
                        <a:pt x="8" y="40"/>
                      </a:lnTo>
                      <a:lnTo>
                        <a:pt x="24" y="40"/>
                      </a:lnTo>
                      <a:lnTo>
                        <a:pt x="32" y="24"/>
                      </a:lnTo>
                      <a:lnTo>
                        <a:pt x="40" y="8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48" name="Freeform 79">
                  <a:extLst>
                    <a:ext uri="{FF2B5EF4-FFF2-40B4-BE49-F238E27FC236}">
                      <a16:creationId xmlns:a16="http://schemas.microsoft.com/office/drawing/2014/main" id="{46B4983E-15D5-0D56-2ECE-66E00255C196}"/>
                    </a:ext>
                  </a:extLst>
                </p:cNvPr>
                <p:cNvSpPr/>
                <p:nvPr/>
              </p:nvSpPr>
              <p:spPr bwMode="gray">
                <a:xfrm>
                  <a:off x="4134" y="2808"/>
                  <a:ext cx="152" cy="157"/>
                </a:xfrm>
                <a:custGeom>
                  <a:avLst/>
                  <a:gdLst>
                    <a:gd name="T0" fmla="*/ 0 w 216"/>
                    <a:gd name="T1" fmla="*/ 0 h 224"/>
                    <a:gd name="T2" fmla="*/ 6 w 216"/>
                    <a:gd name="T3" fmla="*/ 3 h 224"/>
                    <a:gd name="T4" fmla="*/ 14 w 216"/>
                    <a:gd name="T5" fmla="*/ 3 h 224"/>
                    <a:gd name="T6" fmla="*/ 17 w 216"/>
                    <a:gd name="T7" fmla="*/ 3 h 224"/>
                    <a:gd name="T8" fmla="*/ 19 w 216"/>
                    <a:gd name="T9" fmla="*/ 8 h 224"/>
                    <a:gd name="T10" fmla="*/ 23 w 216"/>
                    <a:gd name="T11" fmla="*/ 11 h 224"/>
                    <a:gd name="T12" fmla="*/ 27 w 216"/>
                    <a:gd name="T13" fmla="*/ 17 h 224"/>
                    <a:gd name="T14" fmla="*/ 34 w 216"/>
                    <a:gd name="T15" fmla="*/ 17 h 224"/>
                    <a:gd name="T16" fmla="*/ 39 w 216"/>
                    <a:gd name="T17" fmla="*/ 25 h 224"/>
                    <a:gd name="T18" fmla="*/ 48 w 216"/>
                    <a:gd name="T19" fmla="*/ 30 h 224"/>
                    <a:gd name="T20" fmla="*/ 48 w 216"/>
                    <a:gd name="T21" fmla="*/ 33 h 224"/>
                    <a:gd name="T22" fmla="*/ 53 w 216"/>
                    <a:gd name="T23" fmla="*/ 36 h 224"/>
                    <a:gd name="T24" fmla="*/ 58 w 216"/>
                    <a:gd name="T25" fmla="*/ 39 h 224"/>
                    <a:gd name="T26" fmla="*/ 58 w 216"/>
                    <a:gd name="T27" fmla="*/ 44 h 224"/>
                    <a:gd name="T28" fmla="*/ 64 w 216"/>
                    <a:gd name="T29" fmla="*/ 47 h 224"/>
                    <a:gd name="T30" fmla="*/ 67 w 216"/>
                    <a:gd name="T31" fmla="*/ 55 h 224"/>
                    <a:gd name="T32" fmla="*/ 70 w 216"/>
                    <a:gd name="T33" fmla="*/ 55 h 224"/>
                    <a:gd name="T34" fmla="*/ 75 w 216"/>
                    <a:gd name="T35" fmla="*/ 60 h 224"/>
                    <a:gd name="T36" fmla="*/ 75 w 216"/>
                    <a:gd name="T37" fmla="*/ 77 h 224"/>
                    <a:gd name="T38" fmla="*/ 72 w 216"/>
                    <a:gd name="T39" fmla="*/ 77 h 224"/>
                    <a:gd name="T40" fmla="*/ 67 w 216"/>
                    <a:gd name="T41" fmla="*/ 74 h 224"/>
                    <a:gd name="T42" fmla="*/ 58 w 216"/>
                    <a:gd name="T43" fmla="*/ 71 h 224"/>
                    <a:gd name="T44" fmla="*/ 48 w 216"/>
                    <a:gd name="T45" fmla="*/ 63 h 224"/>
                    <a:gd name="T46" fmla="*/ 39 w 216"/>
                    <a:gd name="T47" fmla="*/ 53 h 224"/>
                    <a:gd name="T48" fmla="*/ 39 w 216"/>
                    <a:gd name="T49" fmla="*/ 47 h 224"/>
                    <a:gd name="T50" fmla="*/ 31 w 216"/>
                    <a:gd name="T51" fmla="*/ 39 h 224"/>
                    <a:gd name="T52" fmla="*/ 27 w 216"/>
                    <a:gd name="T53" fmla="*/ 39 h 224"/>
                    <a:gd name="T54" fmla="*/ 25 w 216"/>
                    <a:gd name="T55" fmla="*/ 27 h 224"/>
                    <a:gd name="T56" fmla="*/ 19 w 216"/>
                    <a:gd name="T57" fmla="*/ 22 h 224"/>
                    <a:gd name="T58" fmla="*/ 17 w 216"/>
                    <a:gd name="T59" fmla="*/ 22 h 224"/>
                    <a:gd name="T60" fmla="*/ 14 w 216"/>
                    <a:gd name="T61" fmla="*/ 17 h 224"/>
                    <a:gd name="T62" fmla="*/ 11 w 216"/>
                    <a:gd name="T63" fmla="*/ 14 h 224"/>
                    <a:gd name="T64" fmla="*/ 8 w 216"/>
                    <a:gd name="T65" fmla="*/ 14 h 224"/>
                    <a:gd name="T66" fmla="*/ 0 w 216"/>
                    <a:gd name="T67" fmla="*/ 3 h 224"/>
                    <a:gd name="T68" fmla="*/ 0 w 216"/>
                    <a:gd name="T69" fmla="*/ 0 h 224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16"/>
                    <a:gd name="T106" fmla="*/ 0 h 224"/>
                    <a:gd name="T107" fmla="*/ 216 w 216"/>
                    <a:gd name="T108" fmla="*/ 224 h 224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16" h="224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56" y="24"/>
                      </a:lnTo>
                      <a:lnTo>
                        <a:pt x="64" y="32"/>
                      </a:lnTo>
                      <a:lnTo>
                        <a:pt x="80" y="48"/>
                      </a:lnTo>
                      <a:lnTo>
                        <a:pt x="96" y="48"/>
                      </a:lnTo>
                      <a:lnTo>
                        <a:pt x="112" y="72"/>
                      </a:lnTo>
                      <a:lnTo>
                        <a:pt x="136" y="88"/>
                      </a:lnTo>
                      <a:lnTo>
                        <a:pt x="136" y="96"/>
                      </a:lnTo>
                      <a:lnTo>
                        <a:pt x="152" y="104"/>
                      </a:lnTo>
                      <a:lnTo>
                        <a:pt x="168" y="112"/>
                      </a:lnTo>
                      <a:lnTo>
                        <a:pt x="168" y="128"/>
                      </a:lnTo>
                      <a:lnTo>
                        <a:pt x="184" y="136"/>
                      </a:lnTo>
                      <a:lnTo>
                        <a:pt x="192" y="160"/>
                      </a:lnTo>
                      <a:lnTo>
                        <a:pt x="200" y="160"/>
                      </a:lnTo>
                      <a:lnTo>
                        <a:pt x="216" y="176"/>
                      </a:lnTo>
                      <a:lnTo>
                        <a:pt x="216" y="224"/>
                      </a:lnTo>
                      <a:lnTo>
                        <a:pt x="208" y="224"/>
                      </a:lnTo>
                      <a:lnTo>
                        <a:pt x="192" y="216"/>
                      </a:lnTo>
                      <a:lnTo>
                        <a:pt x="168" y="208"/>
                      </a:lnTo>
                      <a:lnTo>
                        <a:pt x="136" y="184"/>
                      </a:lnTo>
                      <a:lnTo>
                        <a:pt x="112" y="152"/>
                      </a:lnTo>
                      <a:lnTo>
                        <a:pt x="112" y="136"/>
                      </a:lnTo>
                      <a:lnTo>
                        <a:pt x="88" y="112"/>
                      </a:lnTo>
                      <a:lnTo>
                        <a:pt x="80" y="112"/>
                      </a:lnTo>
                      <a:lnTo>
                        <a:pt x="72" y="80"/>
                      </a:lnTo>
                      <a:lnTo>
                        <a:pt x="56" y="64"/>
                      </a:lnTo>
                      <a:lnTo>
                        <a:pt x="48" y="64"/>
                      </a:lnTo>
                      <a:lnTo>
                        <a:pt x="40" y="48"/>
                      </a:lnTo>
                      <a:lnTo>
                        <a:pt x="32" y="40"/>
                      </a:lnTo>
                      <a:lnTo>
                        <a:pt x="24" y="40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49" name="Freeform 80">
                  <a:extLst>
                    <a:ext uri="{FF2B5EF4-FFF2-40B4-BE49-F238E27FC236}">
                      <a16:creationId xmlns:a16="http://schemas.microsoft.com/office/drawing/2014/main" id="{CAFC1A2D-03E4-1B49-E18D-EE22D7C4C472}"/>
                    </a:ext>
                  </a:extLst>
                </p:cNvPr>
                <p:cNvSpPr/>
                <p:nvPr/>
              </p:nvSpPr>
              <p:spPr bwMode="gray">
                <a:xfrm>
                  <a:off x="4280" y="2909"/>
                  <a:ext cx="23" cy="17"/>
                </a:xfrm>
                <a:custGeom>
                  <a:avLst/>
                  <a:gdLst>
                    <a:gd name="T0" fmla="*/ 0 w 32"/>
                    <a:gd name="T1" fmla="*/ 3 h 24"/>
                    <a:gd name="T2" fmla="*/ 6 w 32"/>
                    <a:gd name="T3" fmla="*/ 9 h 24"/>
                    <a:gd name="T4" fmla="*/ 12 w 32"/>
                    <a:gd name="T5" fmla="*/ 9 h 24"/>
                    <a:gd name="T6" fmla="*/ 3 w 32"/>
                    <a:gd name="T7" fmla="*/ 0 h 24"/>
                    <a:gd name="T8" fmla="*/ 0 w 32"/>
                    <a:gd name="T9" fmla="*/ 0 h 24"/>
                    <a:gd name="T10" fmla="*/ 0 w 32"/>
                    <a:gd name="T11" fmla="*/ 3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24"/>
                    <a:gd name="T20" fmla="*/ 32 w 32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24">
                      <a:moveTo>
                        <a:pt x="0" y="8"/>
                      </a:moveTo>
                      <a:lnTo>
                        <a:pt x="16" y="24"/>
                      </a:lnTo>
                      <a:lnTo>
                        <a:pt x="32" y="24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50" name="Freeform 81">
                  <a:extLst>
                    <a:ext uri="{FF2B5EF4-FFF2-40B4-BE49-F238E27FC236}">
                      <a16:creationId xmlns:a16="http://schemas.microsoft.com/office/drawing/2014/main" id="{F0699658-2388-9562-93A9-8EDC80DE5A04}"/>
                    </a:ext>
                  </a:extLst>
                </p:cNvPr>
                <p:cNvSpPr/>
                <p:nvPr/>
              </p:nvSpPr>
              <p:spPr bwMode="gray">
                <a:xfrm>
                  <a:off x="4286" y="2971"/>
                  <a:ext cx="124" cy="39"/>
                </a:xfrm>
                <a:custGeom>
                  <a:avLst/>
                  <a:gdLst>
                    <a:gd name="T0" fmla="*/ 61 w 176"/>
                    <a:gd name="T1" fmla="*/ 14 h 56"/>
                    <a:gd name="T2" fmla="*/ 58 w 176"/>
                    <a:gd name="T3" fmla="*/ 14 h 56"/>
                    <a:gd name="T4" fmla="*/ 56 w 176"/>
                    <a:gd name="T5" fmla="*/ 14 h 56"/>
                    <a:gd name="T6" fmla="*/ 48 w 176"/>
                    <a:gd name="T7" fmla="*/ 10 h 56"/>
                    <a:gd name="T8" fmla="*/ 48 w 176"/>
                    <a:gd name="T9" fmla="*/ 6 h 56"/>
                    <a:gd name="T10" fmla="*/ 36 w 176"/>
                    <a:gd name="T11" fmla="*/ 3 h 56"/>
                    <a:gd name="T12" fmla="*/ 34 w 176"/>
                    <a:gd name="T13" fmla="*/ 6 h 56"/>
                    <a:gd name="T14" fmla="*/ 34 w 176"/>
                    <a:gd name="T15" fmla="*/ 8 h 56"/>
                    <a:gd name="T16" fmla="*/ 19 w 176"/>
                    <a:gd name="T17" fmla="*/ 6 h 56"/>
                    <a:gd name="T18" fmla="*/ 19 w 176"/>
                    <a:gd name="T19" fmla="*/ 3 h 56"/>
                    <a:gd name="T20" fmla="*/ 11 w 176"/>
                    <a:gd name="T21" fmla="*/ 3 h 56"/>
                    <a:gd name="T22" fmla="*/ 8 w 176"/>
                    <a:gd name="T23" fmla="*/ 3 h 56"/>
                    <a:gd name="T24" fmla="*/ 3 w 176"/>
                    <a:gd name="T25" fmla="*/ 0 h 56"/>
                    <a:gd name="T26" fmla="*/ 0 w 176"/>
                    <a:gd name="T27" fmla="*/ 6 h 56"/>
                    <a:gd name="T28" fmla="*/ 3 w 176"/>
                    <a:gd name="T29" fmla="*/ 10 h 56"/>
                    <a:gd name="T30" fmla="*/ 17 w 176"/>
                    <a:gd name="T31" fmla="*/ 10 h 56"/>
                    <a:gd name="T32" fmla="*/ 17 w 176"/>
                    <a:gd name="T33" fmla="*/ 14 h 56"/>
                    <a:gd name="T34" fmla="*/ 27 w 176"/>
                    <a:gd name="T35" fmla="*/ 14 h 56"/>
                    <a:gd name="T36" fmla="*/ 34 w 176"/>
                    <a:gd name="T37" fmla="*/ 16 h 56"/>
                    <a:gd name="T38" fmla="*/ 48 w 176"/>
                    <a:gd name="T39" fmla="*/ 16 h 56"/>
                    <a:gd name="T40" fmla="*/ 56 w 176"/>
                    <a:gd name="T41" fmla="*/ 19 h 56"/>
                    <a:gd name="T42" fmla="*/ 61 w 176"/>
                    <a:gd name="T43" fmla="*/ 19 h 56"/>
                    <a:gd name="T44" fmla="*/ 61 w 176"/>
                    <a:gd name="T45" fmla="*/ 14 h 5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76"/>
                    <a:gd name="T70" fmla="*/ 0 h 56"/>
                    <a:gd name="T71" fmla="*/ 176 w 176"/>
                    <a:gd name="T72" fmla="*/ 56 h 5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76" h="56">
                      <a:moveTo>
                        <a:pt x="176" y="40"/>
                      </a:moveTo>
                      <a:lnTo>
                        <a:pt x="168" y="40"/>
                      </a:lnTo>
                      <a:lnTo>
                        <a:pt x="160" y="40"/>
                      </a:lnTo>
                      <a:lnTo>
                        <a:pt x="136" y="32"/>
                      </a:lnTo>
                      <a:lnTo>
                        <a:pt x="136" y="16"/>
                      </a:lnTo>
                      <a:lnTo>
                        <a:pt x="104" y="8"/>
                      </a:lnTo>
                      <a:lnTo>
                        <a:pt x="96" y="16"/>
                      </a:lnTo>
                      <a:lnTo>
                        <a:pt x="96" y="24"/>
                      </a:lnTo>
                      <a:lnTo>
                        <a:pt x="56" y="16"/>
                      </a:lnTo>
                      <a:lnTo>
                        <a:pt x="56" y="8"/>
                      </a:lnTo>
                      <a:lnTo>
                        <a:pt x="32" y="8"/>
                      </a:lnTo>
                      <a:lnTo>
                        <a:pt x="24" y="8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8" y="32"/>
                      </a:lnTo>
                      <a:lnTo>
                        <a:pt x="48" y="32"/>
                      </a:lnTo>
                      <a:lnTo>
                        <a:pt x="48" y="40"/>
                      </a:lnTo>
                      <a:lnTo>
                        <a:pt x="80" y="40"/>
                      </a:lnTo>
                      <a:lnTo>
                        <a:pt x="96" y="48"/>
                      </a:lnTo>
                      <a:lnTo>
                        <a:pt x="136" y="48"/>
                      </a:lnTo>
                      <a:lnTo>
                        <a:pt x="160" y="56"/>
                      </a:lnTo>
                      <a:lnTo>
                        <a:pt x="176" y="56"/>
                      </a:lnTo>
                      <a:lnTo>
                        <a:pt x="176" y="4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51" name="Freeform 82">
                  <a:extLst>
                    <a:ext uri="{FF2B5EF4-FFF2-40B4-BE49-F238E27FC236}">
                      <a16:creationId xmlns:a16="http://schemas.microsoft.com/office/drawing/2014/main" id="{3C4F9B3D-E61F-620E-19DD-CEBE5148F029}"/>
                    </a:ext>
                  </a:extLst>
                </p:cNvPr>
                <p:cNvSpPr/>
                <p:nvPr/>
              </p:nvSpPr>
              <p:spPr bwMode="gray">
                <a:xfrm>
                  <a:off x="4415" y="2999"/>
                  <a:ext cx="11" cy="11"/>
                </a:xfrm>
                <a:custGeom>
                  <a:avLst/>
                  <a:gdLst>
                    <a:gd name="T0" fmla="*/ 0 w 16"/>
                    <a:gd name="T1" fmla="*/ 0 h 16"/>
                    <a:gd name="T2" fmla="*/ 0 w 16"/>
                    <a:gd name="T3" fmla="*/ 6 h 16"/>
                    <a:gd name="T4" fmla="*/ 3 w 16"/>
                    <a:gd name="T5" fmla="*/ 6 h 16"/>
                    <a:gd name="T6" fmla="*/ 6 w 16"/>
                    <a:gd name="T7" fmla="*/ 6 h 16"/>
                    <a:gd name="T8" fmla="*/ 6 w 16"/>
                    <a:gd name="T9" fmla="*/ 0 h 16"/>
                    <a:gd name="T10" fmla="*/ 0 w 16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0" y="0"/>
                      </a:move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16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52" name="Freeform 83">
                  <a:extLst>
                    <a:ext uri="{FF2B5EF4-FFF2-40B4-BE49-F238E27FC236}">
                      <a16:creationId xmlns:a16="http://schemas.microsoft.com/office/drawing/2014/main" id="{2F3E37A1-B526-B81E-980E-43761CD82704}"/>
                    </a:ext>
                  </a:extLst>
                </p:cNvPr>
                <p:cNvSpPr/>
                <p:nvPr/>
              </p:nvSpPr>
              <p:spPr bwMode="gray">
                <a:xfrm>
                  <a:off x="4432" y="3004"/>
                  <a:ext cx="51" cy="12"/>
                </a:xfrm>
                <a:custGeom>
                  <a:avLst/>
                  <a:gdLst>
                    <a:gd name="T0" fmla="*/ 0 w 72"/>
                    <a:gd name="T1" fmla="*/ 4 h 16"/>
                    <a:gd name="T2" fmla="*/ 3 w 72"/>
                    <a:gd name="T3" fmla="*/ 0 h 16"/>
                    <a:gd name="T4" fmla="*/ 6 w 72"/>
                    <a:gd name="T5" fmla="*/ 4 h 16"/>
                    <a:gd name="T6" fmla="*/ 11 w 72"/>
                    <a:gd name="T7" fmla="*/ 0 h 16"/>
                    <a:gd name="T8" fmla="*/ 14 w 72"/>
                    <a:gd name="T9" fmla="*/ 0 h 16"/>
                    <a:gd name="T10" fmla="*/ 23 w 72"/>
                    <a:gd name="T11" fmla="*/ 0 h 16"/>
                    <a:gd name="T12" fmla="*/ 26 w 72"/>
                    <a:gd name="T13" fmla="*/ 4 h 16"/>
                    <a:gd name="T14" fmla="*/ 23 w 72"/>
                    <a:gd name="T15" fmla="*/ 4 h 16"/>
                    <a:gd name="T16" fmla="*/ 8 w 72"/>
                    <a:gd name="T17" fmla="*/ 7 h 16"/>
                    <a:gd name="T18" fmla="*/ 3 w 72"/>
                    <a:gd name="T19" fmla="*/ 4 h 16"/>
                    <a:gd name="T20" fmla="*/ 0 w 72"/>
                    <a:gd name="T21" fmla="*/ 4 h 1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2"/>
                    <a:gd name="T34" fmla="*/ 0 h 16"/>
                    <a:gd name="T35" fmla="*/ 72 w 72"/>
                    <a:gd name="T36" fmla="*/ 16 h 1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2" h="16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32" y="0"/>
                      </a:lnTo>
                      <a:lnTo>
                        <a:pt x="40" y="0"/>
                      </a:lnTo>
                      <a:lnTo>
                        <a:pt x="64" y="0"/>
                      </a:lnTo>
                      <a:lnTo>
                        <a:pt x="72" y="8"/>
                      </a:lnTo>
                      <a:lnTo>
                        <a:pt x="64" y="8"/>
                      </a:lnTo>
                      <a:lnTo>
                        <a:pt x="24" y="16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53" name="Freeform 84">
                  <a:extLst>
                    <a:ext uri="{FF2B5EF4-FFF2-40B4-BE49-F238E27FC236}">
                      <a16:creationId xmlns:a16="http://schemas.microsoft.com/office/drawing/2014/main" id="{1592A2F3-9D15-FF05-DEBC-A6A192ED7AD3}"/>
                    </a:ext>
                  </a:extLst>
                </p:cNvPr>
                <p:cNvSpPr/>
                <p:nvPr/>
              </p:nvSpPr>
              <p:spPr bwMode="gray">
                <a:xfrm>
                  <a:off x="4488" y="3004"/>
                  <a:ext cx="34" cy="12"/>
                </a:xfrm>
                <a:custGeom>
                  <a:avLst/>
                  <a:gdLst>
                    <a:gd name="T0" fmla="*/ 0 w 48"/>
                    <a:gd name="T1" fmla="*/ 4 h 16"/>
                    <a:gd name="T2" fmla="*/ 6 w 48"/>
                    <a:gd name="T3" fmla="*/ 0 h 16"/>
                    <a:gd name="T4" fmla="*/ 17 w 48"/>
                    <a:gd name="T5" fmla="*/ 0 h 16"/>
                    <a:gd name="T6" fmla="*/ 17 w 48"/>
                    <a:gd name="T7" fmla="*/ 4 h 16"/>
                    <a:gd name="T8" fmla="*/ 14 w 48"/>
                    <a:gd name="T9" fmla="*/ 4 h 16"/>
                    <a:gd name="T10" fmla="*/ 0 w 48"/>
                    <a:gd name="T11" fmla="*/ 7 h 16"/>
                    <a:gd name="T12" fmla="*/ 0 w 48"/>
                    <a:gd name="T13" fmla="*/ 4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8"/>
                    <a:gd name="T22" fmla="*/ 0 h 16"/>
                    <a:gd name="T23" fmla="*/ 48 w 48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8" h="16">
                      <a:moveTo>
                        <a:pt x="0" y="8"/>
                      </a:moveTo>
                      <a:lnTo>
                        <a:pt x="16" y="0"/>
                      </a:lnTo>
                      <a:lnTo>
                        <a:pt x="48" y="0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0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54" name="Freeform 85">
                  <a:extLst>
                    <a:ext uri="{FF2B5EF4-FFF2-40B4-BE49-F238E27FC236}">
                      <a16:creationId xmlns:a16="http://schemas.microsoft.com/office/drawing/2014/main" id="{8EB034E7-168E-5461-9563-7D1848D9A492}"/>
                    </a:ext>
                  </a:extLst>
                </p:cNvPr>
                <p:cNvSpPr/>
                <p:nvPr/>
              </p:nvSpPr>
              <p:spPr bwMode="gray">
                <a:xfrm>
                  <a:off x="4545" y="3004"/>
                  <a:ext cx="50" cy="29"/>
                </a:xfrm>
                <a:custGeom>
                  <a:avLst/>
                  <a:gdLst>
                    <a:gd name="T0" fmla="*/ 22 w 72"/>
                    <a:gd name="T1" fmla="*/ 0 h 40"/>
                    <a:gd name="T2" fmla="*/ 24 w 72"/>
                    <a:gd name="T3" fmla="*/ 3 h 40"/>
                    <a:gd name="T4" fmla="*/ 22 w 72"/>
                    <a:gd name="T5" fmla="*/ 7 h 40"/>
                    <a:gd name="T6" fmla="*/ 16 w 72"/>
                    <a:gd name="T7" fmla="*/ 7 h 40"/>
                    <a:gd name="T8" fmla="*/ 10 w 72"/>
                    <a:gd name="T9" fmla="*/ 9 h 40"/>
                    <a:gd name="T10" fmla="*/ 8 w 72"/>
                    <a:gd name="T11" fmla="*/ 12 h 40"/>
                    <a:gd name="T12" fmla="*/ 3 w 72"/>
                    <a:gd name="T13" fmla="*/ 15 h 40"/>
                    <a:gd name="T14" fmla="*/ 0 w 72"/>
                    <a:gd name="T15" fmla="*/ 15 h 40"/>
                    <a:gd name="T16" fmla="*/ 0 w 72"/>
                    <a:gd name="T17" fmla="*/ 12 h 40"/>
                    <a:gd name="T18" fmla="*/ 3 w 72"/>
                    <a:gd name="T19" fmla="*/ 9 h 40"/>
                    <a:gd name="T20" fmla="*/ 6 w 72"/>
                    <a:gd name="T21" fmla="*/ 7 h 40"/>
                    <a:gd name="T22" fmla="*/ 10 w 72"/>
                    <a:gd name="T23" fmla="*/ 3 h 40"/>
                    <a:gd name="T24" fmla="*/ 22 w 72"/>
                    <a:gd name="T25" fmla="*/ 0 h 4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2"/>
                    <a:gd name="T40" fmla="*/ 0 h 40"/>
                    <a:gd name="T41" fmla="*/ 72 w 72"/>
                    <a:gd name="T42" fmla="*/ 40 h 4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2" h="40">
                      <a:moveTo>
                        <a:pt x="64" y="0"/>
                      </a:moveTo>
                      <a:lnTo>
                        <a:pt x="72" y="8"/>
                      </a:lnTo>
                      <a:lnTo>
                        <a:pt x="64" y="16"/>
                      </a:lnTo>
                      <a:lnTo>
                        <a:pt x="48" y="16"/>
                      </a:lnTo>
                      <a:lnTo>
                        <a:pt x="32" y="24"/>
                      </a:lnTo>
                      <a:lnTo>
                        <a:pt x="24" y="32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0" y="32"/>
                      </a:lnTo>
                      <a:lnTo>
                        <a:pt x="8" y="24"/>
                      </a:lnTo>
                      <a:lnTo>
                        <a:pt x="16" y="16"/>
                      </a:lnTo>
                      <a:lnTo>
                        <a:pt x="32" y="8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55" name="Freeform 86">
                  <a:extLst>
                    <a:ext uri="{FF2B5EF4-FFF2-40B4-BE49-F238E27FC236}">
                      <a16:creationId xmlns:a16="http://schemas.microsoft.com/office/drawing/2014/main" id="{D651B409-235C-D33E-B116-E99060E438FE}"/>
                    </a:ext>
                  </a:extLst>
                </p:cNvPr>
                <p:cNvSpPr/>
                <p:nvPr/>
              </p:nvSpPr>
              <p:spPr bwMode="gray">
                <a:xfrm>
                  <a:off x="4477" y="2864"/>
                  <a:ext cx="85" cy="101"/>
                </a:xfrm>
                <a:custGeom>
                  <a:avLst/>
                  <a:gdLst>
                    <a:gd name="T0" fmla="*/ 40 w 120"/>
                    <a:gd name="T1" fmla="*/ 0 h 144"/>
                    <a:gd name="T2" fmla="*/ 37 w 120"/>
                    <a:gd name="T3" fmla="*/ 3 h 144"/>
                    <a:gd name="T4" fmla="*/ 34 w 120"/>
                    <a:gd name="T5" fmla="*/ 6 h 144"/>
                    <a:gd name="T6" fmla="*/ 23 w 120"/>
                    <a:gd name="T7" fmla="*/ 6 h 144"/>
                    <a:gd name="T8" fmla="*/ 17 w 120"/>
                    <a:gd name="T9" fmla="*/ 0 h 144"/>
                    <a:gd name="T10" fmla="*/ 14 w 120"/>
                    <a:gd name="T11" fmla="*/ 0 h 144"/>
                    <a:gd name="T12" fmla="*/ 11 w 120"/>
                    <a:gd name="T13" fmla="*/ 6 h 144"/>
                    <a:gd name="T14" fmla="*/ 9 w 120"/>
                    <a:gd name="T15" fmla="*/ 6 h 144"/>
                    <a:gd name="T16" fmla="*/ 6 w 120"/>
                    <a:gd name="T17" fmla="*/ 11 h 144"/>
                    <a:gd name="T18" fmla="*/ 3 w 120"/>
                    <a:gd name="T19" fmla="*/ 17 h 144"/>
                    <a:gd name="T20" fmla="*/ 3 w 120"/>
                    <a:gd name="T21" fmla="*/ 19 h 144"/>
                    <a:gd name="T22" fmla="*/ 3 w 120"/>
                    <a:gd name="T23" fmla="*/ 25 h 144"/>
                    <a:gd name="T24" fmla="*/ 0 w 120"/>
                    <a:gd name="T25" fmla="*/ 27 h 144"/>
                    <a:gd name="T26" fmla="*/ 0 w 120"/>
                    <a:gd name="T27" fmla="*/ 36 h 144"/>
                    <a:gd name="T28" fmla="*/ 3 w 120"/>
                    <a:gd name="T29" fmla="*/ 36 h 144"/>
                    <a:gd name="T30" fmla="*/ 6 w 120"/>
                    <a:gd name="T31" fmla="*/ 39 h 144"/>
                    <a:gd name="T32" fmla="*/ 6 w 120"/>
                    <a:gd name="T33" fmla="*/ 44 h 144"/>
                    <a:gd name="T34" fmla="*/ 3 w 120"/>
                    <a:gd name="T35" fmla="*/ 50 h 144"/>
                    <a:gd name="T36" fmla="*/ 6 w 120"/>
                    <a:gd name="T37" fmla="*/ 50 h 144"/>
                    <a:gd name="T38" fmla="*/ 9 w 120"/>
                    <a:gd name="T39" fmla="*/ 44 h 144"/>
                    <a:gd name="T40" fmla="*/ 9 w 120"/>
                    <a:gd name="T41" fmla="*/ 33 h 144"/>
                    <a:gd name="T42" fmla="*/ 9 w 120"/>
                    <a:gd name="T43" fmla="*/ 30 h 144"/>
                    <a:gd name="T44" fmla="*/ 11 w 120"/>
                    <a:gd name="T45" fmla="*/ 30 h 144"/>
                    <a:gd name="T46" fmla="*/ 11 w 120"/>
                    <a:gd name="T47" fmla="*/ 27 h 144"/>
                    <a:gd name="T48" fmla="*/ 14 w 120"/>
                    <a:gd name="T49" fmla="*/ 30 h 144"/>
                    <a:gd name="T50" fmla="*/ 14 w 120"/>
                    <a:gd name="T51" fmla="*/ 36 h 144"/>
                    <a:gd name="T52" fmla="*/ 20 w 120"/>
                    <a:gd name="T53" fmla="*/ 41 h 144"/>
                    <a:gd name="T54" fmla="*/ 17 w 120"/>
                    <a:gd name="T55" fmla="*/ 44 h 144"/>
                    <a:gd name="T56" fmla="*/ 20 w 120"/>
                    <a:gd name="T57" fmla="*/ 47 h 144"/>
                    <a:gd name="T58" fmla="*/ 23 w 120"/>
                    <a:gd name="T59" fmla="*/ 41 h 144"/>
                    <a:gd name="T60" fmla="*/ 26 w 120"/>
                    <a:gd name="T61" fmla="*/ 41 h 144"/>
                    <a:gd name="T62" fmla="*/ 26 w 120"/>
                    <a:gd name="T63" fmla="*/ 39 h 144"/>
                    <a:gd name="T64" fmla="*/ 23 w 120"/>
                    <a:gd name="T65" fmla="*/ 33 h 144"/>
                    <a:gd name="T66" fmla="*/ 23 w 120"/>
                    <a:gd name="T67" fmla="*/ 27 h 144"/>
                    <a:gd name="T68" fmla="*/ 17 w 120"/>
                    <a:gd name="T69" fmla="*/ 25 h 144"/>
                    <a:gd name="T70" fmla="*/ 17 w 120"/>
                    <a:gd name="T71" fmla="*/ 22 h 144"/>
                    <a:gd name="T72" fmla="*/ 23 w 120"/>
                    <a:gd name="T73" fmla="*/ 22 h 144"/>
                    <a:gd name="T74" fmla="*/ 26 w 120"/>
                    <a:gd name="T75" fmla="*/ 19 h 144"/>
                    <a:gd name="T76" fmla="*/ 31 w 120"/>
                    <a:gd name="T77" fmla="*/ 19 h 144"/>
                    <a:gd name="T78" fmla="*/ 34 w 120"/>
                    <a:gd name="T79" fmla="*/ 17 h 144"/>
                    <a:gd name="T80" fmla="*/ 28 w 120"/>
                    <a:gd name="T81" fmla="*/ 14 h 144"/>
                    <a:gd name="T82" fmla="*/ 23 w 120"/>
                    <a:gd name="T83" fmla="*/ 14 h 144"/>
                    <a:gd name="T84" fmla="*/ 17 w 120"/>
                    <a:gd name="T85" fmla="*/ 17 h 144"/>
                    <a:gd name="T86" fmla="*/ 14 w 120"/>
                    <a:gd name="T87" fmla="*/ 19 h 144"/>
                    <a:gd name="T88" fmla="*/ 9 w 120"/>
                    <a:gd name="T89" fmla="*/ 14 h 144"/>
                    <a:gd name="T90" fmla="*/ 9 w 120"/>
                    <a:gd name="T91" fmla="*/ 11 h 144"/>
                    <a:gd name="T92" fmla="*/ 11 w 120"/>
                    <a:gd name="T93" fmla="*/ 8 h 144"/>
                    <a:gd name="T94" fmla="*/ 28 w 120"/>
                    <a:gd name="T95" fmla="*/ 8 h 144"/>
                    <a:gd name="T96" fmla="*/ 34 w 120"/>
                    <a:gd name="T97" fmla="*/ 8 h 144"/>
                    <a:gd name="T98" fmla="*/ 40 w 120"/>
                    <a:gd name="T99" fmla="*/ 6 h 144"/>
                    <a:gd name="T100" fmla="*/ 43 w 120"/>
                    <a:gd name="T101" fmla="*/ 0 h 144"/>
                    <a:gd name="T102" fmla="*/ 40 w 120"/>
                    <a:gd name="T103" fmla="*/ 0 h 14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20"/>
                    <a:gd name="T157" fmla="*/ 0 h 144"/>
                    <a:gd name="T158" fmla="*/ 120 w 120"/>
                    <a:gd name="T159" fmla="*/ 144 h 14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20" h="144">
                      <a:moveTo>
                        <a:pt x="112" y="0"/>
                      </a:moveTo>
                      <a:lnTo>
                        <a:pt x="104" y="8"/>
                      </a:lnTo>
                      <a:lnTo>
                        <a:pt x="96" y="16"/>
                      </a:lnTo>
                      <a:lnTo>
                        <a:pt x="64" y="16"/>
                      </a:lnTo>
                      <a:lnTo>
                        <a:pt x="48" y="0"/>
                      </a:lnTo>
                      <a:lnTo>
                        <a:pt x="40" y="0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32"/>
                      </a:lnTo>
                      <a:lnTo>
                        <a:pt x="8" y="48"/>
                      </a:lnTo>
                      <a:lnTo>
                        <a:pt x="8" y="56"/>
                      </a:lnTo>
                      <a:lnTo>
                        <a:pt x="8" y="72"/>
                      </a:lnTo>
                      <a:lnTo>
                        <a:pt x="0" y="80"/>
                      </a:lnTo>
                      <a:lnTo>
                        <a:pt x="0" y="104"/>
                      </a:lnTo>
                      <a:lnTo>
                        <a:pt x="8" y="104"/>
                      </a:lnTo>
                      <a:lnTo>
                        <a:pt x="16" y="112"/>
                      </a:lnTo>
                      <a:lnTo>
                        <a:pt x="16" y="128"/>
                      </a:lnTo>
                      <a:lnTo>
                        <a:pt x="8" y="144"/>
                      </a:lnTo>
                      <a:lnTo>
                        <a:pt x="16" y="144"/>
                      </a:lnTo>
                      <a:lnTo>
                        <a:pt x="24" y="128"/>
                      </a:lnTo>
                      <a:lnTo>
                        <a:pt x="24" y="96"/>
                      </a:lnTo>
                      <a:lnTo>
                        <a:pt x="24" y="88"/>
                      </a:lnTo>
                      <a:lnTo>
                        <a:pt x="32" y="88"/>
                      </a:lnTo>
                      <a:lnTo>
                        <a:pt x="32" y="80"/>
                      </a:lnTo>
                      <a:lnTo>
                        <a:pt x="40" y="88"/>
                      </a:lnTo>
                      <a:lnTo>
                        <a:pt x="40" y="104"/>
                      </a:lnTo>
                      <a:lnTo>
                        <a:pt x="56" y="120"/>
                      </a:lnTo>
                      <a:lnTo>
                        <a:pt x="48" y="128"/>
                      </a:lnTo>
                      <a:lnTo>
                        <a:pt x="56" y="136"/>
                      </a:lnTo>
                      <a:lnTo>
                        <a:pt x="64" y="120"/>
                      </a:lnTo>
                      <a:lnTo>
                        <a:pt x="72" y="120"/>
                      </a:lnTo>
                      <a:lnTo>
                        <a:pt x="72" y="112"/>
                      </a:lnTo>
                      <a:lnTo>
                        <a:pt x="64" y="96"/>
                      </a:lnTo>
                      <a:lnTo>
                        <a:pt x="64" y="80"/>
                      </a:lnTo>
                      <a:lnTo>
                        <a:pt x="48" y="72"/>
                      </a:lnTo>
                      <a:lnTo>
                        <a:pt x="48" y="64"/>
                      </a:lnTo>
                      <a:lnTo>
                        <a:pt x="64" y="64"/>
                      </a:lnTo>
                      <a:lnTo>
                        <a:pt x="72" y="56"/>
                      </a:lnTo>
                      <a:lnTo>
                        <a:pt x="88" y="56"/>
                      </a:lnTo>
                      <a:lnTo>
                        <a:pt x="96" y="48"/>
                      </a:lnTo>
                      <a:lnTo>
                        <a:pt x="80" y="40"/>
                      </a:lnTo>
                      <a:lnTo>
                        <a:pt x="64" y="40"/>
                      </a:lnTo>
                      <a:lnTo>
                        <a:pt x="48" y="48"/>
                      </a:lnTo>
                      <a:lnTo>
                        <a:pt x="40" y="56"/>
                      </a:lnTo>
                      <a:lnTo>
                        <a:pt x="24" y="40"/>
                      </a:lnTo>
                      <a:lnTo>
                        <a:pt x="24" y="32"/>
                      </a:lnTo>
                      <a:lnTo>
                        <a:pt x="32" y="24"/>
                      </a:lnTo>
                      <a:lnTo>
                        <a:pt x="80" y="24"/>
                      </a:lnTo>
                      <a:lnTo>
                        <a:pt x="96" y="24"/>
                      </a:lnTo>
                      <a:lnTo>
                        <a:pt x="112" y="16"/>
                      </a:lnTo>
                      <a:lnTo>
                        <a:pt x="120" y="0"/>
                      </a:lnTo>
                      <a:lnTo>
                        <a:pt x="112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56" name="Freeform 87">
                  <a:extLst>
                    <a:ext uri="{FF2B5EF4-FFF2-40B4-BE49-F238E27FC236}">
                      <a16:creationId xmlns:a16="http://schemas.microsoft.com/office/drawing/2014/main" id="{DB515E59-3480-4E95-F18E-5D71198550D5}"/>
                    </a:ext>
                  </a:extLst>
                </p:cNvPr>
                <p:cNvSpPr/>
                <p:nvPr/>
              </p:nvSpPr>
              <p:spPr bwMode="gray">
                <a:xfrm>
                  <a:off x="4488" y="2616"/>
                  <a:ext cx="40" cy="73"/>
                </a:xfrm>
                <a:custGeom>
                  <a:avLst/>
                  <a:gdLst>
                    <a:gd name="T0" fmla="*/ 9 w 56"/>
                    <a:gd name="T1" fmla="*/ 0 h 104"/>
                    <a:gd name="T2" fmla="*/ 11 w 56"/>
                    <a:gd name="T3" fmla="*/ 3 h 104"/>
                    <a:gd name="T4" fmla="*/ 17 w 56"/>
                    <a:gd name="T5" fmla="*/ 0 h 104"/>
                    <a:gd name="T6" fmla="*/ 21 w 56"/>
                    <a:gd name="T7" fmla="*/ 0 h 104"/>
                    <a:gd name="T8" fmla="*/ 17 w 56"/>
                    <a:gd name="T9" fmla="*/ 8 h 104"/>
                    <a:gd name="T10" fmla="*/ 21 w 56"/>
                    <a:gd name="T11" fmla="*/ 11 h 104"/>
                    <a:gd name="T12" fmla="*/ 21 w 56"/>
                    <a:gd name="T13" fmla="*/ 14 h 104"/>
                    <a:gd name="T14" fmla="*/ 15 w 56"/>
                    <a:gd name="T15" fmla="*/ 19 h 104"/>
                    <a:gd name="T16" fmla="*/ 11 w 56"/>
                    <a:gd name="T17" fmla="*/ 22 h 104"/>
                    <a:gd name="T18" fmla="*/ 15 w 56"/>
                    <a:gd name="T19" fmla="*/ 31 h 104"/>
                    <a:gd name="T20" fmla="*/ 15 w 56"/>
                    <a:gd name="T21" fmla="*/ 33 h 104"/>
                    <a:gd name="T22" fmla="*/ 11 w 56"/>
                    <a:gd name="T23" fmla="*/ 36 h 104"/>
                    <a:gd name="T24" fmla="*/ 9 w 56"/>
                    <a:gd name="T25" fmla="*/ 33 h 104"/>
                    <a:gd name="T26" fmla="*/ 9 w 56"/>
                    <a:gd name="T27" fmla="*/ 27 h 104"/>
                    <a:gd name="T28" fmla="*/ 3 w 56"/>
                    <a:gd name="T29" fmla="*/ 25 h 104"/>
                    <a:gd name="T30" fmla="*/ 0 w 56"/>
                    <a:gd name="T31" fmla="*/ 19 h 104"/>
                    <a:gd name="T32" fmla="*/ 0 w 56"/>
                    <a:gd name="T33" fmla="*/ 17 h 104"/>
                    <a:gd name="T34" fmla="*/ 3 w 56"/>
                    <a:gd name="T35" fmla="*/ 17 h 104"/>
                    <a:gd name="T36" fmla="*/ 6 w 56"/>
                    <a:gd name="T37" fmla="*/ 6 h 104"/>
                    <a:gd name="T38" fmla="*/ 6 w 56"/>
                    <a:gd name="T39" fmla="*/ 3 h 104"/>
                    <a:gd name="T40" fmla="*/ 6 w 56"/>
                    <a:gd name="T41" fmla="*/ 0 h 104"/>
                    <a:gd name="T42" fmla="*/ 9 w 56"/>
                    <a:gd name="T43" fmla="*/ 0 h 104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56"/>
                    <a:gd name="T67" fmla="*/ 0 h 104"/>
                    <a:gd name="T68" fmla="*/ 56 w 56"/>
                    <a:gd name="T69" fmla="*/ 104 h 104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56" h="104">
                      <a:moveTo>
                        <a:pt x="24" y="0"/>
                      </a:moveTo>
                      <a:lnTo>
                        <a:pt x="32" y="8"/>
                      </a:lnTo>
                      <a:lnTo>
                        <a:pt x="48" y="0"/>
                      </a:lnTo>
                      <a:lnTo>
                        <a:pt x="56" y="0"/>
                      </a:lnTo>
                      <a:lnTo>
                        <a:pt x="48" y="24"/>
                      </a:lnTo>
                      <a:lnTo>
                        <a:pt x="56" y="32"/>
                      </a:lnTo>
                      <a:lnTo>
                        <a:pt x="56" y="40"/>
                      </a:lnTo>
                      <a:lnTo>
                        <a:pt x="40" y="56"/>
                      </a:lnTo>
                      <a:lnTo>
                        <a:pt x="32" y="64"/>
                      </a:lnTo>
                      <a:lnTo>
                        <a:pt x="40" y="88"/>
                      </a:lnTo>
                      <a:lnTo>
                        <a:pt x="40" y="96"/>
                      </a:lnTo>
                      <a:lnTo>
                        <a:pt x="32" y="104"/>
                      </a:lnTo>
                      <a:lnTo>
                        <a:pt x="24" y="96"/>
                      </a:lnTo>
                      <a:lnTo>
                        <a:pt x="24" y="80"/>
                      </a:lnTo>
                      <a:lnTo>
                        <a:pt x="8" y="72"/>
                      </a:lnTo>
                      <a:lnTo>
                        <a:pt x="0" y="56"/>
                      </a:lnTo>
                      <a:lnTo>
                        <a:pt x="0" y="48"/>
                      </a:lnTo>
                      <a:lnTo>
                        <a:pt x="8" y="48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57" name="Freeform 88">
                  <a:extLst>
                    <a:ext uri="{FF2B5EF4-FFF2-40B4-BE49-F238E27FC236}">
                      <a16:creationId xmlns:a16="http://schemas.microsoft.com/office/drawing/2014/main" id="{D01ABE57-75BC-9031-A0E0-C13BA68D4DC2}"/>
                    </a:ext>
                  </a:extLst>
                </p:cNvPr>
                <p:cNvSpPr/>
                <p:nvPr/>
              </p:nvSpPr>
              <p:spPr bwMode="gray">
                <a:xfrm>
                  <a:off x="4494" y="2689"/>
                  <a:ext cx="17" cy="17"/>
                </a:xfrm>
                <a:custGeom>
                  <a:avLst/>
                  <a:gdLst>
                    <a:gd name="T0" fmla="*/ 6 w 24"/>
                    <a:gd name="T1" fmla="*/ 0 h 24"/>
                    <a:gd name="T2" fmla="*/ 9 w 24"/>
                    <a:gd name="T3" fmla="*/ 3 h 24"/>
                    <a:gd name="T4" fmla="*/ 9 w 24"/>
                    <a:gd name="T5" fmla="*/ 9 h 24"/>
                    <a:gd name="T6" fmla="*/ 6 w 24"/>
                    <a:gd name="T7" fmla="*/ 9 h 24"/>
                    <a:gd name="T8" fmla="*/ 3 w 24"/>
                    <a:gd name="T9" fmla="*/ 3 h 24"/>
                    <a:gd name="T10" fmla="*/ 0 w 24"/>
                    <a:gd name="T11" fmla="*/ 0 h 24"/>
                    <a:gd name="T12" fmla="*/ 3 w 24"/>
                    <a:gd name="T13" fmla="*/ 0 h 24"/>
                    <a:gd name="T14" fmla="*/ 6 w 24"/>
                    <a:gd name="T15" fmla="*/ 0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24"/>
                    <a:gd name="T26" fmla="*/ 24 w 24"/>
                    <a:gd name="T27" fmla="*/ 24 h 2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24">
                      <a:moveTo>
                        <a:pt x="16" y="0"/>
                      </a:move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58" name="Freeform 89">
                  <a:extLst>
                    <a:ext uri="{FF2B5EF4-FFF2-40B4-BE49-F238E27FC236}">
                      <a16:creationId xmlns:a16="http://schemas.microsoft.com/office/drawing/2014/main" id="{240A892C-16DE-F464-6294-95CB23F928E8}"/>
                    </a:ext>
                  </a:extLst>
                </p:cNvPr>
                <p:cNvSpPr/>
                <p:nvPr/>
              </p:nvSpPr>
              <p:spPr bwMode="gray">
                <a:xfrm>
                  <a:off x="4517" y="2678"/>
                  <a:ext cx="33" cy="23"/>
                </a:xfrm>
                <a:custGeom>
                  <a:avLst/>
                  <a:gdLst>
                    <a:gd name="T0" fmla="*/ 0 w 48"/>
                    <a:gd name="T1" fmla="*/ 3 h 32"/>
                    <a:gd name="T2" fmla="*/ 3 w 48"/>
                    <a:gd name="T3" fmla="*/ 0 h 32"/>
                    <a:gd name="T4" fmla="*/ 6 w 48"/>
                    <a:gd name="T5" fmla="*/ 0 h 32"/>
                    <a:gd name="T6" fmla="*/ 8 w 48"/>
                    <a:gd name="T7" fmla="*/ 3 h 32"/>
                    <a:gd name="T8" fmla="*/ 10 w 48"/>
                    <a:gd name="T9" fmla="*/ 3 h 32"/>
                    <a:gd name="T10" fmla="*/ 13 w 48"/>
                    <a:gd name="T11" fmla="*/ 6 h 32"/>
                    <a:gd name="T12" fmla="*/ 13 w 48"/>
                    <a:gd name="T13" fmla="*/ 9 h 32"/>
                    <a:gd name="T14" fmla="*/ 16 w 48"/>
                    <a:gd name="T15" fmla="*/ 12 h 32"/>
                    <a:gd name="T16" fmla="*/ 10 w 48"/>
                    <a:gd name="T17" fmla="*/ 9 h 32"/>
                    <a:gd name="T18" fmla="*/ 6 w 48"/>
                    <a:gd name="T19" fmla="*/ 6 h 32"/>
                    <a:gd name="T20" fmla="*/ 6 w 48"/>
                    <a:gd name="T21" fmla="*/ 9 h 32"/>
                    <a:gd name="T22" fmla="*/ 0 w 48"/>
                    <a:gd name="T23" fmla="*/ 3 h 3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8"/>
                    <a:gd name="T37" fmla="*/ 0 h 32"/>
                    <a:gd name="T38" fmla="*/ 48 w 48"/>
                    <a:gd name="T39" fmla="*/ 32 h 3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8" h="32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40" y="16"/>
                      </a:lnTo>
                      <a:lnTo>
                        <a:pt x="40" y="24"/>
                      </a:lnTo>
                      <a:lnTo>
                        <a:pt x="48" y="32"/>
                      </a:lnTo>
                      <a:lnTo>
                        <a:pt x="32" y="24"/>
                      </a:lnTo>
                      <a:lnTo>
                        <a:pt x="16" y="16"/>
                      </a:lnTo>
                      <a:lnTo>
                        <a:pt x="16" y="24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59" name="Freeform 90">
                  <a:extLst>
                    <a:ext uri="{FF2B5EF4-FFF2-40B4-BE49-F238E27FC236}">
                      <a16:creationId xmlns:a16="http://schemas.microsoft.com/office/drawing/2014/main" id="{59A45411-B633-EE4B-EFD4-940E317A3C03}"/>
                    </a:ext>
                  </a:extLst>
                </p:cNvPr>
                <p:cNvSpPr/>
                <p:nvPr/>
              </p:nvSpPr>
              <p:spPr bwMode="gray">
                <a:xfrm>
                  <a:off x="4556" y="2706"/>
                  <a:ext cx="17" cy="17"/>
                </a:xfrm>
                <a:custGeom>
                  <a:avLst/>
                  <a:gdLst>
                    <a:gd name="T0" fmla="*/ 0 w 24"/>
                    <a:gd name="T1" fmla="*/ 0 h 24"/>
                    <a:gd name="T2" fmla="*/ 3 w 24"/>
                    <a:gd name="T3" fmla="*/ 0 h 24"/>
                    <a:gd name="T4" fmla="*/ 6 w 24"/>
                    <a:gd name="T5" fmla="*/ 0 h 24"/>
                    <a:gd name="T6" fmla="*/ 9 w 24"/>
                    <a:gd name="T7" fmla="*/ 3 h 24"/>
                    <a:gd name="T8" fmla="*/ 6 w 24"/>
                    <a:gd name="T9" fmla="*/ 9 h 24"/>
                    <a:gd name="T10" fmla="*/ 3 w 24"/>
                    <a:gd name="T11" fmla="*/ 9 h 24"/>
                    <a:gd name="T12" fmla="*/ 3 w 24"/>
                    <a:gd name="T13" fmla="*/ 3 h 24"/>
                    <a:gd name="T14" fmla="*/ 0 w 24"/>
                    <a:gd name="T15" fmla="*/ 3 h 24"/>
                    <a:gd name="T16" fmla="*/ 0 w 24"/>
                    <a:gd name="T17" fmla="*/ 0 h 2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4"/>
                    <a:gd name="T28" fmla="*/ 0 h 24"/>
                    <a:gd name="T29" fmla="*/ 24 w 24"/>
                    <a:gd name="T30" fmla="*/ 24 h 2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4" h="24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8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60" name="Freeform 91">
                  <a:extLst>
                    <a:ext uri="{FF2B5EF4-FFF2-40B4-BE49-F238E27FC236}">
                      <a16:creationId xmlns:a16="http://schemas.microsoft.com/office/drawing/2014/main" id="{004F2E1C-60A3-DC04-DC82-EDDE9214EC6C}"/>
                    </a:ext>
                  </a:extLst>
                </p:cNvPr>
                <p:cNvSpPr/>
                <p:nvPr/>
              </p:nvSpPr>
              <p:spPr bwMode="gray">
                <a:xfrm>
                  <a:off x="4522" y="2718"/>
                  <a:ext cx="11" cy="16"/>
                </a:xfrm>
                <a:custGeom>
                  <a:avLst/>
                  <a:gdLst>
                    <a:gd name="T0" fmla="*/ 0 w 16"/>
                    <a:gd name="T1" fmla="*/ 0 h 24"/>
                    <a:gd name="T2" fmla="*/ 0 w 16"/>
                    <a:gd name="T3" fmla="*/ 7 h 24"/>
                    <a:gd name="T4" fmla="*/ 6 w 16"/>
                    <a:gd name="T5" fmla="*/ 5 h 24"/>
                    <a:gd name="T6" fmla="*/ 6 w 16"/>
                    <a:gd name="T7" fmla="*/ 2 h 24"/>
                    <a:gd name="T8" fmla="*/ 3 w 16"/>
                    <a:gd name="T9" fmla="*/ 0 h 24"/>
                    <a:gd name="T10" fmla="*/ 0 w 16"/>
                    <a:gd name="T11" fmla="*/ 0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24"/>
                    <a:gd name="T20" fmla="*/ 16 w 16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24">
                      <a:moveTo>
                        <a:pt x="0" y="0"/>
                      </a:moveTo>
                      <a:lnTo>
                        <a:pt x="0" y="24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61" name="Freeform 92">
                  <a:extLst>
                    <a:ext uri="{FF2B5EF4-FFF2-40B4-BE49-F238E27FC236}">
                      <a16:creationId xmlns:a16="http://schemas.microsoft.com/office/drawing/2014/main" id="{1B8A267D-C131-73D0-0FCA-520F09029383}"/>
                    </a:ext>
                  </a:extLst>
                </p:cNvPr>
                <p:cNvSpPr/>
                <p:nvPr/>
              </p:nvSpPr>
              <p:spPr bwMode="gray">
                <a:xfrm>
                  <a:off x="4528" y="2729"/>
                  <a:ext cx="17" cy="22"/>
                </a:xfrm>
                <a:custGeom>
                  <a:avLst/>
                  <a:gdLst>
                    <a:gd name="T0" fmla="*/ 9 w 24"/>
                    <a:gd name="T1" fmla="*/ 3 h 32"/>
                    <a:gd name="T2" fmla="*/ 9 w 24"/>
                    <a:gd name="T3" fmla="*/ 8 h 32"/>
                    <a:gd name="T4" fmla="*/ 6 w 24"/>
                    <a:gd name="T5" fmla="*/ 10 h 32"/>
                    <a:gd name="T6" fmla="*/ 3 w 24"/>
                    <a:gd name="T7" fmla="*/ 10 h 32"/>
                    <a:gd name="T8" fmla="*/ 0 w 24"/>
                    <a:gd name="T9" fmla="*/ 8 h 32"/>
                    <a:gd name="T10" fmla="*/ 0 w 24"/>
                    <a:gd name="T11" fmla="*/ 6 h 32"/>
                    <a:gd name="T12" fmla="*/ 6 w 24"/>
                    <a:gd name="T13" fmla="*/ 6 h 32"/>
                    <a:gd name="T14" fmla="*/ 3 w 24"/>
                    <a:gd name="T15" fmla="*/ 3 h 32"/>
                    <a:gd name="T16" fmla="*/ 3 w 24"/>
                    <a:gd name="T17" fmla="*/ 0 h 32"/>
                    <a:gd name="T18" fmla="*/ 9 w 24"/>
                    <a:gd name="T19" fmla="*/ 3 h 3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4"/>
                    <a:gd name="T31" fmla="*/ 0 h 32"/>
                    <a:gd name="T32" fmla="*/ 24 w 24"/>
                    <a:gd name="T33" fmla="*/ 32 h 3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4" h="32">
                      <a:moveTo>
                        <a:pt x="24" y="8"/>
                      </a:moveTo>
                      <a:lnTo>
                        <a:pt x="24" y="24"/>
                      </a:lnTo>
                      <a:lnTo>
                        <a:pt x="16" y="32"/>
                      </a:lnTo>
                      <a:lnTo>
                        <a:pt x="8" y="32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16" y="16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24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62" name="Freeform 93">
                  <a:extLst>
                    <a:ext uri="{FF2B5EF4-FFF2-40B4-BE49-F238E27FC236}">
                      <a16:creationId xmlns:a16="http://schemas.microsoft.com/office/drawing/2014/main" id="{C4D95D62-67AD-DE92-E080-16DD035BBCD8}"/>
                    </a:ext>
                  </a:extLst>
                </p:cNvPr>
                <p:cNvSpPr/>
                <p:nvPr/>
              </p:nvSpPr>
              <p:spPr bwMode="gray">
                <a:xfrm>
                  <a:off x="4550" y="2723"/>
                  <a:ext cx="17" cy="17"/>
                </a:xfrm>
                <a:custGeom>
                  <a:avLst/>
                  <a:gdLst>
                    <a:gd name="T0" fmla="*/ 0 w 24"/>
                    <a:gd name="T1" fmla="*/ 0 h 24"/>
                    <a:gd name="T2" fmla="*/ 6 w 24"/>
                    <a:gd name="T3" fmla="*/ 0 h 24"/>
                    <a:gd name="T4" fmla="*/ 9 w 24"/>
                    <a:gd name="T5" fmla="*/ 6 h 24"/>
                    <a:gd name="T6" fmla="*/ 9 w 24"/>
                    <a:gd name="T7" fmla="*/ 9 h 24"/>
                    <a:gd name="T8" fmla="*/ 6 w 24"/>
                    <a:gd name="T9" fmla="*/ 9 h 24"/>
                    <a:gd name="T10" fmla="*/ 6 w 24"/>
                    <a:gd name="T11" fmla="*/ 6 h 24"/>
                    <a:gd name="T12" fmla="*/ 0 w 2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24" y="16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63" name="Freeform 94">
                  <a:extLst>
                    <a:ext uri="{FF2B5EF4-FFF2-40B4-BE49-F238E27FC236}">
                      <a16:creationId xmlns:a16="http://schemas.microsoft.com/office/drawing/2014/main" id="{A8D8BCDC-BFFC-A09B-14F4-C32AC0349D57}"/>
                    </a:ext>
                  </a:extLst>
                </p:cNvPr>
                <p:cNvSpPr/>
                <p:nvPr/>
              </p:nvSpPr>
              <p:spPr bwMode="gray">
                <a:xfrm>
                  <a:off x="4522" y="2751"/>
                  <a:ext cx="62" cy="57"/>
                </a:xfrm>
                <a:custGeom>
                  <a:avLst/>
                  <a:gdLst>
                    <a:gd name="T0" fmla="*/ 14 w 88"/>
                    <a:gd name="T1" fmla="*/ 15 h 80"/>
                    <a:gd name="T2" fmla="*/ 17 w 88"/>
                    <a:gd name="T3" fmla="*/ 15 h 80"/>
                    <a:gd name="T4" fmla="*/ 14 w 88"/>
                    <a:gd name="T5" fmla="*/ 21 h 80"/>
                    <a:gd name="T6" fmla="*/ 19 w 88"/>
                    <a:gd name="T7" fmla="*/ 26 h 80"/>
                    <a:gd name="T8" fmla="*/ 23 w 88"/>
                    <a:gd name="T9" fmla="*/ 26 h 80"/>
                    <a:gd name="T10" fmla="*/ 23 w 88"/>
                    <a:gd name="T11" fmla="*/ 24 h 80"/>
                    <a:gd name="T12" fmla="*/ 23 w 88"/>
                    <a:gd name="T13" fmla="*/ 26 h 80"/>
                    <a:gd name="T14" fmla="*/ 25 w 88"/>
                    <a:gd name="T15" fmla="*/ 29 h 80"/>
                    <a:gd name="T16" fmla="*/ 25 w 88"/>
                    <a:gd name="T17" fmla="*/ 26 h 80"/>
                    <a:gd name="T18" fmla="*/ 25 w 88"/>
                    <a:gd name="T19" fmla="*/ 24 h 80"/>
                    <a:gd name="T20" fmla="*/ 23 w 88"/>
                    <a:gd name="T21" fmla="*/ 21 h 80"/>
                    <a:gd name="T22" fmla="*/ 23 w 88"/>
                    <a:gd name="T23" fmla="*/ 17 h 80"/>
                    <a:gd name="T24" fmla="*/ 25 w 88"/>
                    <a:gd name="T25" fmla="*/ 17 h 80"/>
                    <a:gd name="T26" fmla="*/ 27 w 88"/>
                    <a:gd name="T27" fmla="*/ 21 h 80"/>
                    <a:gd name="T28" fmla="*/ 31 w 88"/>
                    <a:gd name="T29" fmla="*/ 17 h 80"/>
                    <a:gd name="T30" fmla="*/ 31 w 88"/>
                    <a:gd name="T31" fmla="*/ 11 h 80"/>
                    <a:gd name="T32" fmla="*/ 31 w 88"/>
                    <a:gd name="T33" fmla="*/ 9 h 80"/>
                    <a:gd name="T34" fmla="*/ 31 w 88"/>
                    <a:gd name="T35" fmla="*/ 6 h 80"/>
                    <a:gd name="T36" fmla="*/ 27 w 88"/>
                    <a:gd name="T37" fmla="*/ 3 h 80"/>
                    <a:gd name="T38" fmla="*/ 23 w 88"/>
                    <a:gd name="T39" fmla="*/ 0 h 80"/>
                    <a:gd name="T40" fmla="*/ 25 w 88"/>
                    <a:gd name="T41" fmla="*/ 3 h 80"/>
                    <a:gd name="T42" fmla="*/ 23 w 88"/>
                    <a:gd name="T43" fmla="*/ 3 h 80"/>
                    <a:gd name="T44" fmla="*/ 19 w 88"/>
                    <a:gd name="T45" fmla="*/ 3 h 80"/>
                    <a:gd name="T46" fmla="*/ 19 w 88"/>
                    <a:gd name="T47" fmla="*/ 6 h 80"/>
                    <a:gd name="T48" fmla="*/ 17 w 88"/>
                    <a:gd name="T49" fmla="*/ 6 h 80"/>
                    <a:gd name="T50" fmla="*/ 17 w 88"/>
                    <a:gd name="T51" fmla="*/ 9 h 80"/>
                    <a:gd name="T52" fmla="*/ 14 w 88"/>
                    <a:gd name="T53" fmla="*/ 11 h 80"/>
                    <a:gd name="T54" fmla="*/ 14 w 88"/>
                    <a:gd name="T55" fmla="*/ 6 h 80"/>
                    <a:gd name="T56" fmla="*/ 8 w 88"/>
                    <a:gd name="T57" fmla="*/ 6 h 80"/>
                    <a:gd name="T58" fmla="*/ 3 w 88"/>
                    <a:gd name="T59" fmla="*/ 11 h 80"/>
                    <a:gd name="T60" fmla="*/ 0 w 88"/>
                    <a:gd name="T61" fmla="*/ 11 h 80"/>
                    <a:gd name="T62" fmla="*/ 0 w 88"/>
                    <a:gd name="T63" fmla="*/ 15 h 80"/>
                    <a:gd name="T64" fmla="*/ 0 w 88"/>
                    <a:gd name="T65" fmla="*/ 17 h 80"/>
                    <a:gd name="T66" fmla="*/ 3 w 88"/>
                    <a:gd name="T67" fmla="*/ 15 h 80"/>
                    <a:gd name="T68" fmla="*/ 6 w 88"/>
                    <a:gd name="T69" fmla="*/ 11 h 80"/>
                    <a:gd name="T70" fmla="*/ 6 w 88"/>
                    <a:gd name="T71" fmla="*/ 15 h 80"/>
                    <a:gd name="T72" fmla="*/ 8 w 88"/>
                    <a:gd name="T73" fmla="*/ 15 h 80"/>
                    <a:gd name="T74" fmla="*/ 11 w 88"/>
                    <a:gd name="T75" fmla="*/ 15 h 80"/>
                    <a:gd name="T76" fmla="*/ 14 w 88"/>
                    <a:gd name="T77" fmla="*/ 15 h 80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88"/>
                    <a:gd name="T118" fmla="*/ 0 h 80"/>
                    <a:gd name="T119" fmla="*/ 88 w 88"/>
                    <a:gd name="T120" fmla="*/ 80 h 80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88" h="80">
                      <a:moveTo>
                        <a:pt x="40" y="40"/>
                      </a:moveTo>
                      <a:lnTo>
                        <a:pt x="48" y="40"/>
                      </a:lnTo>
                      <a:lnTo>
                        <a:pt x="40" y="56"/>
                      </a:lnTo>
                      <a:lnTo>
                        <a:pt x="56" y="72"/>
                      </a:lnTo>
                      <a:lnTo>
                        <a:pt x="64" y="72"/>
                      </a:lnTo>
                      <a:lnTo>
                        <a:pt x="64" y="64"/>
                      </a:lnTo>
                      <a:lnTo>
                        <a:pt x="64" y="72"/>
                      </a:lnTo>
                      <a:lnTo>
                        <a:pt x="72" y="80"/>
                      </a:lnTo>
                      <a:lnTo>
                        <a:pt x="72" y="72"/>
                      </a:lnTo>
                      <a:lnTo>
                        <a:pt x="72" y="64"/>
                      </a:lnTo>
                      <a:lnTo>
                        <a:pt x="64" y="56"/>
                      </a:lnTo>
                      <a:lnTo>
                        <a:pt x="64" y="48"/>
                      </a:lnTo>
                      <a:lnTo>
                        <a:pt x="72" y="48"/>
                      </a:lnTo>
                      <a:lnTo>
                        <a:pt x="80" y="56"/>
                      </a:lnTo>
                      <a:lnTo>
                        <a:pt x="88" y="48"/>
                      </a:lnTo>
                      <a:lnTo>
                        <a:pt x="88" y="32"/>
                      </a:lnTo>
                      <a:lnTo>
                        <a:pt x="88" y="24"/>
                      </a:lnTo>
                      <a:lnTo>
                        <a:pt x="88" y="16"/>
                      </a:lnTo>
                      <a:lnTo>
                        <a:pt x="80" y="8"/>
                      </a:lnTo>
                      <a:lnTo>
                        <a:pt x="64" y="0"/>
                      </a:lnTo>
                      <a:lnTo>
                        <a:pt x="72" y="8"/>
                      </a:lnTo>
                      <a:lnTo>
                        <a:pt x="64" y="8"/>
                      </a:lnTo>
                      <a:lnTo>
                        <a:pt x="56" y="8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48" y="24"/>
                      </a:lnTo>
                      <a:lnTo>
                        <a:pt x="40" y="32"/>
                      </a:lnTo>
                      <a:lnTo>
                        <a:pt x="40" y="16"/>
                      </a:lnTo>
                      <a:lnTo>
                        <a:pt x="24" y="16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8" y="40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24" y="40"/>
                      </a:lnTo>
                      <a:lnTo>
                        <a:pt x="32" y="40"/>
                      </a:lnTo>
                      <a:lnTo>
                        <a:pt x="40" y="4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64" name="Freeform 95">
                  <a:extLst>
                    <a:ext uri="{FF2B5EF4-FFF2-40B4-BE49-F238E27FC236}">
                      <a16:creationId xmlns:a16="http://schemas.microsoft.com/office/drawing/2014/main" id="{EBFE91B5-1B53-C2E2-90D6-03BD3127FEDB}"/>
                    </a:ext>
                  </a:extLst>
                </p:cNvPr>
                <p:cNvSpPr/>
                <p:nvPr/>
              </p:nvSpPr>
              <p:spPr bwMode="gray">
                <a:xfrm>
                  <a:off x="4584" y="2926"/>
                  <a:ext cx="11" cy="11"/>
                </a:xfrm>
                <a:custGeom>
                  <a:avLst/>
                  <a:gdLst>
                    <a:gd name="T0" fmla="*/ 0 w 16"/>
                    <a:gd name="T1" fmla="*/ 3 h 16"/>
                    <a:gd name="T2" fmla="*/ 0 w 16"/>
                    <a:gd name="T3" fmla="*/ 0 h 16"/>
                    <a:gd name="T4" fmla="*/ 6 w 16"/>
                    <a:gd name="T5" fmla="*/ 0 h 16"/>
                    <a:gd name="T6" fmla="*/ 6 w 16"/>
                    <a:gd name="T7" fmla="*/ 3 h 16"/>
                    <a:gd name="T8" fmla="*/ 6 w 16"/>
                    <a:gd name="T9" fmla="*/ 6 h 16"/>
                    <a:gd name="T10" fmla="*/ 3 w 16"/>
                    <a:gd name="T11" fmla="*/ 6 h 16"/>
                    <a:gd name="T12" fmla="*/ 0 w 16"/>
                    <a:gd name="T13" fmla="*/ 3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16"/>
                    <a:gd name="T23" fmla="*/ 16 w 16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16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65" name="Freeform 96">
                  <a:extLst>
                    <a:ext uri="{FF2B5EF4-FFF2-40B4-BE49-F238E27FC236}">
                      <a16:creationId xmlns:a16="http://schemas.microsoft.com/office/drawing/2014/main" id="{796EF0FF-3E48-5FA8-D5AB-5DE7C7620D29}"/>
                    </a:ext>
                  </a:extLst>
                </p:cNvPr>
                <p:cNvSpPr/>
                <p:nvPr/>
              </p:nvSpPr>
              <p:spPr bwMode="gray">
                <a:xfrm>
                  <a:off x="4607" y="2926"/>
                  <a:ext cx="45" cy="17"/>
                </a:xfrm>
                <a:custGeom>
                  <a:avLst/>
                  <a:gdLst>
                    <a:gd name="T0" fmla="*/ 0 w 64"/>
                    <a:gd name="T1" fmla="*/ 3 h 24"/>
                    <a:gd name="T2" fmla="*/ 6 w 64"/>
                    <a:gd name="T3" fmla="*/ 0 h 24"/>
                    <a:gd name="T4" fmla="*/ 14 w 64"/>
                    <a:gd name="T5" fmla="*/ 0 h 24"/>
                    <a:gd name="T6" fmla="*/ 17 w 64"/>
                    <a:gd name="T7" fmla="*/ 0 h 24"/>
                    <a:gd name="T8" fmla="*/ 19 w 64"/>
                    <a:gd name="T9" fmla="*/ 3 h 24"/>
                    <a:gd name="T10" fmla="*/ 23 w 64"/>
                    <a:gd name="T11" fmla="*/ 3 h 24"/>
                    <a:gd name="T12" fmla="*/ 23 w 64"/>
                    <a:gd name="T13" fmla="*/ 6 h 24"/>
                    <a:gd name="T14" fmla="*/ 19 w 64"/>
                    <a:gd name="T15" fmla="*/ 9 h 24"/>
                    <a:gd name="T16" fmla="*/ 14 w 64"/>
                    <a:gd name="T17" fmla="*/ 3 h 24"/>
                    <a:gd name="T18" fmla="*/ 8 w 64"/>
                    <a:gd name="T19" fmla="*/ 3 h 24"/>
                    <a:gd name="T20" fmla="*/ 6 w 64"/>
                    <a:gd name="T21" fmla="*/ 3 h 24"/>
                    <a:gd name="T22" fmla="*/ 3 w 64"/>
                    <a:gd name="T23" fmla="*/ 6 h 24"/>
                    <a:gd name="T24" fmla="*/ 0 w 64"/>
                    <a:gd name="T25" fmla="*/ 3 h 2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4"/>
                    <a:gd name="T40" fmla="*/ 0 h 24"/>
                    <a:gd name="T41" fmla="*/ 64 w 64"/>
                    <a:gd name="T42" fmla="*/ 24 h 2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4" h="24">
                      <a:moveTo>
                        <a:pt x="0" y="8"/>
                      </a:moveTo>
                      <a:lnTo>
                        <a:pt x="16" y="0"/>
                      </a:lnTo>
                      <a:lnTo>
                        <a:pt x="40" y="0"/>
                      </a:lnTo>
                      <a:lnTo>
                        <a:pt x="48" y="0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64" y="16"/>
                      </a:lnTo>
                      <a:lnTo>
                        <a:pt x="56" y="24"/>
                      </a:lnTo>
                      <a:lnTo>
                        <a:pt x="40" y="8"/>
                      </a:lnTo>
                      <a:lnTo>
                        <a:pt x="24" y="8"/>
                      </a:lnTo>
                      <a:lnTo>
                        <a:pt x="16" y="8"/>
                      </a:lnTo>
                      <a:lnTo>
                        <a:pt x="8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66" name="Freeform 97">
                  <a:extLst>
                    <a:ext uri="{FF2B5EF4-FFF2-40B4-BE49-F238E27FC236}">
                      <a16:creationId xmlns:a16="http://schemas.microsoft.com/office/drawing/2014/main" id="{480B1A79-78CC-93F8-8A8A-21768CA9AA63}"/>
                    </a:ext>
                  </a:extLst>
                </p:cNvPr>
                <p:cNvSpPr/>
                <p:nvPr/>
              </p:nvSpPr>
              <p:spPr bwMode="gray">
                <a:xfrm>
                  <a:off x="4556" y="2909"/>
                  <a:ext cx="22" cy="5"/>
                </a:xfrm>
                <a:custGeom>
                  <a:avLst/>
                  <a:gdLst>
                    <a:gd name="T0" fmla="*/ 0 w 32"/>
                    <a:gd name="T1" fmla="*/ 2 h 8"/>
                    <a:gd name="T2" fmla="*/ 0 w 32"/>
                    <a:gd name="T3" fmla="*/ 0 h 8"/>
                    <a:gd name="T4" fmla="*/ 3 w 32"/>
                    <a:gd name="T5" fmla="*/ 0 h 8"/>
                    <a:gd name="T6" fmla="*/ 6 w 32"/>
                    <a:gd name="T7" fmla="*/ 0 h 8"/>
                    <a:gd name="T8" fmla="*/ 10 w 32"/>
                    <a:gd name="T9" fmla="*/ 0 h 8"/>
                    <a:gd name="T10" fmla="*/ 10 w 32"/>
                    <a:gd name="T11" fmla="*/ 2 h 8"/>
                    <a:gd name="T12" fmla="*/ 0 w 32"/>
                    <a:gd name="T13" fmla="*/ 2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8"/>
                    <a:gd name="T23" fmla="*/ 32 w 32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8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67" name="Freeform 98">
                  <a:extLst>
                    <a:ext uri="{FF2B5EF4-FFF2-40B4-BE49-F238E27FC236}">
                      <a16:creationId xmlns:a16="http://schemas.microsoft.com/office/drawing/2014/main" id="{939F85EF-7B08-39D8-C59E-D42317833A1E}"/>
                    </a:ext>
                  </a:extLst>
                </p:cNvPr>
                <p:cNvSpPr/>
                <p:nvPr/>
              </p:nvSpPr>
              <p:spPr bwMode="gray">
                <a:xfrm>
                  <a:off x="4792" y="2920"/>
                  <a:ext cx="141" cy="118"/>
                </a:xfrm>
                <a:custGeom>
                  <a:avLst/>
                  <a:gdLst>
                    <a:gd name="T0" fmla="*/ 0 w 200"/>
                    <a:gd name="T1" fmla="*/ 0 h 168"/>
                    <a:gd name="T2" fmla="*/ 8 w 200"/>
                    <a:gd name="T3" fmla="*/ 3 h 168"/>
                    <a:gd name="T4" fmla="*/ 19 w 200"/>
                    <a:gd name="T5" fmla="*/ 8 h 168"/>
                    <a:gd name="T6" fmla="*/ 23 w 200"/>
                    <a:gd name="T7" fmla="*/ 8 h 168"/>
                    <a:gd name="T8" fmla="*/ 31 w 200"/>
                    <a:gd name="T9" fmla="*/ 14 h 168"/>
                    <a:gd name="T10" fmla="*/ 34 w 200"/>
                    <a:gd name="T11" fmla="*/ 17 h 168"/>
                    <a:gd name="T12" fmla="*/ 36 w 200"/>
                    <a:gd name="T13" fmla="*/ 22 h 168"/>
                    <a:gd name="T14" fmla="*/ 48 w 200"/>
                    <a:gd name="T15" fmla="*/ 25 h 168"/>
                    <a:gd name="T16" fmla="*/ 51 w 200"/>
                    <a:gd name="T17" fmla="*/ 27 h 168"/>
                    <a:gd name="T18" fmla="*/ 48 w 200"/>
                    <a:gd name="T19" fmla="*/ 31 h 168"/>
                    <a:gd name="T20" fmla="*/ 44 w 200"/>
                    <a:gd name="T21" fmla="*/ 31 h 168"/>
                    <a:gd name="T22" fmla="*/ 44 w 200"/>
                    <a:gd name="T23" fmla="*/ 33 h 168"/>
                    <a:gd name="T24" fmla="*/ 48 w 200"/>
                    <a:gd name="T25" fmla="*/ 39 h 168"/>
                    <a:gd name="T26" fmla="*/ 53 w 200"/>
                    <a:gd name="T27" fmla="*/ 39 h 168"/>
                    <a:gd name="T28" fmla="*/ 53 w 200"/>
                    <a:gd name="T29" fmla="*/ 41 h 168"/>
                    <a:gd name="T30" fmla="*/ 56 w 200"/>
                    <a:gd name="T31" fmla="*/ 47 h 168"/>
                    <a:gd name="T32" fmla="*/ 61 w 200"/>
                    <a:gd name="T33" fmla="*/ 50 h 168"/>
                    <a:gd name="T34" fmla="*/ 70 w 200"/>
                    <a:gd name="T35" fmla="*/ 55 h 168"/>
                    <a:gd name="T36" fmla="*/ 70 w 200"/>
                    <a:gd name="T37" fmla="*/ 58 h 168"/>
                    <a:gd name="T38" fmla="*/ 61 w 200"/>
                    <a:gd name="T39" fmla="*/ 55 h 168"/>
                    <a:gd name="T40" fmla="*/ 56 w 200"/>
                    <a:gd name="T41" fmla="*/ 55 h 168"/>
                    <a:gd name="T42" fmla="*/ 51 w 200"/>
                    <a:gd name="T43" fmla="*/ 55 h 168"/>
                    <a:gd name="T44" fmla="*/ 44 w 200"/>
                    <a:gd name="T45" fmla="*/ 53 h 168"/>
                    <a:gd name="T46" fmla="*/ 44 w 200"/>
                    <a:gd name="T47" fmla="*/ 47 h 168"/>
                    <a:gd name="T48" fmla="*/ 42 w 200"/>
                    <a:gd name="T49" fmla="*/ 44 h 168"/>
                    <a:gd name="T50" fmla="*/ 39 w 200"/>
                    <a:gd name="T51" fmla="*/ 41 h 168"/>
                    <a:gd name="T52" fmla="*/ 34 w 200"/>
                    <a:gd name="T53" fmla="*/ 39 h 168"/>
                    <a:gd name="T54" fmla="*/ 27 w 200"/>
                    <a:gd name="T55" fmla="*/ 36 h 168"/>
                    <a:gd name="T56" fmla="*/ 23 w 200"/>
                    <a:gd name="T57" fmla="*/ 36 h 168"/>
                    <a:gd name="T58" fmla="*/ 23 w 200"/>
                    <a:gd name="T59" fmla="*/ 41 h 168"/>
                    <a:gd name="T60" fmla="*/ 17 w 200"/>
                    <a:gd name="T61" fmla="*/ 41 h 168"/>
                    <a:gd name="T62" fmla="*/ 19 w 200"/>
                    <a:gd name="T63" fmla="*/ 47 h 168"/>
                    <a:gd name="T64" fmla="*/ 17 w 200"/>
                    <a:gd name="T65" fmla="*/ 47 h 168"/>
                    <a:gd name="T66" fmla="*/ 3 w 200"/>
                    <a:gd name="T67" fmla="*/ 47 h 168"/>
                    <a:gd name="T68" fmla="*/ 3 w 200"/>
                    <a:gd name="T69" fmla="*/ 33 h 168"/>
                    <a:gd name="T70" fmla="*/ 0 w 200"/>
                    <a:gd name="T71" fmla="*/ 31 h 168"/>
                    <a:gd name="T72" fmla="*/ 0 w 200"/>
                    <a:gd name="T73" fmla="*/ 27 h 168"/>
                    <a:gd name="T74" fmla="*/ 3 w 200"/>
                    <a:gd name="T75" fmla="*/ 25 h 168"/>
                    <a:gd name="T76" fmla="*/ 0 w 200"/>
                    <a:gd name="T77" fmla="*/ 0 h 16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00"/>
                    <a:gd name="T118" fmla="*/ 0 h 168"/>
                    <a:gd name="T119" fmla="*/ 200 w 200"/>
                    <a:gd name="T120" fmla="*/ 168 h 16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00" h="168">
                      <a:moveTo>
                        <a:pt x="0" y="0"/>
                      </a:moveTo>
                      <a:lnTo>
                        <a:pt x="24" y="8"/>
                      </a:lnTo>
                      <a:lnTo>
                        <a:pt x="56" y="24"/>
                      </a:lnTo>
                      <a:lnTo>
                        <a:pt x="64" y="24"/>
                      </a:lnTo>
                      <a:lnTo>
                        <a:pt x="88" y="40"/>
                      </a:lnTo>
                      <a:lnTo>
                        <a:pt x="96" y="48"/>
                      </a:lnTo>
                      <a:lnTo>
                        <a:pt x="104" y="64"/>
                      </a:lnTo>
                      <a:lnTo>
                        <a:pt x="136" y="72"/>
                      </a:lnTo>
                      <a:lnTo>
                        <a:pt x="144" y="80"/>
                      </a:lnTo>
                      <a:lnTo>
                        <a:pt x="136" y="88"/>
                      </a:lnTo>
                      <a:lnTo>
                        <a:pt x="128" y="88"/>
                      </a:lnTo>
                      <a:lnTo>
                        <a:pt x="128" y="96"/>
                      </a:lnTo>
                      <a:lnTo>
                        <a:pt x="136" y="112"/>
                      </a:lnTo>
                      <a:lnTo>
                        <a:pt x="152" y="112"/>
                      </a:lnTo>
                      <a:lnTo>
                        <a:pt x="152" y="120"/>
                      </a:lnTo>
                      <a:lnTo>
                        <a:pt x="160" y="136"/>
                      </a:lnTo>
                      <a:lnTo>
                        <a:pt x="176" y="144"/>
                      </a:lnTo>
                      <a:lnTo>
                        <a:pt x="200" y="160"/>
                      </a:lnTo>
                      <a:lnTo>
                        <a:pt x="200" y="168"/>
                      </a:lnTo>
                      <a:lnTo>
                        <a:pt x="176" y="160"/>
                      </a:lnTo>
                      <a:lnTo>
                        <a:pt x="160" y="160"/>
                      </a:lnTo>
                      <a:lnTo>
                        <a:pt x="144" y="160"/>
                      </a:lnTo>
                      <a:lnTo>
                        <a:pt x="128" y="152"/>
                      </a:lnTo>
                      <a:lnTo>
                        <a:pt x="128" y="136"/>
                      </a:lnTo>
                      <a:lnTo>
                        <a:pt x="120" y="128"/>
                      </a:lnTo>
                      <a:lnTo>
                        <a:pt x="112" y="120"/>
                      </a:lnTo>
                      <a:lnTo>
                        <a:pt x="96" y="112"/>
                      </a:lnTo>
                      <a:lnTo>
                        <a:pt x="80" y="104"/>
                      </a:lnTo>
                      <a:lnTo>
                        <a:pt x="64" y="104"/>
                      </a:lnTo>
                      <a:lnTo>
                        <a:pt x="64" y="120"/>
                      </a:lnTo>
                      <a:lnTo>
                        <a:pt x="48" y="120"/>
                      </a:lnTo>
                      <a:lnTo>
                        <a:pt x="56" y="136"/>
                      </a:lnTo>
                      <a:lnTo>
                        <a:pt x="48" y="136"/>
                      </a:lnTo>
                      <a:lnTo>
                        <a:pt x="8" y="136"/>
                      </a:lnTo>
                      <a:lnTo>
                        <a:pt x="8" y="96"/>
                      </a:lnTo>
                      <a:lnTo>
                        <a:pt x="0" y="88"/>
                      </a:lnTo>
                      <a:lnTo>
                        <a:pt x="0" y="80"/>
                      </a:lnTo>
                      <a:lnTo>
                        <a:pt x="8" y="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68" name="Freeform 99">
                  <a:extLst>
                    <a:ext uri="{FF2B5EF4-FFF2-40B4-BE49-F238E27FC236}">
                      <a16:creationId xmlns:a16="http://schemas.microsoft.com/office/drawing/2014/main" id="{35C150BD-A2C5-B0C9-D3DC-2819EFA52DE5}"/>
                    </a:ext>
                  </a:extLst>
                </p:cNvPr>
                <p:cNvSpPr/>
                <p:nvPr/>
              </p:nvSpPr>
              <p:spPr bwMode="gray">
                <a:xfrm>
                  <a:off x="4747" y="2988"/>
                  <a:ext cx="17" cy="16"/>
                </a:xfrm>
                <a:custGeom>
                  <a:avLst/>
                  <a:gdLst>
                    <a:gd name="T0" fmla="*/ 6 w 24"/>
                    <a:gd name="T1" fmla="*/ 0 h 24"/>
                    <a:gd name="T2" fmla="*/ 9 w 24"/>
                    <a:gd name="T3" fmla="*/ 2 h 24"/>
                    <a:gd name="T4" fmla="*/ 9 w 24"/>
                    <a:gd name="T5" fmla="*/ 7 h 24"/>
                    <a:gd name="T6" fmla="*/ 0 w 24"/>
                    <a:gd name="T7" fmla="*/ 7 h 24"/>
                    <a:gd name="T8" fmla="*/ 0 w 24"/>
                    <a:gd name="T9" fmla="*/ 5 h 24"/>
                    <a:gd name="T10" fmla="*/ 3 w 24"/>
                    <a:gd name="T11" fmla="*/ 0 h 24"/>
                    <a:gd name="T12" fmla="*/ 6 w 2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16" y="0"/>
                      </a:move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8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69" name="Freeform 100">
                  <a:extLst>
                    <a:ext uri="{FF2B5EF4-FFF2-40B4-BE49-F238E27FC236}">
                      <a16:creationId xmlns:a16="http://schemas.microsoft.com/office/drawing/2014/main" id="{A7BAEDB2-866E-5E1A-50B5-DFA2171FE694}"/>
                    </a:ext>
                  </a:extLst>
                </p:cNvPr>
                <p:cNvSpPr/>
                <p:nvPr/>
              </p:nvSpPr>
              <p:spPr bwMode="gray">
                <a:xfrm>
                  <a:off x="4713" y="2892"/>
                  <a:ext cx="17" cy="11"/>
                </a:xfrm>
                <a:custGeom>
                  <a:avLst/>
                  <a:gdLst>
                    <a:gd name="T0" fmla="*/ 0 w 24"/>
                    <a:gd name="T1" fmla="*/ 0 h 16"/>
                    <a:gd name="T2" fmla="*/ 6 w 24"/>
                    <a:gd name="T3" fmla="*/ 6 h 16"/>
                    <a:gd name="T4" fmla="*/ 9 w 24"/>
                    <a:gd name="T5" fmla="*/ 6 h 16"/>
                    <a:gd name="T6" fmla="*/ 3 w 24"/>
                    <a:gd name="T7" fmla="*/ 0 h 16"/>
                    <a:gd name="T8" fmla="*/ 0 w 24"/>
                    <a:gd name="T9" fmla="*/ 0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"/>
                    <a:gd name="T16" fmla="*/ 0 h 16"/>
                    <a:gd name="T17" fmla="*/ 24 w 24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" h="16">
                      <a:moveTo>
                        <a:pt x="0" y="0"/>
                      </a:move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70" name="Freeform 101">
                  <a:extLst>
                    <a:ext uri="{FF2B5EF4-FFF2-40B4-BE49-F238E27FC236}">
                      <a16:creationId xmlns:a16="http://schemas.microsoft.com/office/drawing/2014/main" id="{F8204253-3F87-8427-3AD8-799135678936}"/>
                    </a:ext>
                  </a:extLst>
                </p:cNvPr>
                <p:cNvSpPr/>
                <p:nvPr/>
              </p:nvSpPr>
              <p:spPr bwMode="gray">
                <a:xfrm>
                  <a:off x="4899" y="2943"/>
                  <a:ext cx="56" cy="28"/>
                </a:xfrm>
                <a:custGeom>
                  <a:avLst/>
                  <a:gdLst>
                    <a:gd name="T0" fmla="*/ 25 w 80"/>
                    <a:gd name="T1" fmla="*/ 0 h 40"/>
                    <a:gd name="T2" fmla="*/ 22 w 80"/>
                    <a:gd name="T3" fmla="*/ 6 h 40"/>
                    <a:gd name="T4" fmla="*/ 17 w 80"/>
                    <a:gd name="T5" fmla="*/ 10 h 40"/>
                    <a:gd name="T6" fmla="*/ 10 w 80"/>
                    <a:gd name="T7" fmla="*/ 10 h 40"/>
                    <a:gd name="T8" fmla="*/ 6 w 80"/>
                    <a:gd name="T9" fmla="*/ 8 h 40"/>
                    <a:gd name="T10" fmla="*/ 0 w 80"/>
                    <a:gd name="T11" fmla="*/ 8 h 40"/>
                    <a:gd name="T12" fmla="*/ 0 w 80"/>
                    <a:gd name="T13" fmla="*/ 10 h 40"/>
                    <a:gd name="T14" fmla="*/ 6 w 80"/>
                    <a:gd name="T15" fmla="*/ 14 h 40"/>
                    <a:gd name="T16" fmla="*/ 14 w 80"/>
                    <a:gd name="T17" fmla="*/ 14 h 40"/>
                    <a:gd name="T18" fmla="*/ 25 w 80"/>
                    <a:gd name="T19" fmla="*/ 10 h 40"/>
                    <a:gd name="T20" fmla="*/ 27 w 80"/>
                    <a:gd name="T21" fmla="*/ 10 h 40"/>
                    <a:gd name="T22" fmla="*/ 27 w 80"/>
                    <a:gd name="T23" fmla="*/ 3 h 40"/>
                    <a:gd name="T24" fmla="*/ 27 w 80"/>
                    <a:gd name="T25" fmla="*/ 0 h 40"/>
                    <a:gd name="T26" fmla="*/ 25 w 80"/>
                    <a:gd name="T27" fmla="*/ 0 h 4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0"/>
                    <a:gd name="T43" fmla="*/ 0 h 40"/>
                    <a:gd name="T44" fmla="*/ 80 w 80"/>
                    <a:gd name="T45" fmla="*/ 40 h 4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0" h="40">
                      <a:moveTo>
                        <a:pt x="72" y="0"/>
                      </a:moveTo>
                      <a:lnTo>
                        <a:pt x="64" y="16"/>
                      </a:lnTo>
                      <a:lnTo>
                        <a:pt x="48" y="32"/>
                      </a:lnTo>
                      <a:lnTo>
                        <a:pt x="32" y="32"/>
                      </a:lnTo>
                      <a:lnTo>
                        <a:pt x="16" y="24"/>
                      </a:lnTo>
                      <a:lnTo>
                        <a:pt x="0" y="24"/>
                      </a:lnTo>
                      <a:lnTo>
                        <a:pt x="0" y="32"/>
                      </a:lnTo>
                      <a:lnTo>
                        <a:pt x="16" y="40"/>
                      </a:lnTo>
                      <a:lnTo>
                        <a:pt x="40" y="40"/>
                      </a:lnTo>
                      <a:lnTo>
                        <a:pt x="72" y="32"/>
                      </a:lnTo>
                      <a:lnTo>
                        <a:pt x="80" y="32"/>
                      </a:lnTo>
                      <a:lnTo>
                        <a:pt x="80" y="8"/>
                      </a:lnTo>
                      <a:lnTo>
                        <a:pt x="80" y="0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71" name="Freeform 102">
                  <a:extLst>
                    <a:ext uri="{FF2B5EF4-FFF2-40B4-BE49-F238E27FC236}">
                      <a16:creationId xmlns:a16="http://schemas.microsoft.com/office/drawing/2014/main" id="{473139B2-3974-1254-E328-2627CC98121E}"/>
                    </a:ext>
                  </a:extLst>
                </p:cNvPr>
                <p:cNvSpPr/>
                <p:nvPr/>
              </p:nvSpPr>
              <p:spPr bwMode="gray">
                <a:xfrm>
                  <a:off x="4922" y="2920"/>
                  <a:ext cx="45" cy="28"/>
                </a:xfrm>
                <a:custGeom>
                  <a:avLst/>
                  <a:gdLst>
                    <a:gd name="T0" fmla="*/ 3 w 64"/>
                    <a:gd name="T1" fmla="*/ 0 h 40"/>
                    <a:gd name="T2" fmla="*/ 6 w 64"/>
                    <a:gd name="T3" fmla="*/ 0 h 40"/>
                    <a:gd name="T4" fmla="*/ 11 w 64"/>
                    <a:gd name="T5" fmla="*/ 0 h 40"/>
                    <a:gd name="T6" fmla="*/ 14 w 64"/>
                    <a:gd name="T7" fmla="*/ 3 h 40"/>
                    <a:gd name="T8" fmla="*/ 19 w 64"/>
                    <a:gd name="T9" fmla="*/ 8 h 40"/>
                    <a:gd name="T10" fmla="*/ 23 w 64"/>
                    <a:gd name="T11" fmla="*/ 8 h 40"/>
                    <a:gd name="T12" fmla="*/ 23 w 64"/>
                    <a:gd name="T13" fmla="*/ 14 h 40"/>
                    <a:gd name="T14" fmla="*/ 19 w 64"/>
                    <a:gd name="T15" fmla="*/ 14 h 40"/>
                    <a:gd name="T16" fmla="*/ 17 w 64"/>
                    <a:gd name="T17" fmla="*/ 8 h 40"/>
                    <a:gd name="T18" fmla="*/ 14 w 64"/>
                    <a:gd name="T19" fmla="*/ 8 h 40"/>
                    <a:gd name="T20" fmla="*/ 11 w 64"/>
                    <a:gd name="T21" fmla="*/ 3 h 40"/>
                    <a:gd name="T22" fmla="*/ 6 w 64"/>
                    <a:gd name="T23" fmla="*/ 3 h 40"/>
                    <a:gd name="T24" fmla="*/ 0 w 64"/>
                    <a:gd name="T25" fmla="*/ 0 h 40"/>
                    <a:gd name="T26" fmla="*/ 3 w 64"/>
                    <a:gd name="T27" fmla="*/ 0 h 4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4"/>
                    <a:gd name="T43" fmla="*/ 0 h 40"/>
                    <a:gd name="T44" fmla="*/ 64 w 64"/>
                    <a:gd name="T45" fmla="*/ 40 h 4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4" h="40">
                      <a:moveTo>
                        <a:pt x="8" y="0"/>
                      </a:moveTo>
                      <a:lnTo>
                        <a:pt x="16" y="0"/>
                      </a:lnTo>
                      <a:lnTo>
                        <a:pt x="32" y="0"/>
                      </a:lnTo>
                      <a:lnTo>
                        <a:pt x="40" y="8"/>
                      </a:lnTo>
                      <a:lnTo>
                        <a:pt x="56" y="24"/>
                      </a:lnTo>
                      <a:lnTo>
                        <a:pt x="64" y="24"/>
                      </a:lnTo>
                      <a:lnTo>
                        <a:pt x="64" y="40"/>
                      </a:lnTo>
                      <a:lnTo>
                        <a:pt x="56" y="40"/>
                      </a:lnTo>
                      <a:lnTo>
                        <a:pt x="48" y="24"/>
                      </a:lnTo>
                      <a:lnTo>
                        <a:pt x="40" y="24"/>
                      </a:lnTo>
                      <a:lnTo>
                        <a:pt x="32" y="8"/>
                      </a:lnTo>
                      <a:lnTo>
                        <a:pt x="16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72" name="Freeform 103">
                  <a:extLst>
                    <a:ext uri="{FF2B5EF4-FFF2-40B4-BE49-F238E27FC236}">
                      <a16:creationId xmlns:a16="http://schemas.microsoft.com/office/drawing/2014/main" id="{30C37B74-2B40-0D0D-F347-9A627132BDD9}"/>
                    </a:ext>
                  </a:extLst>
                </p:cNvPr>
                <p:cNvSpPr/>
                <p:nvPr/>
              </p:nvSpPr>
              <p:spPr bwMode="gray">
                <a:xfrm>
                  <a:off x="4989" y="2959"/>
                  <a:ext cx="17" cy="23"/>
                </a:xfrm>
                <a:custGeom>
                  <a:avLst/>
                  <a:gdLst>
                    <a:gd name="T0" fmla="*/ 0 w 24"/>
                    <a:gd name="T1" fmla="*/ 3 h 32"/>
                    <a:gd name="T2" fmla="*/ 3 w 24"/>
                    <a:gd name="T3" fmla="*/ 0 h 32"/>
                    <a:gd name="T4" fmla="*/ 9 w 24"/>
                    <a:gd name="T5" fmla="*/ 6 h 32"/>
                    <a:gd name="T6" fmla="*/ 9 w 24"/>
                    <a:gd name="T7" fmla="*/ 9 h 32"/>
                    <a:gd name="T8" fmla="*/ 9 w 24"/>
                    <a:gd name="T9" fmla="*/ 12 h 32"/>
                    <a:gd name="T10" fmla="*/ 6 w 24"/>
                    <a:gd name="T11" fmla="*/ 9 h 32"/>
                    <a:gd name="T12" fmla="*/ 3 w 24"/>
                    <a:gd name="T13" fmla="*/ 3 h 32"/>
                    <a:gd name="T14" fmla="*/ 0 w 24"/>
                    <a:gd name="T15" fmla="*/ 3 h 3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32"/>
                    <a:gd name="T26" fmla="*/ 24 w 24"/>
                    <a:gd name="T27" fmla="*/ 32 h 3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32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24" y="16"/>
                      </a:lnTo>
                      <a:lnTo>
                        <a:pt x="24" y="24"/>
                      </a:lnTo>
                      <a:lnTo>
                        <a:pt x="24" y="32"/>
                      </a:lnTo>
                      <a:lnTo>
                        <a:pt x="16" y="24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73" name="Freeform 104">
                  <a:extLst>
                    <a:ext uri="{FF2B5EF4-FFF2-40B4-BE49-F238E27FC236}">
                      <a16:creationId xmlns:a16="http://schemas.microsoft.com/office/drawing/2014/main" id="{4DFD6D0F-8E60-C31C-B0BB-BAE3648E41FF}"/>
                    </a:ext>
                  </a:extLst>
                </p:cNvPr>
                <p:cNvSpPr/>
                <p:nvPr/>
              </p:nvSpPr>
              <p:spPr bwMode="gray">
                <a:xfrm>
                  <a:off x="5017" y="2976"/>
                  <a:ext cx="12" cy="12"/>
                </a:xfrm>
                <a:custGeom>
                  <a:avLst/>
                  <a:gdLst>
                    <a:gd name="T0" fmla="*/ 0 w 16"/>
                    <a:gd name="T1" fmla="*/ 4 h 16"/>
                    <a:gd name="T2" fmla="*/ 0 w 16"/>
                    <a:gd name="T3" fmla="*/ 0 h 16"/>
                    <a:gd name="T4" fmla="*/ 4 w 16"/>
                    <a:gd name="T5" fmla="*/ 0 h 16"/>
                    <a:gd name="T6" fmla="*/ 7 w 16"/>
                    <a:gd name="T7" fmla="*/ 7 h 16"/>
                    <a:gd name="T8" fmla="*/ 0 w 16"/>
                    <a:gd name="T9" fmla="*/ 4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6"/>
                    <a:gd name="T17" fmla="*/ 16 w 16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6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74" name="Freeform 105">
                  <a:extLst>
                    <a:ext uri="{FF2B5EF4-FFF2-40B4-BE49-F238E27FC236}">
                      <a16:creationId xmlns:a16="http://schemas.microsoft.com/office/drawing/2014/main" id="{44C4040E-C3E0-1528-4056-D53EC49E0233}"/>
                    </a:ext>
                  </a:extLst>
                </p:cNvPr>
                <p:cNvSpPr/>
                <p:nvPr/>
              </p:nvSpPr>
              <p:spPr bwMode="gray">
                <a:xfrm>
                  <a:off x="5045" y="2988"/>
                  <a:ext cx="23" cy="16"/>
                </a:xfrm>
                <a:custGeom>
                  <a:avLst/>
                  <a:gdLst>
                    <a:gd name="T0" fmla="*/ 0 w 32"/>
                    <a:gd name="T1" fmla="*/ 5 h 24"/>
                    <a:gd name="T2" fmla="*/ 0 w 32"/>
                    <a:gd name="T3" fmla="*/ 2 h 24"/>
                    <a:gd name="T4" fmla="*/ 0 w 32"/>
                    <a:gd name="T5" fmla="*/ 0 h 24"/>
                    <a:gd name="T6" fmla="*/ 9 w 32"/>
                    <a:gd name="T7" fmla="*/ 5 h 24"/>
                    <a:gd name="T8" fmla="*/ 12 w 32"/>
                    <a:gd name="T9" fmla="*/ 7 h 24"/>
                    <a:gd name="T10" fmla="*/ 9 w 32"/>
                    <a:gd name="T11" fmla="*/ 7 h 24"/>
                    <a:gd name="T12" fmla="*/ 0 w 32"/>
                    <a:gd name="T13" fmla="*/ 5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24"/>
                    <a:gd name="T23" fmla="*/ 32 w 32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24">
                      <a:moveTo>
                        <a:pt x="0" y="16"/>
                      </a:move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24" y="24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75" name="Freeform 106">
                  <a:extLst>
                    <a:ext uri="{FF2B5EF4-FFF2-40B4-BE49-F238E27FC236}">
                      <a16:creationId xmlns:a16="http://schemas.microsoft.com/office/drawing/2014/main" id="{7EFFE8E9-B902-A87F-B588-60FC4B3DC4C0}"/>
                    </a:ext>
                  </a:extLst>
                </p:cNvPr>
                <p:cNvSpPr/>
                <p:nvPr/>
              </p:nvSpPr>
              <p:spPr bwMode="gray">
                <a:xfrm>
                  <a:off x="5074" y="3004"/>
                  <a:ext cx="16" cy="17"/>
                </a:xfrm>
                <a:custGeom>
                  <a:avLst/>
                  <a:gdLst>
                    <a:gd name="T0" fmla="*/ 2 w 24"/>
                    <a:gd name="T1" fmla="*/ 6 h 24"/>
                    <a:gd name="T2" fmla="*/ 0 w 24"/>
                    <a:gd name="T3" fmla="*/ 3 h 24"/>
                    <a:gd name="T4" fmla="*/ 2 w 24"/>
                    <a:gd name="T5" fmla="*/ 0 h 24"/>
                    <a:gd name="T6" fmla="*/ 5 w 24"/>
                    <a:gd name="T7" fmla="*/ 0 h 24"/>
                    <a:gd name="T8" fmla="*/ 7 w 24"/>
                    <a:gd name="T9" fmla="*/ 9 h 24"/>
                    <a:gd name="T10" fmla="*/ 5 w 24"/>
                    <a:gd name="T11" fmla="*/ 9 h 24"/>
                    <a:gd name="T12" fmla="*/ 2 w 24"/>
                    <a:gd name="T13" fmla="*/ 6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8" y="16"/>
                      </a:move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76" name="Freeform 107">
                  <a:extLst>
                    <a:ext uri="{FF2B5EF4-FFF2-40B4-BE49-F238E27FC236}">
                      <a16:creationId xmlns:a16="http://schemas.microsoft.com/office/drawing/2014/main" id="{3FAA8CDE-C38E-B3C7-E394-52BE0FB12CDC}"/>
                    </a:ext>
                  </a:extLst>
                </p:cNvPr>
                <p:cNvSpPr/>
                <p:nvPr/>
              </p:nvSpPr>
              <p:spPr bwMode="gray">
                <a:xfrm>
                  <a:off x="5164" y="3100"/>
                  <a:ext cx="5" cy="11"/>
                </a:xfrm>
                <a:custGeom>
                  <a:avLst/>
                  <a:gdLst>
                    <a:gd name="T0" fmla="*/ 2 w 8"/>
                    <a:gd name="T1" fmla="*/ 6 h 16"/>
                    <a:gd name="T2" fmla="*/ 2 w 8"/>
                    <a:gd name="T3" fmla="*/ 0 h 16"/>
                    <a:gd name="T4" fmla="*/ 0 w 8"/>
                    <a:gd name="T5" fmla="*/ 0 h 16"/>
                    <a:gd name="T6" fmla="*/ 0 w 8"/>
                    <a:gd name="T7" fmla="*/ 3 h 16"/>
                    <a:gd name="T8" fmla="*/ 0 w 8"/>
                    <a:gd name="T9" fmla="*/ 6 h 16"/>
                    <a:gd name="T10" fmla="*/ 2 w 8"/>
                    <a:gd name="T11" fmla="*/ 6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16"/>
                    <a:gd name="T20" fmla="*/ 8 w 8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16">
                      <a:moveTo>
                        <a:pt x="8" y="16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77" name="Freeform 108">
                  <a:extLst>
                    <a:ext uri="{FF2B5EF4-FFF2-40B4-BE49-F238E27FC236}">
                      <a16:creationId xmlns:a16="http://schemas.microsoft.com/office/drawing/2014/main" id="{CDD1C8DB-1F9D-2810-7813-EB10D21338D3}"/>
                    </a:ext>
                  </a:extLst>
                </p:cNvPr>
                <p:cNvSpPr/>
                <p:nvPr/>
              </p:nvSpPr>
              <p:spPr bwMode="gray">
                <a:xfrm>
                  <a:off x="5169" y="3117"/>
                  <a:ext cx="11" cy="6"/>
                </a:xfrm>
                <a:custGeom>
                  <a:avLst/>
                  <a:gdLst>
                    <a:gd name="T0" fmla="*/ 0 w 16"/>
                    <a:gd name="T1" fmla="*/ 0 h 8"/>
                    <a:gd name="T2" fmla="*/ 3 w 16"/>
                    <a:gd name="T3" fmla="*/ 0 h 8"/>
                    <a:gd name="T4" fmla="*/ 6 w 16"/>
                    <a:gd name="T5" fmla="*/ 0 h 8"/>
                    <a:gd name="T6" fmla="*/ 6 w 16"/>
                    <a:gd name="T7" fmla="*/ 4 h 8"/>
                    <a:gd name="T8" fmla="*/ 0 w 16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78" name="Freeform 109">
                  <a:extLst>
                    <a:ext uri="{FF2B5EF4-FFF2-40B4-BE49-F238E27FC236}">
                      <a16:creationId xmlns:a16="http://schemas.microsoft.com/office/drawing/2014/main" id="{301E7517-2F8E-9E01-5069-92CBFCA146E9}"/>
                    </a:ext>
                  </a:extLst>
                </p:cNvPr>
                <p:cNvSpPr/>
                <p:nvPr/>
              </p:nvSpPr>
              <p:spPr bwMode="gray">
                <a:xfrm>
                  <a:off x="5130" y="3179"/>
                  <a:ext cx="39" cy="28"/>
                </a:xfrm>
                <a:custGeom>
                  <a:avLst/>
                  <a:gdLst>
                    <a:gd name="T0" fmla="*/ 0 w 56"/>
                    <a:gd name="T1" fmla="*/ 0 h 40"/>
                    <a:gd name="T2" fmla="*/ 3 w 56"/>
                    <a:gd name="T3" fmla="*/ 3 h 40"/>
                    <a:gd name="T4" fmla="*/ 6 w 56"/>
                    <a:gd name="T5" fmla="*/ 3 h 40"/>
                    <a:gd name="T6" fmla="*/ 8 w 56"/>
                    <a:gd name="T7" fmla="*/ 6 h 40"/>
                    <a:gd name="T8" fmla="*/ 10 w 56"/>
                    <a:gd name="T9" fmla="*/ 8 h 40"/>
                    <a:gd name="T10" fmla="*/ 16 w 56"/>
                    <a:gd name="T11" fmla="*/ 10 h 40"/>
                    <a:gd name="T12" fmla="*/ 19 w 56"/>
                    <a:gd name="T13" fmla="*/ 14 h 40"/>
                    <a:gd name="T14" fmla="*/ 16 w 56"/>
                    <a:gd name="T15" fmla="*/ 14 h 40"/>
                    <a:gd name="T16" fmla="*/ 14 w 56"/>
                    <a:gd name="T17" fmla="*/ 14 h 40"/>
                    <a:gd name="T18" fmla="*/ 6 w 56"/>
                    <a:gd name="T19" fmla="*/ 8 h 40"/>
                    <a:gd name="T20" fmla="*/ 3 w 56"/>
                    <a:gd name="T21" fmla="*/ 8 h 40"/>
                    <a:gd name="T22" fmla="*/ 0 w 56"/>
                    <a:gd name="T23" fmla="*/ 6 h 40"/>
                    <a:gd name="T24" fmla="*/ 0 w 56"/>
                    <a:gd name="T25" fmla="*/ 3 h 40"/>
                    <a:gd name="T26" fmla="*/ 0 w 56"/>
                    <a:gd name="T27" fmla="*/ 3 h 40"/>
                    <a:gd name="T28" fmla="*/ 0 w 56"/>
                    <a:gd name="T29" fmla="*/ 0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6"/>
                    <a:gd name="T46" fmla="*/ 0 h 40"/>
                    <a:gd name="T47" fmla="*/ 56 w 56"/>
                    <a:gd name="T48" fmla="*/ 40 h 4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6" h="40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48" y="32"/>
                      </a:lnTo>
                      <a:lnTo>
                        <a:pt x="56" y="40"/>
                      </a:lnTo>
                      <a:lnTo>
                        <a:pt x="48" y="40"/>
                      </a:lnTo>
                      <a:lnTo>
                        <a:pt x="40" y="40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79" name="Freeform 110">
                  <a:extLst>
                    <a:ext uri="{FF2B5EF4-FFF2-40B4-BE49-F238E27FC236}">
                      <a16:creationId xmlns:a16="http://schemas.microsoft.com/office/drawing/2014/main" id="{C2E6118A-C176-CF11-20F1-E86195F2C3BC}"/>
                    </a:ext>
                  </a:extLst>
                </p:cNvPr>
                <p:cNvSpPr/>
                <p:nvPr/>
              </p:nvSpPr>
              <p:spPr bwMode="gray">
                <a:xfrm>
                  <a:off x="5316" y="3134"/>
                  <a:ext cx="16" cy="17"/>
                </a:xfrm>
                <a:custGeom>
                  <a:avLst/>
                  <a:gdLst>
                    <a:gd name="T0" fmla="*/ 2 w 24"/>
                    <a:gd name="T1" fmla="*/ 9 h 24"/>
                    <a:gd name="T2" fmla="*/ 7 w 24"/>
                    <a:gd name="T3" fmla="*/ 6 h 24"/>
                    <a:gd name="T4" fmla="*/ 7 w 24"/>
                    <a:gd name="T5" fmla="*/ 3 h 24"/>
                    <a:gd name="T6" fmla="*/ 7 w 24"/>
                    <a:gd name="T7" fmla="*/ 0 h 24"/>
                    <a:gd name="T8" fmla="*/ 0 w 24"/>
                    <a:gd name="T9" fmla="*/ 3 h 24"/>
                    <a:gd name="T10" fmla="*/ 0 w 24"/>
                    <a:gd name="T11" fmla="*/ 6 h 24"/>
                    <a:gd name="T12" fmla="*/ 2 w 24"/>
                    <a:gd name="T13" fmla="*/ 9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8" y="24"/>
                      </a:move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80" name="Freeform 111">
                  <a:extLst>
                    <a:ext uri="{FF2B5EF4-FFF2-40B4-BE49-F238E27FC236}">
                      <a16:creationId xmlns:a16="http://schemas.microsoft.com/office/drawing/2014/main" id="{259A43B9-9435-F472-4A19-1E0F361661D9}"/>
                    </a:ext>
                  </a:extLst>
                </p:cNvPr>
                <p:cNvSpPr/>
                <p:nvPr/>
              </p:nvSpPr>
              <p:spPr bwMode="gray">
                <a:xfrm>
                  <a:off x="5332" y="3117"/>
                  <a:ext cx="23" cy="11"/>
                </a:xfrm>
                <a:custGeom>
                  <a:avLst/>
                  <a:gdLst>
                    <a:gd name="T0" fmla="*/ 3 w 32"/>
                    <a:gd name="T1" fmla="*/ 6 h 16"/>
                    <a:gd name="T2" fmla="*/ 12 w 32"/>
                    <a:gd name="T3" fmla="*/ 0 h 16"/>
                    <a:gd name="T4" fmla="*/ 9 w 32"/>
                    <a:gd name="T5" fmla="*/ 0 h 16"/>
                    <a:gd name="T6" fmla="*/ 6 w 32"/>
                    <a:gd name="T7" fmla="*/ 0 h 16"/>
                    <a:gd name="T8" fmla="*/ 0 w 32"/>
                    <a:gd name="T9" fmla="*/ 3 h 16"/>
                    <a:gd name="T10" fmla="*/ 3 w 32"/>
                    <a:gd name="T11" fmla="*/ 6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16"/>
                    <a:gd name="T20" fmla="*/ 32 w 32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16">
                      <a:moveTo>
                        <a:pt x="8" y="16"/>
                      </a:move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81" name="Freeform 112">
                  <a:extLst>
                    <a:ext uri="{FF2B5EF4-FFF2-40B4-BE49-F238E27FC236}">
                      <a16:creationId xmlns:a16="http://schemas.microsoft.com/office/drawing/2014/main" id="{6FDB3EF3-625C-47BF-B655-63ABA73AC7EF}"/>
                    </a:ext>
                  </a:extLst>
                </p:cNvPr>
                <p:cNvSpPr/>
                <p:nvPr/>
              </p:nvSpPr>
              <p:spPr bwMode="gray">
                <a:xfrm>
                  <a:off x="5254" y="3404"/>
                  <a:ext cx="78" cy="129"/>
                </a:xfrm>
                <a:custGeom>
                  <a:avLst/>
                  <a:gdLst>
                    <a:gd name="T0" fmla="*/ 3 w 112"/>
                    <a:gd name="T1" fmla="*/ 8 h 184"/>
                    <a:gd name="T2" fmla="*/ 0 w 112"/>
                    <a:gd name="T3" fmla="*/ 3 h 184"/>
                    <a:gd name="T4" fmla="*/ 0 w 112"/>
                    <a:gd name="T5" fmla="*/ 0 h 184"/>
                    <a:gd name="T6" fmla="*/ 8 w 112"/>
                    <a:gd name="T7" fmla="*/ 8 h 184"/>
                    <a:gd name="T8" fmla="*/ 14 w 112"/>
                    <a:gd name="T9" fmla="*/ 11 h 184"/>
                    <a:gd name="T10" fmla="*/ 14 w 112"/>
                    <a:gd name="T11" fmla="*/ 14 h 184"/>
                    <a:gd name="T12" fmla="*/ 16 w 112"/>
                    <a:gd name="T13" fmla="*/ 19 h 184"/>
                    <a:gd name="T14" fmla="*/ 19 w 112"/>
                    <a:gd name="T15" fmla="*/ 22 h 184"/>
                    <a:gd name="T16" fmla="*/ 19 w 112"/>
                    <a:gd name="T17" fmla="*/ 19 h 184"/>
                    <a:gd name="T18" fmla="*/ 22 w 112"/>
                    <a:gd name="T19" fmla="*/ 22 h 184"/>
                    <a:gd name="T20" fmla="*/ 22 w 112"/>
                    <a:gd name="T21" fmla="*/ 27 h 184"/>
                    <a:gd name="T22" fmla="*/ 27 w 112"/>
                    <a:gd name="T23" fmla="*/ 30 h 184"/>
                    <a:gd name="T24" fmla="*/ 33 w 112"/>
                    <a:gd name="T25" fmla="*/ 30 h 184"/>
                    <a:gd name="T26" fmla="*/ 35 w 112"/>
                    <a:gd name="T27" fmla="*/ 25 h 184"/>
                    <a:gd name="T28" fmla="*/ 38 w 112"/>
                    <a:gd name="T29" fmla="*/ 25 h 184"/>
                    <a:gd name="T30" fmla="*/ 38 w 112"/>
                    <a:gd name="T31" fmla="*/ 30 h 184"/>
                    <a:gd name="T32" fmla="*/ 38 w 112"/>
                    <a:gd name="T33" fmla="*/ 33 h 184"/>
                    <a:gd name="T34" fmla="*/ 35 w 112"/>
                    <a:gd name="T35" fmla="*/ 41 h 184"/>
                    <a:gd name="T36" fmla="*/ 33 w 112"/>
                    <a:gd name="T37" fmla="*/ 41 h 184"/>
                    <a:gd name="T38" fmla="*/ 27 w 112"/>
                    <a:gd name="T39" fmla="*/ 41 h 184"/>
                    <a:gd name="T40" fmla="*/ 27 w 112"/>
                    <a:gd name="T41" fmla="*/ 44 h 184"/>
                    <a:gd name="T42" fmla="*/ 29 w 112"/>
                    <a:gd name="T43" fmla="*/ 47 h 184"/>
                    <a:gd name="T44" fmla="*/ 27 w 112"/>
                    <a:gd name="T45" fmla="*/ 50 h 184"/>
                    <a:gd name="T46" fmla="*/ 22 w 112"/>
                    <a:gd name="T47" fmla="*/ 60 h 184"/>
                    <a:gd name="T48" fmla="*/ 16 w 112"/>
                    <a:gd name="T49" fmla="*/ 63 h 184"/>
                    <a:gd name="T50" fmla="*/ 10 w 112"/>
                    <a:gd name="T51" fmla="*/ 60 h 184"/>
                    <a:gd name="T52" fmla="*/ 16 w 112"/>
                    <a:gd name="T53" fmla="*/ 58 h 184"/>
                    <a:gd name="T54" fmla="*/ 16 w 112"/>
                    <a:gd name="T55" fmla="*/ 53 h 184"/>
                    <a:gd name="T56" fmla="*/ 10 w 112"/>
                    <a:gd name="T57" fmla="*/ 47 h 184"/>
                    <a:gd name="T58" fmla="*/ 8 w 112"/>
                    <a:gd name="T59" fmla="*/ 44 h 184"/>
                    <a:gd name="T60" fmla="*/ 8 w 112"/>
                    <a:gd name="T61" fmla="*/ 41 h 184"/>
                    <a:gd name="T62" fmla="*/ 14 w 112"/>
                    <a:gd name="T63" fmla="*/ 39 h 184"/>
                    <a:gd name="T64" fmla="*/ 14 w 112"/>
                    <a:gd name="T65" fmla="*/ 33 h 184"/>
                    <a:gd name="T66" fmla="*/ 10 w 112"/>
                    <a:gd name="T67" fmla="*/ 25 h 184"/>
                    <a:gd name="T68" fmla="*/ 8 w 112"/>
                    <a:gd name="T69" fmla="*/ 17 h 184"/>
                    <a:gd name="T70" fmla="*/ 3 w 112"/>
                    <a:gd name="T71" fmla="*/ 8 h 184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12"/>
                    <a:gd name="T109" fmla="*/ 0 h 184"/>
                    <a:gd name="T110" fmla="*/ 112 w 112"/>
                    <a:gd name="T111" fmla="*/ 184 h 184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12" h="184">
                      <a:moveTo>
                        <a:pt x="8" y="24"/>
                      </a:move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24" y="24"/>
                      </a:lnTo>
                      <a:lnTo>
                        <a:pt x="40" y="32"/>
                      </a:lnTo>
                      <a:lnTo>
                        <a:pt x="40" y="40"/>
                      </a:lnTo>
                      <a:lnTo>
                        <a:pt x="48" y="56"/>
                      </a:lnTo>
                      <a:lnTo>
                        <a:pt x="56" y="64"/>
                      </a:lnTo>
                      <a:lnTo>
                        <a:pt x="56" y="56"/>
                      </a:lnTo>
                      <a:lnTo>
                        <a:pt x="64" y="64"/>
                      </a:lnTo>
                      <a:lnTo>
                        <a:pt x="64" y="80"/>
                      </a:lnTo>
                      <a:lnTo>
                        <a:pt x="80" y="88"/>
                      </a:lnTo>
                      <a:lnTo>
                        <a:pt x="96" y="88"/>
                      </a:lnTo>
                      <a:lnTo>
                        <a:pt x="104" y="72"/>
                      </a:lnTo>
                      <a:lnTo>
                        <a:pt x="112" y="72"/>
                      </a:lnTo>
                      <a:lnTo>
                        <a:pt x="112" y="88"/>
                      </a:lnTo>
                      <a:lnTo>
                        <a:pt x="112" y="96"/>
                      </a:lnTo>
                      <a:lnTo>
                        <a:pt x="104" y="120"/>
                      </a:lnTo>
                      <a:lnTo>
                        <a:pt x="96" y="120"/>
                      </a:lnTo>
                      <a:lnTo>
                        <a:pt x="80" y="120"/>
                      </a:lnTo>
                      <a:lnTo>
                        <a:pt x="80" y="128"/>
                      </a:lnTo>
                      <a:lnTo>
                        <a:pt x="88" y="136"/>
                      </a:lnTo>
                      <a:lnTo>
                        <a:pt x="80" y="144"/>
                      </a:lnTo>
                      <a:lnTo>
                        <a:pt x="64" y="176"/>
                      </a:lnTo>
                      <a:lnTo>
                        <a:pt x="48" y="184"/>
                      </a:lnTo>
                      <a:lnTo>
                        <a:pt x="32" y="176"/>
                      </a:lnTo>
                      <a:lnTo>
                        <a:pt x="48" y="168"/>
                      </a:lnTo>
                      <a:lnTo>
                        <a:pt x="48" y="152"/>
                      </a:lnTo>
                      <a:lnTo>
                        <a:pt x="32" y="136"/>
                      </a:lnTo>
                      <a:lnTo>
                        <a:pt x="24" y="128"/>
                      </a:lnTo>
                      <a:lnTo>
                        <a:pt x="24" y="120"/>
                      </a:lnTo>
                      <a:lnTo>
                        <a:pt x="40" y="112"/>
                      </a:lnTo>
                      <a:lnTo>
                        <a:pt x="40" y="96"/>
                      </a:lnTo>
                      <a:lnTo>
                        <a:pt x="32" y="72"/>
                      </a:lnTo>
                      <a:lnTo>
                        <a:pt x="24" y="48"/>
                      </a:lnTo>
                      <a:lnTo>
                        <a:pt x="8" y="24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82" name="Freeform 113">
                  <a:extLst>
                    <a:ext uri="{FF2B5EF4-FFF2-40B4-BE49-F238E27FC236}">
                      <a16:creationId xmlns:a16="http://schemas.microsoft.com/office/drawing/2014/main" id="{D5544B86-4821-D858-A592-4EBEC13231AF}"/>
                    </a:ext>
                  </a:extLst>
                </p:cNvPr>
                <p:cNvSpPr/>
                <p:nvPr/>
              </p:nvSpPr>
              <p:spPr bwMode="gray">
                <a:xfrm>
                  <a:off x="5164" y="3516"/>
                  <a:ext cx="107" cy="119"/>
                </a:xfrm>
                <a:custGeom>
                  <a:avLst/>
                  <a:gdLst>
                    <a:gd name="T0" fmla="*/ 44 w 152"/>
                    <a:gd name="T1" fmla="*/ 3 h 168"/>
                    <a:gd name="T2" fmla="*/ 44 w 152"/>
                    <a:gd name="T3" fmla="*/ 6 h 168"/>
                    <a:gd name="T4" fmla="*/ 48 w 152"/>
                    <a:gd name="T5" fmla="*/ 6 h 168"/>
                    <a:gd name="T6" fmla="*/ 50 w 152"/>
                    <a:gd name="T7" fmla="*/ 3 h 168"/>
                    <a:gd name="T8" fmla="*/ 53 w 152"/>
                    <a:gd name="T9" fmla="*/ 6 h 168"/>
                    <a:gd name="T10" fmla="*/ 53 w 152"/>
                    <a:gd name="T11" fmla="*/ 14 h 168"/>
                    <a:gd name="T12" fmla="*/ 48 w 152"/>
                    <a:gd name="T13" fmla="*/ 23 h 168"/>
                    <a:gd name="T14" fmla="*/ 44 w 152"/>
                    <a:gd name="T15" fmla="*/ 26 h 168"/>
                    <a:gd name="T16" fmla="*/ 44 w 152"/>
                    <a:gd name="T17" fmla="*/ 31 h 168"/>
                    <a:gd name="T18" fmla="*/ 36 w 152"/>
                    <a:gd name="T19" fmla="*/ 31 h 168"/>
                    <a:gd name="T20" fmla="*/ 34 w 152"/>
                    <a:gd name="T21" fmla="*/ 37 h 168"/>
                    <a:gd name="T22" fmla="*/ 27 w 152"/>
                    <a:gd name="T23" fmla="*/ 48 h 168"/>
                    <a:gd name="T24" fmla="*/ 19 w 152"/>
                    <a:gd name="T25" fmla="*/ 60 h 168"/>
                    <a:gd name="T26" fmla="*/ 8 w 152"/>
                    <a:gd name="T27" fmla="*/ 55 h 168"/>
                    <a:gd name="T28" fmla="*/ 3 w 152"/>
                    <a:gd name="T29" fmla="*/ 55 h 168"/>
                    <a:gd name="T30" fmla="*/ 0 w 152"/>
                    <a:gd name="T31" fmla="*/ 51 h 168"/>
                    <a:gd name="T32" fmla="*/ 6 w 152"/>
                    <a:gd name="T33" fmla="*/ 42 h 168"/>
                    <a:gd name="T34" fmla="*/ 8 w 152"/>
                    <a:gd name="T35" fmla="*/ 37 h 168"/>
                    <a:gd name="T36" fmla="*/ 17 w 152"/>
                    <a:gd name="T37" fmla="*/ 31 h 168"/>
                    <a:gd name="T38" fmla="*/ 23 w 152"/>
                    <a:gd name="T39" fmla="*/ 26 h 168"/>
                    <a:gd name="T40" fmla="*/ 31 w 152"/>
                    <a:gd name="T41" fmla="*/ 20 h 168"/>
                    <a:gd name="T42" fmla="*/ 34 w 152"/>
                    <a:gd name="T43" fmla="*/ 17 h 168"/>
                    <a:gd name="T44" fmla="*/ 34 w 152"/>
                    <a:gd name="T45" fmla="*/ 11 h 168"/>
                    <a:gd name="T46" fmla="*/ 39 w 152"/>
                    <a:gd name="T47" fmla="*/ 6 h 168"/>
                    <a:gd name="T48" fmla="*/ 39 w 152"/>
                    <a:gd name="T49" fmla="*/ 0 h 168"/>
                    <a:gd name="T50" fmla="*/ 44 w 152"/>
                    <a:gd name="T51" fmla="*/ 0 h 168"/>
                    <a:gd name="T52" fmla="*/ 44 w 152"/>
                    <a:gd name="T53" fmla="*/ 3 h 168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52"/>
                    <a:gd name="T82" fmla="*/ 0 h 168"/>
                    <a:gd name="T83" fmla="*/ 152 w 152"/>
                    <a:gd name="T84" fmla="*/ 168 h 168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52" h="168">
                      <a:moveTo>
                        <a:pt x="128" y="8"/>
                      </a:moveTo>
                      <a:lnTo>
                        <a:pt x="128" y="16"/>
                      </a:lnTo>
                      <a:lnTo>
                        <a:pt x="136" y="16"/>
                      </a:lnTo>
                      <a:lnTo>
                        <a:pt x="144" y="8"/>
                      </a:lnTo>
                      <a:lnTo>
                        <a:pt x="152" y="16"/>
                      </a:lnTo>
                      <a:lnTo>
                        <a:pt x="152" y="40"/>
                      </a:lnTo>
                      <a:lnTo>
                        <a:pt x="136" y="64"/>
                      </a:lnTo>
                      <a:lnTo>
                        <a:pt x="128" y="72"/>
                      </a:lnTo>
                      <a:lnTo>
                        <a:pt x="128" y="88"/>
                      </a:lnTo>
                      <a:lnTo>
                        <a:pt x="104" y="88"/>
                      </a:lnTo>
                      <a:lnTo>
                        <a:pt x="96" y="104"/>
                      </a:lnTo>
                      <a:lnTo>
                        <a:pt x="80" y="136"/>
                      </a:lnTo>
                      <a:lnTo>
                        <a:pt x="56" y="168"/>
                      </a:lnTo>
                      <a:lnTo>
                        <a:pt x="24" y="152"/>
                      </a:lnTo>
                      <a:lnTo>
                        <a:pt x="8" y="152"/>
                      </a:lnTo>
                      <a:lnTo>
                        <a:pt x="0" y="144"/>
                      </a:lnTo>
                      <a:lnTo>
                        <a:pt x="16" y="120"/>
                      </a:lnTo>
                      <a:lnTo>
                        <a:pt x="24" y="104"/>
                      </a:lnTo>
                      <a:lnTo>
                        <a:pt x="48" y="88"/>
                      </a:lnTo>
                      <a:lnTo>
                        <a:pt x="64" y="72"/>
                      </a:lnTo>
                      <a:lnTo>
                        <a:pt x="88" y="56"/>
                      </a:lnTo>
                      <a:lnTo>
                        <a:pt x="96" y="48"/>
                      </a:lnTo>
                      <a:lnTo>
                        <a:pt x="96" y="32"/>
                      </a:lnTo>
                      <a:lnTo>
                        <a:pt x="112" y="16"/>
                      </a:lnTo>
                      <a:lnTo>
                        <a:pt x="112" y="0"/>
                      </a:lnTo>
                      <a:lnTo>
                        <a:pt x="128" y="0"/>
                      </a:lnTo>
                      <a:lnTo>
                        <a:pt x="128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83" name="Freeform 114">
                  <a:extLst>
                    <a:ext uri="{FF2B5EF4-FFF2-40B4-BE49-F238E27FC236}">
                      <a16:creationId xmlns:a16="http://schemas.microsoft.com/office/drawing/2014/main" id="{9374941D-059F-D556-C3D9-1CE3D133816A}"/>
                    </a:ext>
                  </a:extLst>
                </p:cNvPr>
                <p:cNvSpPr/>
                <p:nvPr/>
              </p:nvSpPr>
              <p:spPr bwMode="gray">
                <a:xfrm>
                  <a:off x="4387" y="3038"/>
                  <a:ext cx="591" cy="456"/>
                </a:xfrm>
                <a:custGeom>
                  <a:avLst/>
                  <a:gdLst>
                    <a:gd name="T0" fmla="*/ 265 w 840"/>
                    <a:gd name="T1" fmla="*/ 209 h 648"/>
                    <a:gd name="T2" fmla="*/ 270 w 840"/>
                    <a:gd name="T3" fmla="*/ 186 h 648"/>
                    <a:gd name="T4" fmla="*/ 287 w 840"/>
                    <a:gd name="T5" fmla="*/ 162 h 648"/>
                    <a:gd name="T6" fmla="*/ 287 w 840"/>
                    <a:gd name="T7" fmla="*/ 148 h 648"/>
                    <a:gd name="T8" fmla="*/ 290 w 840"/>
                    <a:gd name="T9" fmla="*/ 125 h 648"/>
                    <a:gd name="T10" fmla="*/ 287 w 840"/>
                    <a:gd name="T11" fmla="*/ 111 h 648"/>
                    <a:gd name="T12" fmla="*/ 270 w 840"/>
                    <a:gd name="T13" fmla="*/ 92 h 648"/>
                    <a:gd name="T14" fmla="*/ 259 w 840"/>
                    <a:gd name="T15" fmla="*/ 84 h 648"/>
                    <a:gd name="T16" fmla="*/ 256 w 840"/>
                    <a:gd name="T17" fmla="*/ 67 h 648"/>
                    <a:gd name="T18" fmla="*/ 240 w 840"/>
                    <a:gd name="T19" fmla="*/ 56 h 648"/>
                    <a:gd name="T20" fmla="*/ 234 w 840"/>
                    <a:gd name="T21" fmla="*/ 27 h 648"/>
                    <a:gd name="T22" fmla="*/ 223 w 840"/>
                    <a:gd name="T23" fmla="*/ 19 h 648"/>
                    <a:gd name="T24" fmla="*/ 215 w 840"/>
                    <a:gd name="T25" fmla="*/ 3 h 648"/>
                    <a:gd name="T26" fmla="*/ 206 w 840"/>
                    <a:gd name="T27" fmla="*/ 11 h 648"/>
                    <a:gd name="T28" fmla="*/ 206 w 840"/>
                    <a:gd name="T29" fmla="*/ 19 h 648"/>
                    <a:gd name="T30" fmla="*/ 203 w 840"/>
                    <a:gd name="T31" fmla="*/ 36 h 648"/>
                    <a:gd name="T32" fmla="*/ 189 w 840"/>
                    <a:gd name="T33" fmla="*/ 48 h 648"/>
                    <a:gd name="T34" fmla="*/ 176 w 840"/>
                    <a:gd name="T35" fmla="*/ 36 h 648"/>
                    <a:gd name="T36" fmla="*/ 165 w 840"/>
                    <a:gd name="T37" fmla="*/ 27 h 648"/>
                    <a:gd name="T38" fmla="*/ 173 w 840"/>
                    <a:gd name="T39" fmla="*/ 14 h 648"/>
                    <a:gd name="T40" fmla="*/ 165 w 840"/>
                    <a:gd name="T41" fmla="*/ 11 h 648"/>
                    <a:gd name="T42" fmla="*/ 145 w 840"/>
                    <a:gd name="T43" fmla="*/ 6 h 648"/>
                    <a:gd name="T44" fmla="*/ 131 w 840"/>
                    <a:gd name="T45" fmla="*/ 11 h 648"/>
                    <a:gd name="T46" fmla="*/ 122 w 840"/>
                    <a:gd name="T47" fmla="*/ 19 h 648"/>
                    <a:gd name="T48" fmla="*/ 122 w 840"/>
                    <a:gd name="T49" fmla="*/ 36 h 648"/>
                    <a:gd name="T50" fmla="*/ 111 w 840"/>
                    <a:gd name="T51" fmla="*/ 34 h 648"/>
                    <a:gd name="T52" fmla="*/ 98 w 840"/>
                    <a:gd name="T53" fmla="*/ 25 h 648"/>
                    <a:gd name="T54" fmla="*/ 89 w 840"/>
                    <a:gd name="T55" fmla="*/ 34 h 648"/>
                    <a:gd name="T56" fmla="*/ 78 w 840"/>
                    <a:gd name="T57" fmla="*/ 42 h 648"/>
                    <a:gd name="T58" fmla="*/ 72 w 840"/>
                    <a:gd name="T59" fmla="*/ 42 h 648"/>
                    <a:gd name="T60" fmla="*/ 70 w 840"/>
                    <a:gd name="T61" fmla="*/ 56 h 648"/>
                    <a:gd name="T62" fmla="*/ 53 w 840"/>
                    <a:gd name="T63" fmla="*/ 70 h 648"/>
                    <a:gd name="T64" fmla="*/ 36 w 840"/>
                    <a:gd name="T65" fmla="*/ 75 h 648"/>
                    <a:gd name="T66" fmla="*/ 23 w 840"/>
                    <a:gd name="T67" fmla="*/ 81 h 648"/>
                    <a:gd name="T68" fmla="*/ 11 w 840"/>
                    <a:gd name="T69" fmla="*/ 84 h 648"/>
                    <a:gd name="T70" fmla="*/ 11 w 840"/>
                    <a:gd name="T71" fmla="*/ 115 h 648"/>
                    <a:gd name="T72" fmla="*/ 6 w 840"/>
                    <a:gd name="T73" fmla="*/ 117 h 648"/>
                    <a:gd name="T74" fmla="*/ 0 w 840"/>
                    <a:gd name="T75" fmla="*/ 115 h 648"/>
                    <a:gd name="T76" fmla="*/ 11 w 840"/>
                    <a:gd name="T77" fmla="*/ 134 h 648"/>
                    <a:gd name="T78" fmla="*/ 19 w 840"/>
                    <a:gd name="T79" fmla="*/ 159 h 648"/>
                    <a:gd name="T80" fmla="*/ 19 w 840"/>
                    <a:gd name="T81" fmla="*/ 178 h 648"/>
                    <a:gd name="T82" fmla="*/ 23 w 840"/>
                    <a:gd name="T83" fmla="*/ 186 h 648"/>
                    <a:gd name="T84" fmla="*/ 42 w 840"/>
                    <a:gd name="T85" fmla="*/ 186 h 648"/>
                    <a:gd name="T86" fmla="*/ 58 w 840"/>
                    <a:gd name="T87" fmla="*/ 182 h 648"/>
                    <a:gd name="T88" fmla="*/ 81 w 840"/>
                    <a:gd name="T89" fmla="*/ 176 h 648"/>
                    <a:gd name="T90" fmla="*/ 106 w 840"/>
                    <a:gd name="T91" fmla="*/ 167 h 648"/>
                    <a:gd name="T92" fmla="*/ 145 w 840"/>
                    <a:gd name="T93" fmla="*/ 167 h 648"/>
                    <a:gd name="T94" fmla="*/ 159 w 840"/>
                    <a:gd name="T95" fmla="*/ 184 h 648"/>
                    <a:gd name="T96" fmla="*/ 167 w 840"/>
                    <a:gd name="T97" fmla="*/ 186 h 648"/>
                    <a:gd name="T98" fmla="*/ 176 w 840"/>
                    <a:gd name="T99" fmla="*/ 173 h 648"/>
                    <a:gd name="T100" fmla="*/ 176 w 840"/>
                    <a:gd name="T101" fmla="*/ 186 h 648"/>
                    <a:gd name="T102" fmla="*/ 176 w 840"/>
                    <a:gd name="T103" fmla="*/ 195 h 648"/>
                    <a:gd name="T104" fmla="*/ 186 w 840"/>
                    <a:gd name="T105" fmla="*/ 192 h 648"/>
                    <a:gd name="T106" fmla="*/ 189 w 840"/>
                    <a:gd name="T107" fmla="*/ 201 h 648"/>
                    <a:gd name="T108" fmla="*/ 195 w 840"/>
                    <a:gd name="T109" fmla="*/ 215 h 648"/>
                    <a:gd name="T110" fmla="*/ 209 w 840"/>
                    <a:gd name="T111" fmla="*/ 220 h 648"/>
                    <a:gd name="T112" fmla="*/ 229 w 840"/>
                    <a:gd name="T113" fmla="*/ 215 h 648"/>
                    <a:gd name="T114" fmla="*/ 243 w 840"/>
                    <a:gd name="T115" fmla="*/ 223 h 648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840"/>
                    <a:gd name="T175" fmla="*/ 0 h 648"/>
                    <a:gd name="T176" fmla="*/ 840 w 840"/>
                    <a:gd name="T177" fmla="*/ 648 h 648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840" h="648">
                      <a:moveTo>
                        <a:pt x="712" y="624"/>
                      </a:moveTo>
                      <a:lnTo>
                        <a:pt x="720" y="616"/>
                      </a:lnTo>
                      <a:lnTo>
                        <a:pt x="728" y="616"/>
                      </a:lnTo>
                      <a:lnTo>
                        <a:pt x="760" y="600"/>
                      </a:lnTo>
                      <a:lnTo>
                        <a:pt x="768" y="592"/>
                      </a:lnTo>
                      <a:lnTo>
                        <a:pt x="760" y="576"/>
                      </a:lnTo>
                      <a:lnTo>
                        <a:pt x="776" y="544"/>
                      </a:lnTo>
                      <a:lnTo>
                        <a:pt x="776" y="536"/>
                      </a:lnTo>
                      <a:lnTo>
                        <a:pt x="792" y="512"/>
                      </a:lnTo>
                      <a:lnTo>
                        <a:pt x="792" y="504"/>
                      </a:lnTo>
                      <a:lnTo>
                        <a:pt x="816" y="480"/>
                      </a:lnTo>
                      <a:lnTo>
                        <a:pt x="824" y="464"/>
                      </a:lnTo>
                      <a:lnTo>
                        <a:pt x="824" y="456"/>
                      </a:lnTo>
                      <a:lnTo>
                        <a:pt x="832" y="448"/>
                      </a:lnTo>
                      <a:lnTo>
                        <a:pt x="832" y="440"/>
                      </a:lnTo>
                      <a:lnTo>
                        <a:pt x="824" y="424"/>
                      </a:lnTo>
                      <a:lnTo>
                        <a:pt x="832" y="408"/>
                      </a:lnTo>
                      <a:lnTo>
                        <a:pt x="832" y="384"/>
                      </a:lnTo>
                      <a:lnTo>
                        <a:pt x="840" y="368"/>
                      </a:lnTo>
                      <a:lnTo>
                        <a:pt x="832" y="360"/>
                      </a:lnTo>
                      <a:lnTo>
                        <a:pt x="824" y="344"/>
                      </a:lnTo>
                      <a:lnTo>
                        <a:pt x="832" y="312"/>
                      </a:lnTo>
                      <a:lnTo>
                        <a:pt x="824" y="312"/>
                      </a:lnTo>
                      <a:lnTo>
                        <a:pt x="824" y="320"/>
                      </a:lnTo>
                      <a:lnTo>
                        <a:pt x="816" y="304"/>
                      </a:lnTo>
                      <a:lnTo>
                        <a:pt x="800" y="288"/>
                      </a:lnTo>
                      <a:lnTo>
                        <a:pt x="792" y="280"/>
                      </a:lnTo>
                      <a:lnTo>
                        <a:pt x="776" y="264"/>
                      </a:lnTo>
                      <a:lnTo>
                        <a:pt x="776" y="248"/>
                      </a:lnTo>
                      <a:lnTo>
                        <a:pt x="768" y="256"/>
                      </a:lnTo>
                      <a:lnTo>
                        <a:pt x="760" y="256"/>
                      </a:lnTo>
                      <a:lnTo>
                        <a:pt x="744" y="240"/>
                      </a:lnTo>
                      <a:lnTo>
                        <a:pt x="752" y="224"/>
                      </a:lnTo>
                      <a:lnTo>
                        <a:pt x="736" y="208"/>
                      </a:lnTo>
                      <a:lnTo>
                        <a:pt x="736" y="200"/>
                      </a:lnTo>
                      <a:lnTo>
                        <a:pt x="736" y="192"/>
                      </a:lnTo>
                      <a:lnTo>
                        <a:pt x="720" y="192"/>
                      </a:lnTo>
                      <a:lnTo>
                        <a:pt x="712" y="184"/>
                      </a:lnTo>
                      <a:lnTo>
                        <a:pt x="696" y="176"/>
                      </a:lnTo>
                      <a:lnTo>
                        <a:pt x="688" y="160"/>
                      </a:lnTo>
                      <a:lnTo>
                        <a:pt x="688" y="152"/>
                      </a:lnTo>
                      <a:lnTo>
                        <a:pt x="680" y="128"/>
                      </a:lnTo>
                      <a:lnTo>
                        <a:pt x="672" y="120"/>
                      </a:lnTo>
                      <a:lnTo>
                        <a:pt x="672" y="80"/>
                      </a:lnTo>
                      <a:lnTo>
                        <a:pt x="664" y="80"/>
                      </a:lnTo>
                      <a:lnTo>
                        <a:pt x="648" y="72"/>
                      </a:lnTo>
                      <a:lnTo>
                        <a:pt x="640" y="80"/>
                      </a:lnTo>
                      <a:lnTo>
                        <a:pt x="640" y="56"/>
                      </a:lnTo>
                      <a:lnTo>
                        <a:pt x="624" y="40"/>
                      </a:lnTo>
                      <a:lnTo>
                        <a:pt x="624" y="24"/>
                      </a:lnTo>
                      <a:lnTo>
                        <a:pt x="616" y="16"/>
                      </a:lnTo>
                      <a:lnTo>
                        <a:pt x="616" y="8"/>
                      </a:lnTo>
                      <a:lnTo>
                        <a:pt x="608" y="0"/>
                      </a:lnTo>
                      <a:lnTo>
                        <a:pt x="608" y="16"/>
                      </a:lnTo>
                      <a:lnTo>
                        <a:pt x="600" y="24"/>
                      </a:lnTo>
                      <a:lnTo>
                        <a:pt x="592" y="32"/>
                      </a:lnTo>
                      <a:lnTo>
                        <a:pt x="592" y="40"/>
                      </a:lnTo>
                      <a:lnTo>
                        <a:pt x="600" y="48"/>
                      </a:lnTo>
                      <a:lnTo>
                        <a:pt x="592" y="48"/>
                      </a:lnTo>
                      <a:lnTo>
                        <a:pt x="592" y="56"/>
                      </a:lnTo>
                      <a:lnTo>
                        <a:pt x="592" y="64"/>
                      </a:lnTo>
                      <a:lnTo>
                        <a:pt x="592" y="72"/>
                      </a:lnTo>
                      <a:lnTo>
                        <a:pt x="592" y="80"/>
                      </a:lnTo>
                      <a:lnTo>
                        <a:pt x="584" y="104"/>
                      </a:lnTo>
                      <a:lnTo>
                        <a:pt x="584" y="136"/>
                      </a:lnTo>
                      <a:lnTo>
                        <a:pt x="568" y="144"/>
                      </a:lnTo>
                      <a:lnTo>
                        <a:pt x="552" y="144"/>
                      </a:lnTo>
                      <a:lnTo>
                        <a:pt x="544" y="136"/>
                      </a:lnTo>
                      <a:lnTo>
                        <a:pt x="536" y="128"/>
                      </a:lnTo>
                      <a:lnTo>
                        <a:pt x="520" y="120"/>
                      </a:lnTo>
                      <a:lnTo>
                        <a:pt x="504" y="112"/>
                      </a:lnTo>
                      <a:lnTo>
                        <a:pt x="504" y="104"/>
                      </a:lnTo>
                      <a:lnTo>
                        <a:pt x="488" y="104"/>
                      </a:lnTo>
                      <a:lnTo>
                        <a:pt x="472" y="96"/>
                      </a:lnTo>
                      <a:lnTo>
                        <a:pt x="464" y="88"/>
                      </a:lnTo>
                      <a:lnTo>
                        <a:pt x="472" y="80"/>
                      </a:lnTo>
                      <a:lnTo>
                        <a:pt x="472" y="56"/>
                      </a:lnTo>
                      <a:lnTo>
                        <a:pt x="488" y="56"/>
                      </a:lnTo>
                      <a:lnTo>
                        <a:pt x="496" y="48"/>
                      </a:lnTo>
                      <a:lnTo>
                        <a:pt x="496" y="40"/>
                      </a:lnTo>
                      <a:lnTo>
                        <a:pt x="496" y="32"/>
                      </a:lnTo>
                      <a:lnTo>
                        <a:pt x="488" y="32"/>
                      </a:lnTo>
                      <a:lnTo>
                        <a:pt x="480" y="32"/>
                      </a:lnTo>
                      <a:lnTo>
                        <a:pt x="472" y="32"/>
                      </a:lnTo>
                      <a:lnTo>
                        <a:pt x="456" y="32"/>
                      </a:lnTo>
                      <a:lnTo>
                        <a:pt x="448" y="24"/>
                      </a:lnTo>
                      <a:lnTo>
                        <a:pt x="424" y="24"/>
                      </a:lnTo>
                      <a:lnTo>
                        <a:pt x="416" y="16"/>
                      </a:lnTo>
                      <a:lnTo>
                        <a:pt x="392" y="16"/>
                      </a:lnTo>
                      <a:lnTo>
                        <a:pt x="408" y="24"/>
                      </a:lnTo>
                      <a:lnTo>
                        <a:pt x="408" y="32"/>
                      </a:lnTo>
                      <a:lnTo>
                        <a:pt x="376" y="32"/>
                      </a:lnTo>
                      <a:lnTo>
                        <a:pt x="368" y="32"/>
                      </a:lnTo>
                      <a:lnTo>
                        <a:pt x="360" y="48"/>
                      </a:lnTo>
                      <a:lnTo>
                        <a:pt x="360" y="56"/>
                      </a:lnTo>
                      <a:lnTo>
                        <a:pt x="352" y="56"/>
                      </a:lnTo>
                      <a:lnTo>
                        <a:pt x="344" y="80"/>
                      </a:lnTo>
                      <a:lnTo>
                        <a:pt x="352" y="88"/>
                      </a:lnTo>
                      <a:lnTo>
                        <a:pt x="352" y="96"/>
                      </a:lnTo>
                      <a:lnTo>
                        <a:pt x="352" y="104"/>
                      </a:lnTo>
                      <a:lnTo>
                        <a:pt x="344" y="96"/>
                      </a:lnTo>
                      <a:lnTo>
                        <a:pt x="336" y="96"/>
                      </a:lnTo>
                      <a:lnTo>
                        <a:pt x="328" y="88"/>
                      </a:lnTo>
                      <a:lnTo>
                        <a:pt x="320" y="96"/>
                      </a:lnTo>
                      <a:lnTo>
                        <a:pt x="304" y="64"/>
                      </a:lnTo>
                      <a:lnTo>
                        <a:pt x="296" y="64"/>
                      </a:lnTo>
                      <a:lnTo>
                        <a:pt x="288" y="72"/>
                      </a:lnTo>
                      <a:lnTo>
                        <a:pt x="280" y="72"/>
                      </a:lnTo>
                      <a:lnTo>
                        <a:pt x="272" y="80"/>
                      </a:lnTo>
                      <a:lnTo>
                        <a:pt x="264" y="80"/>
                      </a:lnTo>
                      <a:lnTo>
                        <a:pt x="256" y="88"/>
                      </a:lnTo>
                      <a:lnTo>
                        <a:pt x="256" y="96"/>
                      </a:lnTo>
                      <a:lnTo>
                        <a:pt x="240" y="96"/>
                      </a:lnTo>
                      <a:lnTo>
                        <a:pt x="240" y="120"/>
                      </a:lnTo>
                      <a:lnTo>
                        <a:pt x="232" y="120"/>
                      </a:lnTo>
                      <a:lnTo>
                        <a:pt x="224" y="120"/>
                      </a:lnTo>
                      <a:lnTo>
                        <a:pt x="224" y="128"/>
                      </a:lnTo>
                      <a:lnTo>
                        <a:pt x="224" y="136"/>
                      </a:lnTo>
                      <a:lnTo>
                        <a:pt x="216" y="136"/>
                      </a:lnTo>
                      <a:lnTo>
                        <a:pt x="208" y="120"/>
                      </a:lnTo>
                      <a:lnTo>
                        <a:pt x="200" y="128"/>
                      </a:lnTo>
                      <a:lnTo>
                        <a:pt x="192" y="144"/>
                      </a:lnTo>
                      <a:lnTo>
                        <a:pt x="192" y="152"/>
                      </a:lnTo>
                      <a:lnTo>
                        <a:pt x="200" y="160"/>
                      </a:lnTo>
                      <a:lnTo>
                        <a:pt x="184" y="176"/>
                      </a:lnTo>
                      <a:lnTo>
                        <a:pt x="184" y="184"/>
                      </a:lnTo>
                      <a:lnTo>
                        <a:pt x="160" y="192"/>
                      </a:lnTo>
                      <a:lnTo>
                        <a:pt x="152" y="200"/>
                      </a:lnTo>
                      <a:lnTo>
                        <a:pt x="136" y="200"/>
                      </a:lnTo>
                      <a:lnTo>
                        <a:pt x="128" y="208"/>
                      </a:lnTo>
                      <a:lnTo>
                        <a:pt x="112" y="208"/>
                      </a:lnTo>
                      <a:lnTo>
                        <a:pt x="104" y="216"/>
                      </a:lnTo>
                      <a:lnTo>
                        <a:pt x="96" y="216"/>
                      </a:lnTo>
                      <a:lnTo>
                        <a:pt x="88" y="216"/>
                      </a:lnTo>
                      <a:lnTo>
                        <a:pt x="80" y="216"/>
                      </a:lnTo>
                      <a:lnTo>
                        <a:pt x="64" y="232"/>
                      </a:lnTo>
                      <a:lnTo>
                        <a:pt x="56" y="232"/>
                      </a:lnTo>
                      <a:lnTo>
                        <a:pt x="48" y="240"/>
                      </a:lnTo>
                      <a:lnTo>
                        <a:pt x="32" y="248"/>
                      </a:lnTo>
                      <a:lnTo>
                        <a:pt x="32" y="240"/>
                      </a:lnTo>
                      <a:lnTo>
                        <a:pt x="24" y="248"/>
                      </a:lnTo>
                      <a:lnTo>
                        <a:pt x="16" y="288"/>
                      </a:lnTo>
                      <a:lnTo>
                        <a:pt x="24" y="304"/>
                      </a:lnTo>
                      <a:lnTo>
                        <a:pt x="32" y="328"/>
                      </a:lnTo>
                      <a:lnTo>
                        <a:pt x="32" y="336"/>
                      </a:lnTo>
                      <a:lnTo>
                        <a:pt x="24" y="344"/>
                      </a:lnTo>
                      <a:lnTo>
                        <a:pt x="16" y="328"/>
                      </a:lnTo>
                      <a:lnTo>
                        <a:pt x="16" y="336"/>
                      </a:lnTo>
                      <a:lnTo>
                        <a:pt x="24" y="344"/>
                      </a:lnTo>
                      <a:lnTo>
                        <a:pt x="16" y="352"/>
                      </a:lnTo>
                      <a:lnTo>
                        <a:pt x="8" y="328"/>
                      </a:lnTo>
                      <a:lnTo>
                        <a:pt x="0" y="328"/>
                      </a:lnTo>
                      <a:lnTo>
                        <a:pt x="16" y="360"/>
                      </a:lnTo>
                      <a:lnTo>
                        <a:pt x="24" y="368"/>
                      </a:lnTo>
                      <a:lnTo>
                        <a:pt x="32" y="376"/>
                      </a:lnTo>
                      <a:lnTo>
                        <a:pt x="32" y="384"/>
                      </a:lnTo>
                      <a:lnTo>
                        <a:pt x="40" y="400"/>
                      </a:lnTo>
                      <a:lnTo>
                        <a:pt x="40" y="408"/>
                      </a:lnTo>
                      <a:lnTo>
                        <a:pt x="48" y="440"/>
                      </a:lnTo>
                      <a:lnTo>
                        <a:pt x="56" y="456"/>
                      </a:lnTo>
                      <a:lnTo>
                        <a:pt x="56" y="464"/>
                      </a:lnTo>
                      <a:lnTo>
                        <a:pt x="64" y="480"/>
                      </a:lnTo>
                      <a:lnTo>
                        <a:pt x="56" y="488"/>
                      </a:lnTo>
                      <a:lnTo>
                        <a:pt x="56" y="512"/>
                      </a:lnTo>
                      <a:lnTo>
                        <a:pt x="48" y="512"/>
                      </a:lnTo>
                      <a:lnTo>
                        <a:pt x="48" y="528"/>
                      </a:lnTo>
                      <a:lnTo>
                        <a:pt x="48" y="536"/>
                      </a:lnTo>
                      <a:lnTo>
                        <a:pt x="64" y="536"/>
                      </a:lnTo>
                      <a:lnTo>
                        <a:pt x="72" y="552"/>
                      </a:lnTo>
                      <a:lnTo>
                        <a:pt x="96" y="552"/>
                      </a:lnTo>
                      <a:lnTo>
                        <a:pt x="120" y="552"/>
                      </a:lnTo>
                      <a:lnTo>
                        <a:pt x="120" y="536"/>
                      </a:lnTo>
                      <a:lnTo>
                        <a:pt x="136" y="536"/>
                      </a:lnTo>
                      <a:lnTo>
                        <a:pt x="144" y="528"/>
                      </a:lnTo>
                      <a:lnTo>
                        <a:pt x="160" y="520"/>
                      </a:lnTo>
                      <a:lnTo>
                        <a:pt x="168" y="520"/>
                      </a:lnTo>
                      <a:lnTo>
                        <a:pt x="200" y="520"/>
                      </a:lnTo>
                      <a:lnTo>
                        <a:pt x="216" y="520"/>
                      </a:lnTo>
                      <a:lnTo>
                        <a:pt x="232" y="512"/>
                      </a:lnTo>
                      <a:lnTo>
                        <a:pt x="232" y="504"/>
                      </a:lnTo>
                      <a:lnTo>
                        <a:pt x="248" y="496"/>
                      </a:lnTo>
                      <a:lnTo>
                        <a:pt x="256" y="496"/>
                      </a:lnTo>
                      <a:lnTo>
                        <a:pt x="272" y="480"/>
                      </a:lnTo>
                      <a:lnTo>
                        <a:pt x="304" y="480"/>
                      </a:lnTo>
                      <a:lnTo>
                        <a:pt x="336" y="472"/>
                      </a:lnTo>
                      <a:lnTo>
                        <a:pt x="376" y="464"/>
                      </a:lnTo>
                      <a:lnTo>
                        <a:pt x="400" y="480"/>
                      </a:lnTo>
                      <a:lnTo>
                        <a:pt x="416" y="480"/>
                      </a:lnTo>
                      <a:lnTo>
                        <a:pt x="432" y="488"/>
                      </a:lnTo>
                      <a:lnTo>
                        <a:pt x="440" y="504"/>
                      </a:lnTo>
                      <a:lnTo>
                        <a:pt x="456" y="512"/>
                      </a:lnTo>
                      <a:lnTo>
                        <a:pt x="456" y="528"/>
                      </a:lnTo>
                      <a:lnTo>
                        <a:pt x="456" y="536"/>
                      </a:lnTo>
                      <a:lnTo>
                        <a:pt x="456" y="544"/>
                      </a:lnTo>
                      <a:lnTo>
                        <a:pt x="472" y="544"/>
                      </a:lnTo>
                      <a:lnTo>
                        <a:pt x="480" y="536"/>
                      </a:lnTo>
                      <a:lnTo>
                        <a:pt x="480" y="528"/>
                      </a:lnTo>
                      <a:lnTo>
                        <a:pt x="496" y="512"/>
                      </a:lnTo>
                      <a:lnTo>
                        <a:pt x="504" y="504"/>
                      </a:lnTo>
                      <a:lnTo>
                        <a:pt x="504" y="496"/>
                      </a:lnTo>
                      <a:lnTo>
                        <a:pt x="520" y="496"/>
                      </a:lnTo>
                      <a:lnTo>
                        <a:pt x="520" y="512"/>
                      </a:lnTo>
                      <a:lnTo>
                        <a:pt x="504" y="528"/>
                      </a:lnTo>
                      <a:lnTo>
                        <a:pt x="504" y="536"/>
                      </a:lnTo>
                      <a:lnTo>
                        <a:pt x="496" y="544"/>
                      </a:lnTo>
                      <a:lnTo>
                        <a:pt x="496" y="552"/>
                      </a:lnTo>
                      <a:lnTo>
                        <a:pt x="496" y="560"/>
                      </a:lnTo>
                      <a:lnTo>
                        <a:pt x="504" y="560"/>
                      </a:lnTo>
                      <a:lnTo>
                        <a:pt x="512" y="544"/>
                      </a:lnTo>
                      <a:lnTo>
                        <a:pt x="512" y="536"/>
                      </a:lnTo>
                      <a:lnTo>
                        <a:pt x="528" y="536"/>
                      </a:lnTo>
                      <a:lnTo>
                        <a:pt x="536" y="552"/>
                      </a:lnTo>
                      <a:lnTo>
                        <a:pt x="520" y="552"/>
                      </a:lnTo>
                      <a:lnTo>
                        <a:pt x="520" y="560"/>
                      </a:lnTo>
                      <a:lnTo>
                        <a:pt x="544" y="568"/>
                      </a:lnTo>
                      <a:lnTo>
                        <a:pt x="544" y="576"/>
                      </a:lnTo>
                      <a:lnTo>
                        <a:pt x="552" y="584"/>
                      </a:lnTo>
                      <a:lnTo>
                        <a:pt x="552" y="600"/>
                      </a:lnTo>
                      <a:lnTo>
                        <a:pt x="560" y="608"/>
                      </a:lnTo>
                      <a:lnTo>
                        <a:pt x="560" y="616"/>
                      </a:lnTo>
                      <a:lnTo>
                        <a:pt x="576" y="624"/>
                      </a:lnTo>
                      <a:lnTo>
                        <a:pt x="584" y="624"/>
                      </a:lnTo>
                      <a:lnTo>
                        <a:pt x="592" y="632"/>
                      </a:lnTo>
                      <a:lnTo>
                        <a:pt x="600" y="632"/>
                      </a:lnTo>
                      <a:lnTo>
                        <a:pt x="640" y="648"/>
                      </a:lnTo>
                      <a:lnTo>
                        <a:pt x="632" y="632"/>
                      </a:lnTo>
                      <a:lnTo>
                        <a:pt x="648" y="632"/>
                      </a:lnTo>
                      <a:lnTo>
                        <a:pt x="656" y="616"/>
                      </a:lnTo>
                      <a:lnTo>
                        <a:pt x="672" y="616"/>
                      </a:lnTo>
                      <a:lnTo>
                        <a:pt x="672" y="632"/>
                      </a:lnTo>
                      <a:lnTo>
                        <a:pt x="680" y="640"/>
                      </a:lnTo>
                      <a:lnTo>
                        <a:pt x="696" y="640"/>
                      </a:lnTo>
                      <a:lnTo>
                        <a:pt x="712" y="632"/>
                      </a:lnTo>
                      <a:lnTo>
                        <a:pt x="712" y="624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84" name="Freeform 115">
                  <a:extLst>
                    <a:ext uri="{FF2B5EF4-FFF2-40B4-BE49-F238E27FC236}">
                      <a16:creationId xmlns:a16="http://schemas.microsoft.com/office/drawing/2014/main" id="{1DFD834A-17B3-88EF-203C-163AA8BE692F}"/>
                    </a:ext>
                  </a:extLst>
                </p:cNvPr>
                <p:cNvSpPr/>
                <p:nvPr/>
              </p:nvSpPr>
              <p:spPr bwMode="gray">
                <a:xfrm>
                  <a:off x="4843" y="3522"/>
                  <a:ext cx="56" cy="56"/>
                </a:xfrm>
                <a:custGeom>
                  <a:avLst/>
                  <a:gdLst>
                    <a:gd name="T0" fmla="*/ 27 w 80"/>
                    <a:gd name="T1" fmla="*/ 3 h 80"/>
                    <a:gd name="T2" fmla="*/ 25 w 80"/>
                    <a:gd name="T3" fmla="*/ 0 h 80"/>
                    <a:gd name="T4" fmla="*/ 25 w 80"/>
                    <a:gd name="T5" fmla="*/ 3 h 80"/>
                    <a:gd name="T6" fmla="*/ 19 w 80"/>
                    <a:gd name="T7" fmla="*/ 6 h 80"/>
                    <a:gd name="T8" fmla="*/ 17 w 80"/>
                    <a:gd name="T9" fmla="*/ 6 h 80"/>
                    <a:gd name="T10" fmla="*/ 10 w 80"/>
                    <a:gd name="T11" fmla="*/ 3 h 80"/>
                    <a:gd name="T12" fmla="*/ 6 w 80"/>
                    <a:gd name="T13" fmla="*/ 0 h 80"/>
                    <a:gd name="T14" fmla="*/ 3 w 80"/>
                    <a:gd name="T15" fmla="*/ 0 h 80"/>
                    <a:gd name="T16" fmla="*/ 0 w 80"/>
                    <a:gd name="T17" fmla="*/ 3 h 80"/>
                    <a:gd name="T18" fmla="*/ 3 w 80"/>
                    <a:gd name="T19" fmla="*/ 8 h 80"/>
                    <a:gd name="T20" fmla="*/ 6 w 80"/>
                    <a:gd name="T21" fmla="*/ 10 h 80"/>
                    <a:gd name="T22" fmla="*/ 6 w 80"/>
                    <a:gd name="T23" fmla="*/ 17 h 80"/>
                    <a:gd name="T24" fmla="*/ 8 w 80"/>
                    <a:gd name="T25" fmla="*/ 22 h 80"/>
                    <a:gd name="T26" fmla="*/ 10 w 80"/>
                    <a:gd name="T27" fmla="*/ 27 h 80"/>
                    <a:gd name="T28" fmla="*/ 14 w 80"/>
                    <a:gd name="T29" fmla="*/ 27 h 80"/>
                    <a:gd name="T30" fmla="*/ 19 w 80"/>
                    <a:gd name="T31" fmla="*/ 27 h 80"/>
                    <a:gd name="T32" fmla="*/ 22 w 80"/>
                    <a:gd name="T33" fmla="*/ 25 h 80"/>
                    <a:gd name="T34" fmla="*/ 25 w 80"/>
                    <a:gd name="T35" fmla="*/ 25 h 80"/>
                    <a:gd name="T36" fmla="*/ 25 w 80"/>
                    <a:gd name="T37" fmla="*/ 19 h 80"/>
                    <a:gd name="T38" fmla="*/ 27 w 80"/>
                    <a:gd name="T39" fmla="*/ 17 h 80"/>
                    <a:gd name="T40" fmla="*/ 27 w 80"/>
                    <a:gd name="T41" fmla="*/ 8 h 80"/>
                    <a:gd name="T42" fmla="*/ 27 w 80"/>
                    <a:gd name="T43" fmla="*/ 3 h 8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80"/>
                    <a:gd name="T67" fmla="*/ 0 h 80"/>
                    <a:gd name="T68" fmla="*/ 80 w 80"/>
                    <a:gd name="T69" fmla="*/ 80 h 8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80" h="80">
                      <a:moveTo>
                        <a:pt x="80" y="8"/>
                      </a:moveTo>
                      <a:lnTo>
                        <a:pt x="72" y="0"/>
                      </a:lnTo>
                      <a:lnTo>
                        <a:pt x="72" y="8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32" y="8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8" y="24"/>
                      </a:lnTo>
                      <a:lnTo>
                        <a:pt x="16" y="32"/>
                      </a:lnTo>
                      <a:lnTo>
                        <a:pt x="16" y="48"/>
                      </a:lnTo>
                      <a:lnTo>
                        <a:pt x="24" y="64"/>
                      </a:lnTo>
                      <a:lnTo>
                        <a:pt x="32" y="80"/>
                      </a:lnTo>
                      <a:lnTo>
                        <a:pt x="40" y="80"/>
                      </a:lnTo>
                      <a:lnTo>
                        <a:pt x="56" y="80"/>
                      </a:lnTo>
                      <a:lnTo>
                        <a:pt x="64" y="72"/>
                      </a:lnTo>
                      <a:lnTo>
                        <a:pt x="72" y="72"/>
                      </a:lnTo>
                      <a:lnTo>
                        <a:pt x="72" y="56"/>
                      </a:lnTo>
                      <a:lnTo>
                        <a:pt x="80" y="48"/>
                      </a:lnTo>
                      <a:lnTo>
                        <a:pt x="80" y="24"/>
                      </a:lnTo>
                      <a:lnTo>
                        <a:pt x="80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85" name="Freeform 116">
                  <a:extLst>
                    <a:ext uri="{FF2B5EF4-FFF2-40B4-BE49-F238E27FC236}">
                      <a16:creationId xmlns:a16="http://schemas.microsoft.com/office/drawing/2014/main" id="{9D846E47-0739-EAAF-9C90-B8D508BA75E9}"/>
                    </a:ext>
                  </a:extLst>
                </p:cNvPr>
                <p:cNvSpPr/>
                <p:nvPr/>
              </p:nvSpPr>
              <p:spPr bwMode="gray">
                <a:xfrm>
                  <a:off x="5164" y="3100"/>
                  <a:ext cx="5" cy="11"/>
                </a:xfrm>
                <a:custGeom>
                  <a:avLst/>
                  <a:gdLst>
                    <a:gd name="T0" fmla="*/ 2 w 8"/>
                    <a:gd name="T1" fmla="*/ 6 h 16"/>
                    <a:gd name="T2" fmla="*/ 2 w 8"/>
                    <a:gd name="T3" fmla="*/ 0 h 16"/>
                    <a:gd name="T4" fmla="*/ 0 w 8"/>
                    <a:gd name="T5" fmla="*/ 0 h 16"/>
                    <a:gd name="T6" fmla="*/ 0 w 8"/>
                    <a:gd name="T7" fmla="*/ 3 h 16"/>
                    <a:gd name="T8" fmla="*/ 0 w 8"/>
                    <a:gd name="T9" fmla="*/ 6 h 16"/>
                    <a:gd name="T10" fmla="*/ 2 w 8"/>
                    <a:gd name="T11" fmla="*/ 6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16"/>
                    <a:gd name="T20" fmla="*/ 8 w 8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16">
                      <a:moveTo>
                        <a:pt x="8" y="16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86" name="Freeform 117">
                  <a:extLst>
                    <a:ext uri="{FF2B5EF4-FFF2-40B4-BE49-F238E27FC236}">
                      <a16:creationId xmlns:a16="http://schemas.microsoft.com/office/drawing/2014/main" id="{5C520B65-9091-828A-B066-40473E47F532}"/>
                    </a:ext>
                  </a:extLst>
                </p:cNvPr>
                <p:cNvSpPr/>
                <p:nvPr/>
              </p:nvSpPr>
              <p:spPr bwMode="gray">
                <a:xfrm>
                  <a:off x="5169" y="3117"/>
                  <a:ext cx="11" cy="6"/>
                </a:xfrm>
                <a:custGeom>
                  <a:avLst/>
                  <a:gdLst>
                    <a:gd name="T0" fmla="*/ 0 w 16"/>
                    <a:gd name="T1" fmla="*/ 0 h 8"/>
                    <a:gd name="T2" fmla="*/ 3 w 16"/>
                    <a:gd name="T3" fmla="*/ 0 h 8"/>
                    <a:gd name="T4" fmla="*/ 6 w 16"/>
                    <a:gd name="T5" fmla="*/ 0 h 8"/>
                    <a:gd name="T6" fmla="*/ 6 w 16"/>
                    <a:gd name="T7" fmla="*/ 4 h 8"/>
                    <a:gd name="T8" fmla="*/ 0 w 16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87" name="Freeform 118">
                  <a:extLst>
                    <a:ext uri="{FF2B5EF4-FFF2-40B4-BE49-F238E27FC236}">
                      <a16:creationId xmlns:a16="http://schemas.microsoft.com/office/drawing/2014/main" id="{AB1C07F8-79CE-6819-2444-ADA414BA99ED}"/>
                    </a:ext>
                  </a:extLst>
                </p:cNvPr>
                <p:cNvSpPr/>
                <p:nvPr/>
              </p:nvSpPr>
              <p:spPr bwMode="gray">
                <a:xfrm>
                  <a:off x="5130" y="3179"/>
                  <a:ext cx="39" cy="28"/>
                </a:xfrm>
                <a:custGeom>
                  <a:avLst/>
                  <a:gdLst>
                    <a:gd name="T0" fmla="*/ 0 w 56"/>
                    <a:gd name="T1" fmla="*/ 0 h 40"/>
                    <a:gd name="T2" fmla="*/ 3 w 56"/>
                    <a:gd name="T3" fmla="*/ 3 h 40"/>
                    <a:gd name="T4" fmla="*/ 6 w 56"/>
                    <a:gd name="T5" fmla="*/ 3 h 40"/>
                    <a:gd name="T6" fmla="*/ 8 w 56"/>
                    <a:gd name="T7" fmla="*/ 6 h 40"/>
                    <a:gd name="T8" fmla="*/ 10 w 56"/>
                    <a:gd name="T9" fmla="*/ 8 h 40"/>
                    <a:gd name="T10" fmla="*/ 16 w 56"/>
                    <a:gd name="T11" fmla="*/ 10 h 40"/>
                    <a:gd name="T12" fmla="*/ 19 w 56"/>
                    <a:gd name="T13" fmla="*/ 14 h 40"/>
                    <a:gd name="T14" fmla="*/ 16 w 56"/>
                    <a:gd name="T15" fmla="*/ 14 h 40"/>
                    <a:gd name="T16" fmla="*/ 14 w 56"/>
                    <a:gd name="T17" fmla="*/ 14 h 40"/>
                    <a:gd name="T18" fmla="*/ 6 w 56"/>
                    <a:gd name="T19" fmla="*/ 8 h 40"/>
                    <a:gd name="T20" fmla="*/ 3 w 56"/>
                    <a:gd name="T21" fmla="*/ 8 h 40"/>
                    <a:gd name="T22" fmla="*/ 0 w 56"/>
                    <a:gd name="T23" fmla="*/ 6 h 40"/>
                    <a:gd name="T24" fmla="*/ 0 w 56"/>
                    <a:gd name="T25" fmla="*/ 3 h 40"/>
                    <a:gd name="T26" fmla="*/ 0 w 56"/>
                    <a:gd name="T27" fmla="*/ 3 h 40"/>
                    <a:gd name="T28" fmla="*/ 0 w 56"/>
                    <a:gd name="T29" fmla="*/ 0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6"/>
                    <a:gd name="T46" fmla="*/ 0 h 40"/>
                    <a:gd name="T47" fmla="*/ 56 w 56"/>
                    <a:gd name="T48" fmla="*/ 40 h 4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6" h="40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48" y="32"/>
                      </a:lnTo>
                      <a:lnTo>
                        <a:pt x="56" y="40"/>
                      </a:lnTo>
                      <a:lnTo>
                        <a:pt x="48" y="40"/>
                      </a:lnTo>
                      <a:lnTo>
                        <a:pt x="40" y="40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88" name="Freeform 119">
                  <a:extLst>
                    <a:ext uri="{FF2B5EF4-FFF2-40B4-BE49-F238E27FC236}">
                      <a16:creationId xmlns:a16="http://schemas.microsoft.com/office/drawing/2014/main" id="{66EA4280-698F-8675-7BD9-6D55012F3A8B}"/>
                    </a:ext>
                  </a:extLst>
                </p:cNvPr>
                <p:cNvSpPr/>
                <p:nvPr/>
              </p:nvSpPr>
              <p:spPr bwMode="gray">
                <a:xfrm>
                  <a:off x="5316" y="3134"/>
                  <a:ext cx="16" cy="17"/>
                </a:xfrm>
                <a:custGeom>
                  <a:avLst/>
                  <a:gdLst>
                    <a:gd name="T0" fmla="*/ 2 w 24"/>
                    <a:gd name="T1" fmla="*/ 9 h 24"/>
                    <a:gd name="T2" fmla="*/ 7 w 24"/>
                    <a:gd name="T3" fmla="*/ 6 h 24"/>
                    <a:gd name="T4" fmla="*/ 7 w 24"/>
                    <a:gd name="T5" fmla="*/ 3 h 24"/>
                    <a:gd name="T6" fmla="*/ 7 w 24"/>
                    <a:gd name="T7" fmla="*/ 0 h 24"/>
                    <a:gd name="T8" fmla="*/ 0 w 24"/>
                    <a:gd name="T9" fmla="*/ 3 h 24"/>
                    <a:gd name="T10" fmla="*/ 0 w 24"/>
                    <a:gd name="T11" fmla="*/ 6 h 24"/>
                    <a:gd name="T12" fmla="*/ 2 w 24"/>
                    <a:gd name="T13" fmla="*/ 9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8" y="24"/>
                      </a:move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89" name="Freeform 120">
                  <a:extLst>
                    <a:ext uri="{FF2B5EF4-FFF2-40B4-BE49-F238E27FC236}">
                      <a16:creationId xmlns:a16="http://schemas.microsoft.com/office/drawing/2014/main" id="{07628AA2-11B7-0FED-AE55-05B634C6F60D}"/>
                    </a:ext>
                  </a:extLst>
                </p:cNvPr>
                <p:cNvSpPr/>
                <p:nvPr/>
              </p:nvSpPr>
              <p:spPr bwMode="gray">
                <a:xfrm>
                  <a:off x="5332" y="3117"/>
                  <a:ext cx="23" cy="11"/>
                </a:xfrm>
                <a:custGeom>
                  <a:avLst/>
                  <a:gdLst>
                    <a:gd name="T0" fmla="*/ 3 w 32"/>
                    <a:gd name="T1" fmla="*/ 6 h 16"/>
                    <a:gd name="T2" fmla="*/ 12 w 32"/>
                    <a:gd name="T3" fmla="*/ 0 h 16"/>
                    <a:gd name="T4" fmla="*/ 9 w 32"/>
                    <a:gd name="T5" fmla="*/ 0 h 16"/>
                    <a:gd name="T6" fmla="*/ 6 w 32"/>
                    <a:gd name="T7" fmla="*/ 0 h 16"/>
                    <a:gd name="T8" fmla="*/ 0 w 32"/>
                    <a:gd name="T9" fmla="*/ 3 h 16"/>
                    <a:gd name="T10" fmla="*/ 3 w 32"/>
                    <a:gd name="T11" fmla="*/ 6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16"/>
                    <a:gd name="T20" fmla="*/ 32 w 32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16">
                      <a:moveTo>
                        <a:pt x="8" y="16"/>
                      </a:move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90" name="Freeform 121">
                  <a:extLst>
                    <a:ext uri="{FF2B5EF4-FFF2-40B4-BE49-F238E27FC236}">
                      <a16:creationId xmlns:a16="http://schemas.microsoft.com/office/drawing/2014/main" id="{9526C9E0-B4C3-A393-DD61-4754DEA02B4A}"/>
                    </a:ext>
                  </a:extLst>
                </p:cNvPr>
                <p:cNvSpPr/>
                <p:nvPr/>
              </p:nvSpPr>
              <p:spPr bwMode="gray">
                <a:xfrm>
                  <a:off x="4201" y="2554"/>
                  <a:ext cx="107" cy="130"/>
                </a:xfrm>
                <a:custGeom>
                  <a:avLst/>
                  <a:gdLst>
                    <a:gd name="T0" fmla="*/ 8 w 152"/>
                    <a:gd name="T1" fmla="*/ 11 h 184"/>
                    <a:gd name="T2" fmla="*/ 14 w 152"/>
                    <a:gd name="T3" fmla="*/ 11 h 184"/>
                    <a:gd name="T4" fmla="*/ 11 w 152"/>
                    <a:gd name="T5" fmla="*/ 3 h 184"/>
                    <a:gd name="T6" fmla="*/ 14 w 152"/>
                    <a:gd name="T7" fmla="*/ 0 h 184"/>
                    <a:gd name="T8" fmla="*/ 17 w 152"/>
                    <a:gd name="T9" fmla="*/ 0 h 184"/>
                    <a:gd name="T10" fmla="*/ 19 w 152"/>
                    <a:gd name="T11" fmla="*/ 6 h 184"/>
                    <a:gd name="T12" fmla="*/ 23 w 152"/>
                    <a:gd name="T13" fmla="*/ 6 h 184"/>
                    <a:gd name="T14" fmla="*/ 23 w 152"/>
                    <a:gd name="T15" fmla="*/ 14 h 184"/>
                    <a:gd name="T16" fmla="*/ 27 w 152"/>
                    <a:gd name="T17" fmla="*/ 14 h 184"/>
                    <a:gd name="T18" fmla="*/ 36 w 152"/>
                    <a:gd name="T19" fmla="*/ 17 h 184"/>
                    <a:gd name="T20" fmla="*/ 34 w 152"/>
                    <a:gd name="T21" fmla="*/ 28 h 184"/>
                    <a:gd name="T22" fmla="*/ 39 w 152"/>
                    <a:gd name="T23" fmla="*/ 37 h 184"/>
                    <a:gd name="T24" fmla="*/ 48 w 152"/>
                    <a:gd name="T25" fmla="*/ 45 h 184"/>
                    <a:gd name="T26" fmla="*/ 50 w 152"/>
                    <a:gd name="T27" fmla="*/ 48 h 184"/>
                    <a:gd name="T28" fmla="*/ 53 w 152"/>
                    <a:gd name="T29" fmla="*/ 51 h 184"/>
                    <a:gd name="T30" fmla="*/ 53 w 152"/>
                    <a:gd name="T31" fmla="*/ 65 h 184"/>
                    <a:gd name="T32" fmla="*/ 50 w 152"/>
                    <a:gd name="T33" fmla="*/ 65 h 184"/>
                    <a:gd name="T34" fmla="*/ 48 w 152"/>
                    <a:gd name="T35" fmla="*/ 59 h 184"/>
                    <a:gd name="T36" fmla="*/ 44 w 152"/>
                    <a:gd name="T37" fmla="*/ 62 h 184"/>
                    <a:gd name="T38" fmla="*/ 44 w 152"/>
                    <a:gd name="T39" fmla="*/ 65 h 184"/>
                    <a:gd name="T40" fmla="*/ 36 w 152"/>
                    <a:gd name="T41" fmla="*/ 65 h 184"/>
                    <a:gd name="T42" fmla="*/ 39 w 152"/>
                    <a:gd name="T43" fmla="*/ 54 h 184"/>
                    <a:gd name="T44" fmla="*/ 39 w 152"/>
                    <a:gd name="T45" fmla="*/ 51 h 184"/>
                    <a:gd name="T46" fmla="*/ 31 w 152"/>
                    <a:gd name="T47" fmla="*/ 42 h 184"/>
                    <a:gd name="T48" fmla="*/ 27 w 152"/>
                    <a:gd name="T49" fmla="*/ 34 h 184"/>
                    <a:gd name="T50" fmla="*/ 25 w 152"/>
                    <a:gd name="T51" fmla="*/ 31 h 184"/>
                    <a:gd name="T52" fmla="*/ 23 w 152"/>
                    <a:gd name="T53" fmla="*/ 37 h 184"/>
                    <a:gd name="T54" fmla="*/ 19 w 152"/>
                    <a:gd name="T55" fmla="*/ 37 h 184"/>
                    <a:gd name="T56" fmla="*/ 17 w 152"/>
                    <a:gd name="T57" fmla="*/ 34 h 184"/>
                    <a:gd name="T58" fmla="*/ 11 w 152"/>
                    <a:gd name="T59" fmla="*/ 34 h 184"/>
                    <a:gd name="T60" fmla="*/ 8 w 152"/>
                    <a:gd name="T61" fmla="*/ 40 h 184"/>
                    <a:gd name="T62" fmla="*/ 6 w 152"/>
                    <a:gd name="T63" fmla="*/ 37 h 184"/>
                    <a:gd name="T64" fmla="*/ 6 w 152"/>
                    <a:gd name="T65" fmla="*/ 34 h 184"/>
                    <a:gd name="T66" fmla="*/ 8 w 152"/>
                    <a:gd name="T67" fmla="*/ 25 h 184"/>
                    <a:gd name="T68" fmla="*/ 3 w 152"/>
                    <a:gd name="T69" fmla="*/ 23 h 184"/>
                    <a:gd name="T70" fmla="*/ 0 w 152"/>
                    <a:gd name="T71" fmla="*/ 17 h 184"/>
                    <a:gd name="T72" fmla="*/ 6 w 152"/>
                    <a:gd name="T73" fmla="*/ 11 h 184"/>
                    <a:gd name="T74" fmla="*/ 6 w 152"/>
                    <a:gd name="T75" fmla="*/ 11 h 184"/>
                    <a:gd name="T76" fmla="*/ 8 w 152"/>
                    <a:gd name="T77" fmla="*/ 11 h 18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152"/>
                    <a:gd name="T118" fmla="*/ 0 h 184"/>
                    <a:gd name="T119" fmla="*/ 152 w 152"/>
                    <a:gd name="T120" fmla="*/ 184 h 18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152" h="184">
                      <a:moveTo>
                        <a:pt x="24" y="32"/>
                      </a:moveTo>
                      <a:lnTo>
                        <a:pt x="40" y="32"/>
                      </a:lnTo>
                      <a:lnTo>
                        <a:pt x="32" y="8"/>
                      </a:lnTo>
                      <a:lnTo>
                        <a:pt x="40" y="0"/>
                      </a:lnTo>
                      <a:lnTo>
                        <a:pt x="48" y="0"/>
                      </a:lnTo>
                      <a:lnTo>
                        <a:pt x="56" y="16"/>
                      </a:lnTo>
                      <a:lnTo>
                        <a:pt x="64" y="16"/>
                      </a:lnTo>
                      <a:lnTo>
                        <a:pt x="64" y="40"/>
                      </a:lnTo>
                      <a:lnTo>
                        <a:pt x="80" y="40"/>
                      </a:lnTo>
                      <a:lnTo>
                        <a:pt x="104" y="48"/>
                      </a:lnTo>
                      <a:lnTo>
                        <a:pt x="96" y="80"/>
                      </a:lnTo>
                      <a:lnTo>
                        <a:pt x="112" y="104"/>
                      </a:lnTo>
                      <a:lnTo>
                        <a:pt x="136" y="128"/>
                      </a:lnTo>
                      <a:lnTo>
                        <a:pt x="144" y="136"/>
                      </a:lnTo>
                      <a:lnTo>
                        <a:pt x="152" y="144"/>
                      </a:lnTo>
                      <a:lnTo>
                        <a:pt x="152" y="184"/>
                      </a:lnTo>
                      <a:lnTo>
                        <a:pt x="144" y="184"/>
                      </a:lnTo>
                      <a:lnTo>
                        <a:pt x="136" y="168"/>
                      </a:lnTo>
                      <a:lnTo>
                        <a:pt x="128" y="176"/>
                      </a:lnTo>
                      <a:lnTo>
                        <a:pt x="128" y="184"/>
                      </a:lnTo>
                      <a:lnTo>
                        <a:pt x="104" y="184"/>
                      </a:lnTo>
                      <a:lnTo>
                        <a:pt x="112" y="152"/>
                      </a:lnTo>
                      <a:lnTo>
                        <a:pt x="112" y="144"/>
                      </a:lnTo>
                      <a:lnTo>
                        <a:pt x="88" y="120"/>
                      </a:lnTo>
                      <a:lnTo>
                        <a:pt x="80" y="96"/>
                      </a:lnTo>
                      <a:lnTo>
                        <a:pt x="72" y="88"/>
                      </a:lnTo>
                      <a:lnTo>
                        <a:pt x="64" y="104"/>
                      </a:lnTo>
                      <a:lnTo>
                        <a:pt x="56" y="104"/>
                      </a:lnTo>
                      <a:lnTo>
                        <a:pt x="48" y="96"/>
                      </a:lnTo>
                      <a:lnTo>
                        <a:pt x="32" y="96"/>
                      </a:lnTo>
                      <a:lnTo>
                        <a:pt x="24" y="112"/>
                      </a:lnTo>
                      <a:lnTo>
                        <a:pt x="16" y="104"/>
                      </a:lnTo>
                      <a:lnTo>
                        <a:pt x="16" y="96"/>
                      </a:lnTo>
                      <a:lnTo>
                        <a:pt x="24" y="72"/>
                      </a:lnTo>
                      <a:lnTo>
                        <a:pt x="8" y="64"/>
                      </a:lnTo>
                      <a:lnTo>
                        <a:pt x="0" y="48"/>
                      </a:lnTo>
                      <a:lnTo>
                        <a:pt x="16" y="32"/>
                      </a:lnTo>
                      <a:lnTo>
                        <a:pt x="24" y="3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91" name="Freeform 122">
                  <a:extLst>
                    <a:ext uri="{FF2B5EF4-FFF2-40B4-BE49-F238E27FC236}">
                      <a16:creationId xmlns:a16="http://schemas.microsoft.com/office/drawing/2014/main" id="{E612AEE3-9B1C-4814-8CF7-5E6D11B5F84E}"/>
                    </a:ext>
                  </a:extLst>
                </p:cNvPr>
                <p:cNvSpPr/>
                <p:nvPr/>
              </p:nvSpPr>
              <p:spPr bwMode="gray">
                <a:xfrm>
                  <a:off x="3914" y="2431"/>
                  <a:ext cx="113" cy="67"/>
                </a:xfrm>
                <a:custGeom>
                  <a:avLst/>
                  <a:gdLst>
                    <a:gd name="T0" fmla="*/ 57 w 160"/>
                    <a:gd name="T1" fmla="*/ 19 h 96"/>
                    <a:gd name="T2" fmla="*/ 40 w 160"/>
                    <a:gd name="T3" fmla="*/ 17 h 96"/>
                    <a:gd name="T4" fmla="*/ 31 w 160"/>
                    <a:gd name="T5" fmla="*/ 10 h 96"/>
                    <a:gd name="T6" fmla="*/ 23 w 160"/>
                    <a:gd name="T7" fmla="*/ 6 h 96"/>
                    <a:gd name="T8" fmla="*/ 11 w 160"/>
                    <a:gd name="T9" fmla="*/ 0 h 96"/>
                    <a:gd name="T10" fmla="*/ 3 w 160"/>
                    <a:gd name="T11" fmla="*/ 0 h 96"/>
                    <a:gd name="T12" fmla="*/ 3 w 160"/>
                    <a:gd name="T13" fmla="*/ 6 h 96"/>
                    <a:gd name="T14" fmla="*/ 0 w 160"/>
                    <a:gd name="T15" fmla="*/ 10 h 96"/>
                    <a:gd name="T16" fmla="*/ 0 w 160"/>
                    <a:gd name="T17" fmla="*/ 17 h 96"/>
                    <a:gd name="T18" fmla="*/ 6 w 160"/>
                    <a:gd name="T19" fmla="*/ 19 h 96"/>
                    <a:gd name="T20" fmla="*/ 8 w 160"/>
                    <a:gd name="T21" fmla="*/ 19 h 96"/>
                    <a:gd name="T22" fmla="*/ 23 w 160"/>
                    <a:gd name="T23" fmla="*/ 22 h 96"/>
                    <a:gd name="T24" fmla="*/ 31 w 160"/>
                    <a:gd name="T25" fmla="*/ 22 h 96"/>
                    <a:gd name="T26" fmla="*/ 40 w 160"/>
                    <a:gd name="T27" fmla="*/ 30 h 96"/>
                    <a:gd name="T28" fmla="*/ 48 w 160"/>
                    <a:gd name="T29" fmla="*/ 33 h 96"/>
                    <a:gd name="T30" fmla="*/ 57 w 160"/>
                    <a:gd name="T31" fmla="*/ 30 h 96"/>
                    <a:gd name="T32" fmla="*/ 57 w 160"/>
                    <a:gd name="T33" fmla="*/ 24 h 96"/>
                    <a:gd name="T34" fmla="*/ 57 w 160"/>
                    <a:gd name="T35" fmla="*/ 19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60"/>
                    <a:gd name="T55" fmla="*/ 0 h 96"/>
                    <a:gd name="T56" fmla="*/ 160 w 160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60" h="96">
                      <a:moveTo>
                        <a:pt x="160" y="56"/>
                      </a:moveTo>
                      <a:lnTo>
                        <a:pt x="112" y="48"/>
                      </a:lnTo>
                      <a:lnTo>
                        <a:pt x="88" y="32"/>
                      </a:lnTo>
                      <a:lnTo>
                        <a:pt x="64" y="16"/>
                      </a:lnTo>
                      <a:lnTo>
                        <a:pt x="32" y="0"/>
                      </a:lnTo>
                      <a:lnTo>
                        <a:pt x="8" y="0"/>
                      </a:lnTo>
                      <a:lnTo>
                        <a:pt x="8" y="16"/>
                      </a:lnTo>
                      <a:lnTo>
                        <a:pt x="0" y="32"/>
                      </a:lnTo>
                      <a:lnTo>
                        <a:pt x="0" y="48"/>
                      </a:lnTo>
                      <a:lnTo>
                        <a:pt x="16" y="56"/>
                      </a:lnTo>
                      <a:lnTo>
                        <a:pt x="24" y="56"/>
                      </a:lnTo>
                      <a:lnTo>
                        <a:pt x="64" y="64"/>
                      </a:lnTo>
                      <a:lnTo>
                        <a:pt x="88" y="64"/>
                      </a:lnTo>
                      <a:lnTo>
                        <a:pt x="112" y="88"/>
                      </a:lnTo>
                      <a:lnTo>
                        <a:pt x="136" y="96"/>
                      </a:lnTo>
                      <a:lnTo>
                        <a:pt x="160" y="88"/>
                      </a:lnTo>
                      <a:lnTo>
                        <a:pt x="160" y="72"/>
                      </a:lnTo>
                      <a:lnTo>
                        <a:pt x="160" y="5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92" name="Freeform 123">
                  <a:extLst>
                    <a:ext uri="{FF2B5EF4-FFF2-40B4-BE49-F238E27FC236}">
                      <a16:creationId xmlns:a16="http://schemas.microsoft.com/office/drawing/2014/main" id="{75722712-8629-FD01-B4AD-E5E704F0C19C}"/>
                    </a:ext>
                  </a:extLst>
                </p:cNvPr>
                <p:cNvSpPr/>
                <p:nvPr/>
              </p:nvSpPr>
              <p:spPr bwMode="gray">
                <a:xfrm>
                  <a:off x="4044" y="2464"/>
                  <a:ext cx="45" cy="28"/>
                </a:xfrm>
                <a:custGeom>
                  <a:avLst/>
                  <a:gdLst>
                    <a:gd name="T0" fmla="*/ 23 w 64"/>
                    <a:gd name="T1" fmla="*/ 3 h 40"/>
                    <a:gd name="T2" fmla="*/ 17 w 64"/>
                    <a:gd name="T3" fmla="*/ 3 h 40"/>
                    <a:gd name="T4" fmla="*/ 11 w 64"/>
                    <a:gd name="T5" fmla="*/ 3 h 40"/>
                    <a:gd name="T6" fmla="*/ 8 w 64"/>
                    <a:gd name="T7" fmla="*/ 0 h 40"/>
                    <a:gd name="T8" fmla="*/ 6 w 64"/>
                    <a:gd name="T9" fmla="*/ 0 h 40"/>
                    <a:gd name="T10" fmla="*/ 0 w 64"/>
                    <a:gd name="T11" fmla="*/ 6 h 40"/>
                    <a:gd name="T12" fmla="*/ 0 w 64"/>
                    <a:gd name="T13" fmla="*/ 8 h 40"/>
                    <a:gd name="T14" fmla="*/ 3 w 64"/>
                    <a:gd name="T15" fmla="*/ 14 h 40"/>
                    <a:gd name="T16" fmla="*/ 23 w 64"/>
                    <a:gd name="T17" fmla="*/ 10 h 40"/>
                    <a:gd name="T18" fmla="*/ 23 w 64"/>
                    <a:gd name="T19" fmla="*/ 3 h 4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4"/>
                    <a:gd name="T31" fmla="*/ 0 h 40"/>
                    <a:gd name="T32" fmla="*/ 64 w 64"/>
                    <a:gd name="T33" fmla="*/ 40 h 4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4" h="40">
                      <a:moveTo>
                        <a:pt x="64" y="8"/>
                      </a:moveTo>
                      <a:lnTo>
                        <a:pt x="48" y="8"/>
                      </a:lnTo>
                      <a:lnTo>
                        <a:pt x="32" y="8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40"/>
                      </a:lnTo>
                      <a:lnTo>
                        <a:pt x="64" y="32"/>
                      </a:lnTo>
                      <a:lnTo>
                        <a:pt x="64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93" name="Freeform 124">
                  <a:extLst>
                    <a:ext uri="{FF2B5EF4-FFF2-40B4-BE49-F238E27FC236}">
                      <a16:creationId xmlns:a16="http://schemas.microsoft.com/office/drawing/2014/main" id="{326BC4FB-E1C6-6B76-DC4C-9459B4A5A196}"/>
                    </a:ext>
                  </a:extLst>
                </p:cNvPr>
                <p:cNvSpPr/>
                <p:nvPr/>
              </p:nvSpPr>
              <p:spPr bwMode="gray">
                <a:xfrm>
                  <a:off x="4027" y="2492"/>
                  <a:ext cx="67" cy="90"/>
                </a:xfrm>
                <a:custGeom>
                  <a:avLst/>
                  <a:gdLst>
                    <a:gd name="T0" fmla="*/ 33 w 96"/>
                    <a:gd name="T1" fmla="*/ 39 h 128"/>
                    <a:gd name="T2" fmla="*/ 30 w 96"/>
                    <a:gd name="T3" fmla="*/ 44 h 128"/>
                    <a:gd name="T4" fmla="*/ 27 w 96"/>
                    <a:gd name="T5" fmla="*/ 39 h 128"/>
                    <a:gd name="T6" fmla="*/ 27 w 96"/>
                    <a:gd name="T7" fmla="*/ 34 h 128"/>
                    <a:gd name="T8" fmla="*/ 22 w 96"/>
                    <a:gd name="T9" fmla="*/ 27 h 128"/>
                    <a:gd name="T10" fmla="*/ 19 w 96"/>
                    <a:gd name="T11" fmla="*/ 27 h 128"/>
                    <a:gd name="T12" fmla="*/ 19 w 96"/>
                    <a:gd name="T13" fmla="*/ 31 h 128"/>
                    <a:gd name="T14" fmla="*/ 19 w 96"/>
                    <a:gd name="T15" fmla="*/ 36 h 128"/>
                    <a:gd name="T16" fmla="*/ 10 w 96"/>
                    <a:gd name="T17" fmla="*/ 39 h 128"/>
                    <a:gd name="T18" fmla="*/ 8 w 96"/>
                    <a:gd name="T19" fmla="*/ 39 h 128"/>
                    <a:gd name="T20" fmla="*/ 6 w 96"/>
                    <a:gd name="T21" fmla="*/ 36 h 128"/>
                    <a:gd name="T22" fmla="*/ 6 w 96"/>
                    <a:gd name="T23" fmla="*/ 27 h 128"/>
                    <a:gd name="T24" fmla="*/ 6 w 96"/>
                    <a:gd name="T25" fmla="*/ 23 h 128"/>
                    <a:gd name="T26" fmla="*/ 6 w 96"/>
                    <a:gd name="T27" fmla="*/ 17 h 128"/>
                    <a:gd name="T28" fmla="*/ 0 w 96"/>
                    <a:gd name="T29" fmla="*/ 14 h 128"/>
                    <a:gd name="T30" fmla="*/ 0 w 96"/>
                    <a:gd name="T31" fmla="*/ 11 h 128"/>
                    <a:gd name="T32" fmla="*/ 6 w 96"/>
                    <a:gd name="T33" fmla="*/ 11 h 128"/>
                    <a:gd name="T34" fmla="*/ 6 w 96"/>
                    <a:gd name="T35" fmla="*/ 8 h 128"/>
                    <a:gd name="T36" fmla="*/ 3 w 96"/>
                    <a:gd name="T37" fmla="*/ 6 h 128"/>
                    <a:gd name="T38" fmla="*/ 0 w 96"/>
                    <a:gd name="T39" fmla="*/ 3 h 128"/>
                    <a:gd name="T40" fmla="*/ 6 w 96"/>
                    <a:gd name="T41" fmla="*/ 0 h 128"/>
                    <a:gd name="T42" fmla="*/ 10 w 96"/>
                    <a:gd name="T43" fmla="*/ 3 h 128"/>
                    <a:gd name="T44" fmla="*/ 14 w 96"/>
                    <a:gd name="T45" fmla="*/ 6 h 128"/>
                    <a:gd name="T46" fmla="*/ 27 w 96"/>
                    <a:gd name="T47" fmla="*/ 6 h 128"/>
                    <a:gd name="T48" fmla="*/ 30 w 96"/>
                    <a:gd name="T49" fmla="*/ 8 h 128"/>
                    <a:gd name="T50" fmla="*/ 27 w 96"/>
                    <a:gd name="T51" fmla="*/ 11 h 128"/>
                    <a:gd name="T52" fmla="*/ 24 w 96"/>
                    <a:gd name="T53" fmla="*/ 17 h 128"/>
                    <a:gd name="T54" fmla="*/ 24 w 96"/>
                    <a:gd name="T55" fmla="*/ 23 h 128"/>
                    <a:gd name="T56" fmla="*/ 30 w 96"/>
                    <a:gd name="T57" fmla="*/ 23 h 128"/>
                    <a:gd name="T58" fmla="*/ 33 w 96"/>
                    <a:gd name="T59" fmla="*/ 31 h 128"/>
                    <a:gd name="T60" fmla="*/ 33 w 96"/>
                    <a:gd name="T61" fmla="*/ 36 h 128"/>
                    <a:gd name="T62" fmla="*/ 33 w 96"/>
                    <a:gd name="T63" fmla="*/ 39 h 128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96"/>
                    <a:gd name="T97" fmla="*/ 0 h 128"/>
                    <a:gd name="T98" fmla="*/ 96 w 96"/>
                    <a:gd name="T99" fmla="*/ 128 h 128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96" h="128">
                      <a:moveTo>
                        <a:pt x="96" y="112"/>
                      </a:moveTo>
                      <a:lnTo>
                        <a:pt x="88" y="128"/>
                      </a:lnTo>
                      <a:lnTo>
                        <a:pt x="80" y="112"/>
                      </a:lnTo>
                      <a:lnTo>
                        <a:pt x="80" y="96"/>
                      </a:lnTo>
                      <a:lnTo>
                        <a:pt x="64" y="80"/>
                      </a:lnTo>
                      <a:lnTo>
                        <a:pt x="56" y="80"/>
                      </a:lnTo>
                      <a:lnTo>
                        <a:pt x="56" y="88"/>
                      </a:lnTo>
                      <a:lnTo>
                        <a:pt x="56" y="104"/>
                      </a:lnTo>
                      <a:lnTo>
                        <a:pt x="32" y="112"/>
                      </a:lnTo>
                      <a:lnTo>
                        <a:pt x="24" y="112"/>
                      </a:lnTo>
                      <a:lnTo>
                        <a:pt x="16" y="104"/>
                      </a:lnTo>
                      <a:lnTo>
                        <a:pt x="16" y="80"/>
                      </a:lnTo>
                      <a:lnTo>
                        <a:pt x="16" y="64"/>
                      </a:lnTo>
                      <a:lnTo>
                        <a:pt x="16" y="48"/>
                      </a:lnTo>
                      <a:lnTo>
                        <a:pt x="0" y="40"/>
                      </a:lnTo>
                      <a:lnTo>
                        <a:pt x="0" y="32"/>
                      </a:lnTo>
                      <a:lnTo>
                        <a:pt x="16" y="32"/>
                      </a:lnTo>
                      <a:lnTo>
                        <a:pt x="16" y="24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16" y="0"/>
                      </a:lnTo>
                      <a:lnTo>
                        <a:pt x="32" y="8"/>
                      </a:lnTo>
                      <a:lnTo>
                        <a:pt x="40" y="16"/>
                      </a:lnTo>
                      <a:lnTo>
                        <a:pt x="80" y="16"/>
                      </a:lnTo>
                      <a:lnTo>
                        <a:pt x="88" y="24"/>
                      </a:lnTo>
                      <a:lnTo>
                        <a:pt x="80" y="32"/>
                      </a:lnTo>
                      <a:lnTo>
                        <a:pt x="72" y="48"/>
                      </a:lnTo>
                      <a:lnTo>
                        <a:pt x="72" y="64"/>
                      </a:lnTo>
                      <a:lnTo>
                        <a:pt x="88" y="64"/>
                      </a:lnTo>
                      <a:lnTo>
                        <a:pt x="96" y="88"/>
                      </a:lnTo>
                      <a:lnTo>
                        <a:pt x="96" y="104"/>
                      </a:lnTo>
                      <a:lnTo>
                        <a:pt x="96" y="11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94" name="Freeform 125">
                  <a:extLst>
                    <a:ext uri="{FF2B5EF4-FFF2-40B4-BE49-F238E27FC236}">
                      <a16:creationId xmlns:a16="http://schemas.microsoft.com/office/drawing/2014/main" id="{D67DBEBC-7EF5-C8DE-D5B7-EC1606C03FFC}"/>
                    </a:ext>
                  </a:extLst>
                </p:cNvPr>
                <p:cNvSpPr/>
                <p:nvPr/>
              </p:nvSpPr>
              <p:spPr bwMode="gray">
                <a:xfrm>
                  <a:off x="4089" y="2464"/>
                  <a:ext cx="129" cy="282"/>
                </a:xfrm>
                <a:custGeom>
                  <a:avLst/>
                  <a:gdLst>
                    <a:gd name="T0" fmla="*/ 55 w 184"/>
                    <a:gd name="T1" fmla="*/ 61 h 400"/>
                    <a:gd name="T2" fmla="*/ 47 w 184"/>
                    <a:gd name="T3" fmla="*/ 65 h 400"/>
                    <a:gd name="T4" fmla="*/ 44 w 184"/>
                    <a:gd name="T5" fmla="*/ 67 h 400"/>
                    <a:gd name="T6" fmla="*/ 41 w 184"/>
                    <a:gd name="T7" fmla="*/ 67 h 400"/>
                    <a:gd name="T8" fmla="*/ 39 w 184"/>
                    <a:gd name="T9" fmla="*/ 70 h 400"/>
                    <a:gd name="T10" fmla="*/ 39 w 184"/>
                    <a:gd name="T11" fmla="*/ 78 h 400"/>
                    <a:gd name="T12" fmla="*/ 44 w 184"/>
                    <a:gd name="T13" fmla="*/ 84 h 400"/>
                    <a:gd name="T14" fmla="*/ 47 w 184"/>
                    <a:gd name="T15" fmla="*/ 95 h 400"/>
                    <a:gd name="T16" fmla="*/ 44 w 184"/>
                    <a:gd name="T17" fmla="*/ 98 h 400"/>
                    <a:gd name="T18" fmla="*/ 50 w 184"/>
                    <a:gd name="T19" fmla="*/ 112 h 400"/>
                    <a:gd name="T20" fmla="*/ 50 w 184"/>
                    <a:gd name="T21" fmla="*/ 121 h 400"/>
                    <a:gd name="T22" fmla="*/ 47 w 184"/>
                    <a:gd name="T23" fmla="*/ 129 h 400"/>
                    <a:gd name="T24" fmla="*/ 47 w 184"/>
                    <a:gd name="T25" fmla="*/ 135 h 400"/>
                    <a:gd name="T26" fmla="*/ 44 w 184"/>
                    <a:gd name="T27" fmla="*/ 140 h 400"/>
                    <a:gd name="T28" fmla="*/ 44 w 184"/>
                    <a:gd name="T29" fmla="*/ 132 h 400"/>
                    <a:gd name="T30" fmla="*/ 44 w 184"/>
                    <a:gd name="T31" fmla="*/ 121 h 400"/>
                    <a:gd name="T32" fmla="*/ 44 w 184"/>
                    <a:gd name="T33" fmla="*/ 118 h 400"/>
                    <a:gd name="T34" fmla="*/ 44 w 184"/>
                    <a:gd name="T35" fmla="*/ 115 h 400"/>
                    <a:gd name="T36" fmla="*/ 41 w 184"/>
                    <a:gd name="T37" fmla="*/ 109 h 400"/>
                    <a:gd name="T38" fmla="*/ 39 w 184"/>
                    <a:gd name="T39" fmla="*/ 101 h 400"/>
                    <a:gd name="T40" fmla="*/ 39 w 184"/>
                    <a:gd name="T41" fmla="*/ 92 h 400"/>
                    <a:gd name="T42" fmla="*/ 36 w 184"/>
                    <a:gd name="T43" fmla="*/ 90 h 400"/>
                    <a:gd name="T44" fmla="*/ 33 w 184"/>
                    <a:gd name="T45" fmla="*/ 87 h 400"/>
                    <a:gd name="T46" fmla="*/ 30 w 184"/>
                    <a:gd name="T47" fmla="*/ 92 h 400"/>
                    <a:gd name="T48" fmla="*/ 27 w 184"/>
                    <a:gd name="T49" fmla="*/ 95 h 400"/>
                    <a:gd name="T50" fmla="*/ 19 w 184"/>
                    <a:gd name="T51" fmla="*/ 98 h 400"/>
                    <a:gd name="T52" fmla="*/ 14 w 184"/>
                    <a:gd name="T53" fmla="*/ 98 h 400"/>
                    <a:gd name="T54" fmla="*/ 17 w 184"/>
                    <a:gd name="T55" fmla="*/ 92 h 400"/>
                    <a:gd name="T56" fmla="*/ 14 w 184"/>
                    <a:gd name="T57" fmla="*/ 87 h 400"/>
                    <a:gd name="T58" fmla="*/ 14 w 184"/>
                    <a:gd name="T59" fmla="*/ 78 h 400"/>
                    <a:gd name="T60" fmla="*/ 8 w 184"/>
                    <a:gd name="T61" fmla="*/ 73 h 400"/>
                    <a:gd name="T62" fmla="*/ 8 w 184"/>
                    <a:gd name="T63" fmla="*/ 67 h 400"/>
                    <a:gd name="T64" fmla="*/ 0 w 184"/>
                    <a:gd name="T65" fmla="*/ 61 h 400"/>
                    <a:gd name="T66" fmla="*/ 0 w 184"/>
                    <a:gd name="T67" fmla="*/ 59 h 400"/>
                    <a:gd name="T68" fmla="*/ 3 w 184"/>
                    <a:gd name="T69" fmla="*/ 53 h 400"/>
                    <a:gd name="T70" fmla="*/ 3 w 184"/>
                    <a:gd name="T71" fmla="*/ 51 h 400"/>
                    <a:gd name="T72" fmla="*/ 8 w 184"/>
                    <a:gd name="T73" fmla="*/ 48 h 400"/>
                    <a:gd name="T74" fmla="*/ 6 w 184"/>
                    <a:gd name="T75" fmla="*/ 36 h 400"/>
                    <a:gd name="T76" fmla="*/ 11 w 184"/>
                    <a:gd name="T77" fmla="*/ 36 h 400"/>
                    <a:gd name="T78" fmla="*/ 11 w 184"/>
                    <a:gd name="T79" fmla="*/ 34 h 400"/>
                    <a:gd name="T80" fmla="*/ 14 w 184"/>
                    <a:gd name="T81" fmla="*/ 31 h 400"/>
                    <a:gd name="T82" fmla="*/ 22 w 184"/>
                    <a:gd name="T83" fmla="*/ 8 h 400"/>
                    <a:gd name="T84" fmla="*/ 30 w 184"/>
                    <a:gd name="T85" fmla="*/ 6 h 400"/>
                    <a:gd name="T86" fmla="*/ 36 w 184"/>
                    <a:gd name="T87" fmla="*/ 0 h 400"/>
                    <a:gd name="T88" fmla="*/ 41 w 184"/>
                    <a:gd name="T89" fmla="*/ 0 h 400"/>
                    <a:gd name="T90" fmla="*/ 44 w 184"/>
                    <a:gd name="T91" fmla="*/ 8 h 400"/>
                    <a:gd name="T92" fmla="*/ 47 w 184"/>
                    <a:gd name="T93" fmla="*/ 19 h 400"/>
                    <a:gd name="T94" fmla="*/ 39 w 184"/>
                    <a:gd name="T95" fmla="*/ 25 h 400"/>
                    <a:gd name="T96" fmla="*/ 39 w 184"/>
                    <a:gd name="T97" fmla="*/ 34 h 400"/>
                    <a:gd name="T98" fmla="*/ 44 w 184"/>
                    <a:gd name="T99" fmla="*/ 34 h 400"/>
                    <a:gd name="T100" fmla="*/ 50 w 184"/>
                    <a:gd name="T101" fmla="*/ 42 h 400"/>
                    <a:gd name="T102" fmla="*/ 50 w 184"/>
                    <a:gd name="T103" fmla="*/ 48 h 400"/>
                    <a:gd name="T104" fmla="*/ 55 w 184"/>
                    <a:gd name="T105" fmla="*/ 48 h 400"/>
                    <a:gd name="T106" fmla="*/ 55 w 184"/>
                    <a:gd name="T107" fmla="*/ 51 h 400"/>
                    <a:gd name="T108" fmla="*/ 60 w 184"/>
                    <a:gd name="T109" fmla="*/ 53 h 400"/>
                    <a:gd name="T110" fmla="*/ 63 w 184"/>
                    <a:gd name="T111" fmla="*/ 56 h 400"/>
                    <a:gd name="T112" fmla="*/ 60 w 184"/>
                    <a:gd name="T113" fmla="*/ 56 h 400"/>
                    <a:gd name="T114" fmla="*/ 55 w 184"/>
                    <a:gd name="T115" fmla="*/ 61 h 400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184"/>
                    <a:gd name="T175" fmla="*/ 0 h 400"/>
                    <a:gd name="T176" fmla="*/ 184 w 184"/>
                    <a:gd name="T177" fmla="*/ 400 h 400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184" h="400">
                      <a:moveTo>
                        <a:pt x="160" y="176"/>
                      </a:moveTo>
                      <a:lnTo>
                        <a:pt x="136" y="184"/>
                      </a:lnTo>
                      <a:lnTo>
                        <a:pt x="128" y="192"/>
                      </a:lnTo>
                      <a:lnTo>
                        <a:pt x="120" y="192"/>
                      </a:lnTo>
                      <a:lnTo>
                        <a:pt x="112" y="200"/>
                      </a:lnTo>
                      <a:lnTo>
                        <a:pt x="112" y="224"/>
                      </a:lnTo>
                      <a:lnTo>
                        <a:pt x="128" y="240"/>
                      </a:lnTo>
                      <a:lnTo>
                        <a:pt x="136" y="272"/>
                      </a:lnTo>
                      <a:lnTo>
                        <a:pt x="128" y="280"/>
                      </a:lnTo>
                      <a:lnTo>
                        <a:pt x="144" y="320"/>
                      </a:lnTo>
                      <a:lnTo>
                        <a:pt x="144" y="344"/>
                      </a:lnTo>
                      <a:lnTo>
                        <a:pt x="136" y="368"/>
                      </a:lnTo>
                      <a:lnTo>
                        <a:pt x="136" y="384"/>
                      </a:lnTo>
                      <a:lnTo>
                        <a:pt x="128" y="400"/>
                      </a:lnTo>
                      <a:lnTo>
                        <a:pt x="128" y="376"/>
                      </a:lnTo>
                      <a:lnTo>
                        <a:pt x="128" y="344"/>
                      </a:lnTo>
                      <a:lnTo>
                        <a:pt x="128" y="336"/>
                      </a:lnTo>
                      <a:lnTo>
                        <a:pt x="128" y="328"/>
                      </a:lnTo>
                      <a:lnTo>
                        <a:pt x="120" y="312"/>
                      </a:lnTo>
                      <a:lnTo>
                        <a:pt x="112" y="288"/>
                      </a:lnTo>
                      <a:lnTo>
                        <a:pt x="112" y="264"/>
                      </a:lnTo>
                      <a:lnTo>
                        <a:pt x="104" y="256"/>
                      </a:lnTo>
                      <a:lnTo>
                        <a:pt x="96" y="248"/>
                      </a:lnTo>
                      <a:lnTo>
                        <a:pt x="88" y="264"/>
                      </a:lnTo>
                      <a:lnTo>
                        <a:pt x="80" y="272"/>
                      </a:lnTo>
                      <a:lnTo>
                        <a:pt x="56" y="280"/>
                      </a:lnTo>
                      <a:lnTo>
                        <a:pt x="40" y="280"/>
                      </a:lnTo>
                      <a:lnTo>
                        <a:pt x="48" y="264"/>
                      </a:lnTo>
                      <a:lnTo>
                        <a:pt x="40" y="248"/>
                      </a:lnTo>
                      <a:lnTo>
                        <a:pt x="40" y="224"/>
                      </a:lnTo>
                      <a:lnTo>
                        <a:pt x="24" y="208"/>
                      </a:lnTo>
                      <a:lnTo>
                        <a:pt x="24" y="192"/>
                      </a:lnTo>
                      <a:lnTo>
                        <a:pt x="0" y="176"/>
                      </a:lnTo>
                      <a:lnTo>
                        <a:pt x="0" y="168"/>
                      </a:lnTo>
                      <a:lnTo>
                        <a:pt x="8" y="152"/>
                      </a:lnTo>
                      <a:lnTo>
                        <a:pt x="8" y="144"/>
                      </a:lnTo>
                      <a:lnTo>
                        <a:pt x="24" y="136"/>
                      </a:lnTo>
                      <a:lnTo>
                        <a:pt x="16" y="104"/>
                      </a:lnTo>
                      <a:lnTo>
                        <a:pt x="32" y="104"/>
                      </a:lnTo>
                      <a:lnTo>
                        <a:pt x="32" y="96"/>
                      </a:lnTo>
                      <a:lnTo>
                        <a:pt x="40" y="88"/>
                      </a:lnTo>
                      <a:lnTo>
                        <a:pt x="64" y="24"/>
                      </a:lnTo>
                      <a:lnTo>
                        <a:pt x="88" y="16"/>
                      </a:lnTo>
                      <a:lnTo>
                        <a:pt x="104" y="0"/>
                      </a:lnTo>
                      <a:lnTo>
                        <a:pt x="120" y="0"/>
                      </a:lnTo>
                      <a:lnTo>
                        <a:pt x="128" y="24"/>
                      </a:lnTo>
                      <a:lnTo>
                        <a:pt x="136" y="56"/>
                      </a:lnTo>
                      <a:lnTo>
                        <a:pt x="112" y="72"/>
                      </a:lnTo>
                      <a:lnTo>
                        <a:pt x="112" y="96"/>
                      </a:lnTo>
                      <a:lnTo>
                        <a:pt x="128" y="96"/>
                      </a:lnTo>
                      <a:lnTo>
                        <a:pt x="144" y="120"/>
                      </a:lnTo>
                      <a:lnTo>
                        <a:pt x="144" y="136"/>
                      </a:lnTo>
                      <a:lnTo>
                        <a:pt x="160" y="136"/>
                      </a:lnTo>
                      <a:lnTo>
                        <a:pt x="160" y="144"/>
                      </a:lnTo>
                      <a:lnTo>
                        <a:pt x="176" y="152"/>
                      </a:lnTo>
                      <a:lnTo>
                        <a:pt x="184" y="160"/>
                      </a:lnTo>
                      <a:lnTo>
                        <a:pt x="176" y="160"/>
                      </a:lnTo>
                      <a:lnTo>
                        <a:pt x="160" y="17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95" name="Freeform 126">
                  <a:extLst>
                    <a:ext uri="{FF2B5EF4-FFF2-40B4-BE49-F238E27FC236}">
                      <a16:creationId xmlns:a16="http://schemas.microsoft.com/office/drawing/2014/main" id="{5F79E438-6CF2-D4B7-334A-CABB991DE480}"/>
                    </a:ext>
                  </a:extLst>
                </p:cNvPr>
                <p:cNvSpPr/>
                <p:nvPr/>
              </p:nvSpPr>
              <p:spPr bwMode="gray">
                <a:xfrm>
                  <a:off x="4201" y="2796"/>
                  <a:ext cx="62" cy="79"/>
                </a:xfrm>
                <a:custGeom>
                  <a:avLst/>
                  <a:gdLst>
                    <a:gd name="T0" fmla="*/ 19 w 88"/>
                    <a:gd name="T1" fmla="*/ 6 h 112"/>
                    <a:gd name="T2" fmla="*/ 23 w 88"/>
                    <a:gd name="T3" fmla="*/ 14 h 112"/>
                    <a:gd name="T4" fmla="*/ 25 w 88"/>
                    <a:gd name="T5" fmla="*/ 25 h 112"/>
                    <a:gd name="T6" fmla="*/ 27 w 88"/>
                    <a:gd name="T7" fmla="*/ 28 h 112"/>
                    <a:gd name="T8" fmla="*/ 31 w 88"/>
                    <a:gd name="T9" fmla="*/ 34 h 112"/>
                    <a:gd name="T10" fmla="*/ 31 w 88"/>
                    <a:gd name="T11" fmla="*/ 40 h 112"/>
                    <a:gd name="T12" fmla="*/ 27 w 88"/>
                    <a:gd name="T13" fmla="*/ 40 h 112"/>
                    <a:gd name="T14" fmla="*/ 23 w 88"/>
                    <a:gd name="T15" fmla="*/ 36 h 112"/>
                    <a:gd name="T16" fmla="*/ 17 w 88"/>
                    <a:gd name="T17" fmla="*/ 31 h 112"/>
                    <a:gd name="T18" fmla="*/ 14 w 88"/>
                    <a:gd name="T19" fmla="*/ 31 h 112"/>
                    <a:gd name="T20" fmla="*/ 11 w 88"/>
                    <a:gd name="T21" fmla="*/ 28 h 112"/>
                    <a:gd name="T22" fmla="*/ 8 w 88"/>
                    <a:gd name="T23" fmla="*/ 23 h 112"/>
                    <a:gd name="T24" fmla="*/ 6 w 88"/>
                    <a:gd name="T25" fmla="*/ 20 h 112"/>
                    <a:gd name="T26" fmla="*/ 3 w 88"/>
                    <a:gd name="T27" fmla="*/ 11 h 112"/>
                    <a:gd name="T28" fmla="*/ 3 w 88"/>
                    <a:gd name="T29" fmla="*/ 6 h 112"/>
                    <a:gd name="T30" fmla="*/ 0 w 88"/>
                    <a:gd name="T31" fmla="*/ 0 h 112"/>
                    <a:gd name="T32" fmla="*/ 6 w 88"/>
                    <a:gd name="T33" fmla="*/ 0 h 112"/>
                    <a:gd name="T34" fmla="*/ 8 w 88"/>
                    <a:gd name="T35" fmla="*/ 6 h 112"/>
                    <a:gd name="T36" fmla="*/ 11 w 88"/>
                    <a:gd name="T37" fmla="*/ 6 h 112"/>
                    <a:gd name="T38" fmla="*/ 19 w 88"/>
                    <a:gd name="T39" fmla="*/ 6 h 11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88"/>
                    <a:gd name="T61" fmla="*/ 0 h 112"/>
                    <a:gd name="T62" fmla="*/ 88 w 88"/>
                    <a:gd name="T63" fmla="*/ 112 h 11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88" h="112">
                      <a:moveTo>
                        <a:pt x="56" y="16"/>
                      </a:moveTo>
                      <a:lnTo>
                        <a:pt x="64" y="40"/>
                      </a:lnTo>
                      <a:lnTo>
                        <a:pt x="72" y="72"/>
                      </a:lnTo>
                      <a:lnTo>
                        <a:pt x="80" y="80"/>
                      </a:lnTo>
                      <a:lnTo>
                        <a:pt x="88" y="96"/>
                      </a:lnTo>
                      <a:lnTo>
                        <a:pt x="88" y="112"/>
                      </a:lnTo>
                      <a:lnTo>
                        <a:pt x="80" y="112"/>
                      </a:lnTo>
                      <a:lnTo>
                        <a:pt x="64" y="104"/>
                      </a:lnTo>
                      <a:lnTo>
                        <a:pt x="48" y="88"/>
                      </a:lnTo>
                      <a:lnTo>
                        <a:pt x="40" y="88"/>
                      </a:lnTo>
                      <a:lnTo>
                        <a:pt x="32" y="80"/>
                      </a:lnTo>
                      <a:lnTo>
                        <a:pt x="24" y="64"/>
                      </a:lnTo>
                      <a:lnTo>
                        <a:pt x="16" y="56"/>
                      </a:lnTo>
                      <a:lnTo>
                        <a:pt x="8" y="32"/>
                      </a:lnTo>
                      <a:lnTo>
                        <a:pt x="8" y="16"/>
                      </a:lnTo>
                      <a:lnTo>
                        <a:pt x="0" y="0"/>
                      </a:lnTo>
                      <a:lnTo>
                        <a:pt x="16" y="0"/>
                      </a:ln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56" y="1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96" name="Freeform 127">
                  <a:extLst>
                    <a:ext uri="{FF2B5EF4-FFF2-40B4-BE49-F238E27FC236}">
                      <a16:creationId xmlns:a16="http://schemas.microsoft.com/office/drawing/2014/main" id="{6CD0DAD6-BB09-4E20-B3C7-27548AFDCA68}"/>
                    </a:ext>
                  </a:extLst>
                </p:cNvPr>
                <p:cNvSpPr/>
                <p:nvPr/>
              </p:nvSpPr>
              <p:spPr bwMode="gray">
                <a:xfrm>
                  <a:off x="4235" y="2672"/>
                  <a:ext cx="79" cy="68"/>
                </a:xfrm>
                <a:custGeom>
                  <a:avLst/>
                  <a:gdLst>
                    <a:gd name="T0" fmla="*/ 36 w 112"/>
                    <a:gd name="T1" fmla="*/ 6 h 96"/>
                    <a:gd name="T2" fmla="*/ 40 w 112"/>
                    <a:gd name="T3" fmla="*/ 11 h 96"/>
                    <a:gd name="T4" fmla="*/ 36 w 112"/>
                    <a:gd name="T5" fmla="*/ 20 h 96"/>
                    <a:gd name="T6" fmla="*/ 28 w 112"/>
                    <a:gd name="T7" fmla="*/ 20 h 96"/>
                    <a:gd name="T8" fmla="*/ 25 w 112"/>
                    <a:gd name="T9" fmla="*/ 23 h 96"/>
                    <a:gd name="T10" fmla="*/ 25 w 112"/>
                    <a:gd name="T11" fmla="*/ 28 h 96"/>
                    <a:gd name="T12" fmla="*/ 20 w 112"/>
                    <a:gd name="T13" fmla="*/ 31 h 96"/>
                    <a:gd name="T14" fmla="*/ 17 w 112"/>
                    <a:gd name="T15" fmla="*/ 31 h 96"/>
                    <a:gd name="T16" fmla="*/ 17 w 112"/>
                    <a:gd name="T17" fmla="*/ 34 h 96"/>
                    <a:gd name="T18" fmla="*/ 11 w 112"/>
                    <a:gd name="T19" fmla="*/ 34 h 96"/>
                    <a:gd name="T20" fmla="*/ 6 w 112"/>
                    <a:gd name="T21" fmla="*/ 31 h 96"/>
                    <a:gd name="T22" fmla="*/ 3 w 112"/>
                    <a:gd name="T23" fmla="*/ 26 h 96"/>
                    <a:gd name="T24" fmla="*/ 3 w 112"/>
                    <a:gd name="T25" fmla="*/ 23 h 96"/>
                    <a:gd name="T26" fmla="*/ 3 w 112"/>
                    <a:gd name="T27" fmla="*/ 14 h 96"/>
                    <a:gd name="T28" fmla="*/ 0 w 112"/>
                    <a:gd name="T29" fmla="*/ 11 h 96"/>
                    <a:gd name="T30" fmla="*/ 0 w 112"/>
                    <a:gd name="T31" fmla="*/ 9 h 96"/>
                    <a:gd name="T32" fmla="*/ 3 w 112"/>
                    <a:gd name="T33" fmla="*/ 6 h 96"/>
                    <a:gd name="T34" fmla="*/ 6 w 112"/>
                    <a:gd name="T35" fmla="*/ 3 h 96"/>
                    <a:gd name="T36" fmla="*/ 8 w 112"/>
                    <a:gd name="T37" fmla="*/ 0 h 96"/>
                    <a:gd name="T38" fmla="*/ 20 w 112"/>
                    <a:gd name="T39" fmla="*/ 6 h 96"/>
                    <a:gd name="T40" fmla="*/ 28 w 112"/>
                    <a:gd name="T41" fmla="*/ 6 h 96"/>
                    <a:gd name="T42" fmla="*/ 28 w 112"/>
                    <a:gd name="T43" fmla="*/ 3 h 96"/>
                    <a:gd name="T44" fmla="*/ 31 w 112"/>
                    <a:gd name="T45" fmla="*/ 0 h 96"/>
                    <a:gd name="T46" fmla="*/ 34 w 112"/>
                    <a:gd name="T47" fmla="*/ 6 h 96"/>
                    <a:gd name="T48" fmla="*/ 36 w 112"/>
                    <a:gd name="T49" fmla="*/ 6 h 9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12"/>
                    <a:gd name="T76" fmla="*/ 0 h 96"/>
                    <a:gd name="T77" fmla="*/ 112 w 112"/>
                    <a:gd name="T78" fmla="*/ 96 h 9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12" h="96">
                      <a:moveTo>
                        <a:pt x="104" y="16"/>
                      </a:moveTo>
                      <a:lnTo>
                        <a:pt x="112" y="32"/>
                      </a:lnTo>
                      <a:lnTo>
                        <a:pt x="104" y="56"/>
                      </a:lnTo>
                      <a:lnTo>
                        <a:pt x="80" y="56"/>
                      </a:lnTo>
                      <a:lnTo>
                        <a:pt x="72" y="64"/>
                      </a:lnTo>
                      <a:lnTo>
                        <a:pt x="72" y="80"/>
                      </a:lnTo>
                      <a:lnTo>
                        <a:pt x="56" y="88"/>
                      </a:lnTo>
                      <a:lnTo>
                        <a:pt x="48" y="88"/>
                      </a:lnTo>
                      <a:lnTo>
                        <a:pt x="48" y="96"/>
                      </a:lnTo>
                      <a:lnTo>
                        <a:pt x="32" y="96"/>
                      </a:lnTo>
                      <a:lnTo>
                        <a:pt x="16" y="88"/>
                      </a:lnTo>
                      <a:lnTo>
                        <a:pt x="8" y="72"/>
                      </a:lnTo>
                      <a:lnTo>
                        <a:pt x="8" y="64"/>
                      </a:lnTo>
                      <a:lnTo>
                        <a:pt x="8" y="40"/>
                      </a:lnTo>
                      <a:lnTo>
                        <a:pt x="0" y="32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56" y="16"/>
                      </a:lnTo>
                      <a:lnTo>
                        <a:pt x="80" y="16"/>
                      </a:lnTo>
                      <a:lnTo>
                        <a:pt x="80" y="8"/>
                      </a:lnTo>
                      <a:lnTo>
                        <a:pt x="88" y="0"/>
                      </a:lnTo>
                      <a:lnTo>
                        <a:pt x="96" y="16"/>
                      </a:lnTo>
                      <a:lnTo>
                        <a:pt x="104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97" name="Freeform 128">
                  <a:extLst>
                    <a:ext uri="{FF2B5EF4-FFF2-40B4-BE49-F238E27FC236}">
                      <a16:creationId xmlns:a16="http://schemas.microsoft.com/office/drawing/2014/main" id="{D4A63959-10CF-51C3-B15B-1972F55DF6A4}"/>
                    </a:ext>
                  </a:extLst>
                </p:cNvPr>
                <p:cNvSpPr/>
                <p:nvPr/>
              </p:nvSpPr>
              <p:spPr bwMode="gray">
                <a:xfrm>
                  <a:off x="4235" y="2543"/>
                  <a:ext cx="101" cy="225"/>
                </a:xfrm>
                <a:custGeom>
                  <a:avLst/>
                  <a:gdLst>
                    <a:gd name="T0" fmla="*/ 41 w 144"/>
                    <a:gd name="T1" fmla="*/ 14 h 320"/>
                    <a:gd name="T2" fmla="*/ 39 w 144"/>
                    <a:gd name="T3" fmla="*/ 17 h 320"/>
                    <a:gd name="T4" fmla="*/ 33 w 144"/>
                    <a:gd name="T5" fmla="*/ 19 h 320"/>
                    <a:gd name="T6" fmla="*/ 30 w 144"/>
                    <a:gd name="T7" fmla="*/ 25 h 320"/>
                    <a:gd name="T8" fmla="*/ 27 w 144"/>
                    <a:gd name="T9" fmla="*/ 25 h 320"/>
                    <a:gd name="T10" fmla="*/ 25 w 144"/>
                    <a:gd name="T11" fmla="*/ 31 h 320"/>
                    <a:gd name="T12" fmla="*/ 25 w 144"/>
                    <a:gd name="T13" fmla="*/ 39 h 320"/>
                    <a:gd name="T14" fmla="*/ 27 w 144"/>
                    <a:gd name="T15" fmla="*/ 39 h 320"/>
                    <a:gd name="T16" fmla="*/ 36 w 144"/>
                    <a:gd name="T17" fmla="*/ 50 h 320"/>
                    <a:gd name="T18" fmla="*/ 39 w 144"/>
                    <a:gd name="T19" fmla="*/ 53 h 320"/>
                    <a:gd name="T20" fmla="*/ 41 w 144"/>
                    <a:gd name="T21" fmla="*/ 58 h 320"/>
                    <a:gd name="T22" fmla="*/ 47 w 144"/>
                    <a:gd name="T23" fmla="*/ 64 h 320"/>
                    <a:gd name="T24" fmla="*/ 50 w 144"/>
                    <a:gd name="T25" fmla="*/ 78 h 320"/>
                    <a:gd name="T26" fmla="*/ 47 w 144"/>
                    <a:gd name="T27" fmla="*/ 86 h 320"/>
                    <a:gd name="T28" fmla="*/ 47 w 144"/>
                    <a:gd name="T29" fmla="*/ 92 h 320"/>
                    <a:gd name="T30" fmla="*/ 41 w 144"/>
                    <a:gd name="T31" fmla="*/ 94 h 320"/>
                    <a:gd name="T32" fmla="*/ 33 w 144"/>
                    <a:gd name="T33" fmla="*/ 98 h 320"/>
                    <a:gd name="T34" fmla="*/ 33 w 144"/>
                    <a:gd name="T35" fmla="*/ 101 h 320"/>
                    <a:gd name="T36" fmla="*/ 30 w 144"/>
                    <a:gd name="T37" fmla="*/ 105 h 320"/>
                    <a:gd name="T38" fmla="*/ 25 w 144"/>
                    <a:gd name="T39" fmla="*/ 105 h 320"/>
                    <a:gd name="T40" fmla="*/ 19 w 144"/>
                    <a:gd name="T41" fmla="*/ 111 h 320"/>
                    <a:gd name="T42" fmla="*/ 17 w 144"/>
                    <a:gd name="T43" fmla="*/ 111 h 320"/>
                    <a:gd name="T44" fmla="*/ 17 w 144"/>
                    <a:gd name="T45" fmla="*/ 101 h 320"/>
                    <a:gd name="T46" fmla="*/ 17 w 144"/>
                    <a:gd name="T47" fmla="*/ 98 h 320"/>
                    <a:gd name="T48" fmla="*/ 17 w 144"/>
                    <a:gd name="T49" fmla="*/ 94 h 320"/>
                    <a:gd name="T50" fmla="*/ 19 w 144"/>
                    <a:gd name="T51" fmla="*/ 94 h 320"/>
                    <a:gd name="T52" fmla="*/ 25 w 144"/>
                    <a:gd name="T53" fmla="*/ 92 h 320"/>
                    <a:gd name="T54" fmla="*/ 25 w 144"/>
                    <a:gd name="T55" fmla="*/ 86 h 320"/>
                    <a:gd name="T56" fmla="*/ 27 w 144"/>
                    <a:gd name="T57" fmla="*/ 84 h 320"/>
                    <a:gd name="T58" fmla="*/ 36 w 144"/>
                    <a:gd name="T59" fmla="*/ 84 h 320"/>
                    <a:gd name="T60" fmla="*/ 39 w 144"/>
                    <a:gd name="T61" fmla="*/ 75 h 320"/>
                    <a:gd name="T62" fmla="*/ 36 w 144"/>
                    <a:gd name="T63" fmla="*/ 70 h 320"/>
                    <a:gd name="T64" fmla="*/ 36 w 144"/>
                    <a:gd name="T65" fmla="*/ 56 h 320"/>
                    <a:gd name="T66" fmla="*/ 33 w 144"/>
                    <a:gd name="T67" fmla="*/ 53 h 320"/>
                    <a:gd name="T68" fmla="*/ 30 w 144"/>
                    <a:gd name="T69" fmla="*/ 50 h 320"/>
                    <a:gd name="T70" fmla="*/ 22 w 144"/>
                    <a:gd name="T71" fmla="*/ 41 h 320"/>
                    <a:gd name="T72" fmla="*/ 17 w 144"/>
                    <a:gd name="T73" fmla="*/ 34 h 320"/>
                    <a:gd name="T74" fmla="*/ 19 w 144"/>
                    <a:gd name="T75" fmla="*/ 23 h 320"/>
                    <a:gd name="T76" fmla="*/ 11 w 144"/>
                    <a:gd name="T77" fmla="*/ 19 h 320"/>
                    <a:gd name="T78" fmla="*/ 6 w 144"/>
                    <a:gd name="T79" fmla="*/ 19 h 320"/>
                    <a:gd name="T80" fmla="*/ 6 w 144"/>
                    <a:gd name="T81" fmla="*/ 11 h 320"/>
                    <a:gd name="T82" fmla="*/ 3 w 144"/>
                    <a:gd name="T83" fmla="*/ 11 h 320"/>
                    <a:gd name="T84" fmla="*/ 0 w 144"/>
                    <a:gd name="T85" fmla="*/ 6 h 320"/>
                    <a:gd name="T86" fmla="*/ 3 w 144"/>
                    <a:gd name="T87" fmla="*/ 3 h 320"/>
                    <a:gd name="T88" fmla="*/ 8 w 144"/>
                    <a:gd name="T89" fmla="*/ 6 h 320"/>
                    <a:gd name="T90" fmla="*/ 17 w 144"/>
                    <a:gd name="T91" fmla="*/ 6 h 320"/>
                    <a:gd name="T92" fmla="*/ 19 w 144"/>
                    <a:gd name="T93" fmla="*/ 0 h 320"/>
                    <a:gd name="T94" fmla="*/ 25 w 144"/>
                    <a:gd name="T95" fmla="*/ 3 h 320"/>
                    <a:gd name="T96" fmla="*/ 30 w 144"/>
                    <a:gd name="T97" fmla="*/ 3 h 320"/>
                    <a:gd name="T98" fmla="*/ 33 w 144"/>
                    <a:gd name="T99" fmla="*/ 6 h 320"/>
                    <a:gd name="T100" fmla="*/ 30 w 144"/>
                    <a:gd name="T101" fmla="*/ 8 h 320"/>
                    <a:gd name="T102" fmla="*/ 36 w 144"/>
                    <a:gd name="T103" fmla="*/ 14 h 320"/>
                    <a:gd name="T104" fmla="*/ 39 w 144"/>
                    <a:gd name="T105" fmla="*/ 14 h 320"/>
                    <a:gd name="T106" fmla="*/ 41 w 144"/>
                    <a:gd name="T107" fmla="*/ 14 h 32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44"/>
                    <a:gd name="T163" fmla="*/ 0 h 320"/>
                    <a:gd name="T164" fmla="*/ 144 w 144"/>
                    <a:gd name="T165" fmla="*/ 320 h 320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44" h="320">
                      <a:moveTo>
                        <a:pt x="120" y="40"/>
                      </a:moveTo>
                      <a:lnTo>
                        <a:pt x="112" y="48"/>
                      </a:lnTo>
                      <a:lnTo>
                        <a:pt x="96" y="56"/>
                      </a:lnTo>
                      <a:lnTo>
                        <a:pt x="88" y="72"/>
                      </a:lnTo>
                      <a:lnTo>
                        <a:pt x="80" y="72"/>
                      </a:lnTo>
                      <a:lnTo>
                        <a:pt x="72" y="88"/>
                      </a:lnTo>
                      <a:lnTo>
                        <a:pt x="72" y="112"/>
                      </a:lnTo>
                      <a:lnTo>
                        <a:pt x="80" y="112"/>
                      </a:lnTo>
                      <a:lnTo>
                        <a:pt x="104" y="144"/>
                      </a:lnTo>
                      <a:lnTo>
                        <a:pt x="112" y="152"/>
                      </a:lnTo>
                      <a:lnTo>
                        <a:pt x="120" y="168"/>
                      </a:lnTo>
                      <a:lnTo>
                        <a:pt x="136" y="184"/>
                      </a:lnTo>
                      <a:lnTo>
                        <a:pt x="144" y="224"/>
                      </a:lnTo>
                      <a:lnTo>
                        <a:pt x="136" y="248"/>
                      </a:lnTo>
                      <a:lnTo>
                        <a:pt x="136" y="264"/>
                      </a:lnTo>
                      <a:lnTo>
                        <a:pt x="120" y="272"/>
                      </a:lnTo>
                      <a:lnTo>
                        <a:pt x="96" y="280"/>
                      </a:lnTo>
                      <a:lnTo>
                        <a:pt x="96" y="288"/>
                      </a:lnTo>
                      <a:lnTo>
                        <a:pt x="88" y="304"/>
                      </a:lnTo>
                      <a:lnTo>
                        <a:pt x="72" y="304"/>
                      </a:lnTo>
                      <a:lnTo>
                        <a:pt x="56" y="320"/>
                      </a:lnTo>
                      <a:lnTo>
                        <a:pt x="48" y="320"/>
                      </a:lnTo>
                      <a:lnTo>
                        <a:pt x="48" y="288"/>
                      </a:lnTo>
                      <a:lnTo>
                        <a:pt x="48" y="280"/>
                      </a:lnTo>
                      <a:lnTo>
                        <a:pt x="48" y="272"/>
                      </a:lnTo>
                      <a:lnTo>
                        <a:pt x="56" y="272"/>
                      </a:lnTo>
                      <a:lnTo>
                        <a:pt x="72" y="264"/>
                      </a:lnTo>
                      <a:lnTo>
                        <a:pt x="72" y="248"/>
                      </a:lnTo>
                      <a:lnTo>
                        <a:pt x="80" y="240"/>
                      </a:lnTo>
                      <a:lnTo>
                        <a:pt x="104" y="240"/>
                      </a:lnTo>
                      <a:lnTo>
                        <a:pt x="112" y="216"/>
                      </a:lnTo>
                      <a:lnTo>
                        <a:pt x="104" y="200"/>
                      </a:lnTo>
                      <a:lnTo>
                        <a:pt x="104" y="160"/>
                      </a:lnTo>
                      <a:lnTo>
                        <a:pt x="96" y="152"/>
                      </a:lnTo>
                      <a:lnTo>
                        <a:pt x="88" y="144"/>
                      </a:lnTo>
                      <a:lnTo>
                        <a:pt x="64" y="120"/>
                      </a:lnTo>
                      <a:lnTo>
                        <a:pt x="48" y="96"/>
                      </a:lnTo>
                      <a:lnTo>
                        <a:pt x="56" y="64"/>
                      </a:lnTo>
                      <a:lnTo>
                        <a:pt x="32" y="56"/>
                      </a:lnTo>
                      <a:lnTo>
                        <a:pt x="16" y="56"/>
                      </a:lnTo>
                      <a:lnTo>
                        <a:pt x="16" y="32"/>
                      </a:lnTo>
                      <a:lnTo>
                        <a:pt x="8" y="32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24" y="16"/>
                      </a:lnTo>
                      <a:lnTo>
                        <a:pt x="48" y="16"/>
                      </a:lnTo>
                      <a:lnTo>
                        <a:pt x="56" y="0"/>
                      </a:lnTo>
                      <a:lnTo>
                        <a:pt x="72" y="8"/>
                      </a:lnTo>
                      <a:lnTo>
                        <a:pt x="88" y="8"/>
                      </a:lnTo>
                      <a:lnTo>
                        <a:pt x="96" y="16"/>
                      </a:lnTo>
                      <a:lnTo>
                        <a:pt x="88" y="24"/>
                      </a:lnTo>
                      <a:lnTo>
                        <a:pt x="104" y="40"/>
                      </a:lnTo>
                      <a:lnTo>
                        <a:pt x="112" y="40"/>
                      </a:lnTo>
                      <a:lnTo>
                        <a:pt x="120" y="4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98" name="Freeform 129">
                  <a:extLst>
                    <a:ext uri="{FF2B5EF4-FFF2-40B4-BE49-F238E27FC236}">
                      <a16:creationId xmlns:a16="http://schemas.microsoft.com/office/drawing/2014/main" id="{4F4FD184-68FF-C12B-3239-0A43974B6DF9}"/>
                    </a:ext>
                  </a:extLst>
                </p:cNvPr>
                <p:cNvSpPr/>
                <p:nvPr/>
              </p:nvSpPr>
              <p:spPr bwMode="gray">
                <a:xfrm>
                  <a:off x="4168" y="2588"/>
                  <a:ext cx="112" cy="220"/>
                </a:xfrm>
                <a:custGeom>
                  <a:avLst/>
                  <a:gdLst>
                    <a:gd name="T0" fmla="*/ 17 w 160"/>
                    <a:gd name="T1" fmla="*/ 0 h 312"/>
                    <a:gd name="T2" fmla="*/ 8 w 160"/>
                    <a:gd name="T3" fmla="*/ 3 h 312"/>
                    <a:gd name="T4" fmla="*/ 6 w 160"/>
                    <a:gd name="T5" fmla="*/ 6 h 312"/>
                    <a:gd name="T6" fmla="*/ 3 w 160"/>
                    <a:gd name="T7" fmla="*/ 6 h 312"/>
                    <a:gd name="T8" fmla="*/ 0 w 160"/>
                    <a:gd name="T9" fmla="*/ 8 h 312"/>
                    <a:gd name="T10" fmla="*/ 0 w 160"/>
                    <a:gd name="T11" fmla="*/ 17 h 312"/>
                    <a:gd name="T12" fmla="*/ 6 w 160"/>
                    <a:gd name="T13" fmla="*/ 23 h 312"/>
                    <a:gd name="T14" fmla="*/ 8 w 160"/>
                    <a:gd name="T15" fmla="*/ 34 h 312"/>
                    <a:gd name="T16" fmla="*/ 6 w 160"/>
                    <a:gd name="T17" fmla="*/ 36 h 312"/>
                    <a:gd name="T18" fmla="*/ 10 w 160"/>
                    <a:gd name="T19" fmla="*/ 51 h 312"/>
                    <a:gd name="T20" fmla="*/ 10 w 160"/>
                    <a:gd name="T21" fmla="*/ 59 h 312"/>
                    <a:gd name="T22" fmla="*/ 8 w 160"/>
                    <a:gd name="T23" fmla="*/ 67 h 312"/>
                    <a:gd name="T24" fmla="*/ 8 w 160"/>
                    <a:gd name="T25" fmla="*/ 73 h 312"/>
                    <a:gd name="T26" fmla="*/ 6 w 160"/>
                    <a:gd name="T27" fmla="*/ 78 h 312"/>
                    <a:gd name="T28" fmla="*/ 6 w 160"/>
                    <a:gd name="T29" fmla="*/ 82 h 312"/>
                    <a:gd name="T30" fmla="*/ 6 w 160"/>
                    <a:gd name="T31" fmla="*/ 84 h 312"/>
                    <a:gd name="T32" fmla="*/ 6 w 160"/>
                    <a:gd name="T33" fmla="*/ 92 h 312"/>
                    <a:gd name="T34" fmla="*/ 8 w 160"/>
                    <a:gd name="T35" fmla="*/ 92 h 312"/>
                    <a:gd name="T36" fmla="*/ 14 w 160"/>
                    <a:gd name="T37" fmla="*/ 98 h 312"/>
                    <a:gd name="T38" fmla="*/ 17 w 160"/>
                    <a:gd name="T39" fmla="*/ 104 h 312"/>
                    <a:gd name="T40" fmla="*/ 22 w 160"/>
                    <a:gd name="T41" fmla="*/ 104 h 312"/>
                    <a:gd name="T42" fmla="*/ 25 w 160"/>
                    <a:gd name="T43" fmla="*/ 109 h 312"/>
                    <a:gd name="T44" fmla="*/ 27 w 160"/>
                    <a:gd name="T45" fmla="*/ 109 h 312"/>
                    <a:gd name="T46" fmla="*/ 36 w 160"/>
                    <a:gd name="T47" fmla="*/ 109 h 312"/>
                    <a:gd name="T48" fmla="*/ 33 w 160"/>
                    <a:gd name="T49" fmla="*/ 106 h 312"/>
                    <a:gd name="T50" fmla="*/ 27 w 160"/>
                    <a:gd name="T51" fmla="*/ 101 h 312"/>
                    <a:gd name="T52" fmla="*/ 22 w 160"/>
                    <a:gd name="T53" fmla="*/ 101 h 312"/>
                    <a:gd name="T54" fmla="*/ 19 w 160"/>
                    <a:gd name="T55" fmla="*/ 95 h 312"/>
                    <a:gd name="T56" fmla="*/ 17 w 160"/>
                    <a:gd name="T57" fmla="*/ 87 h 312"/>
                    <a:gd name="T58" fmla="*/ 14 w 160"/>
                    <a:gd name="T59" fmla="*/ 84 h 312"/>
                    <a:gd name="T60" fmla="*/ 10 w 160"/>
                    <a:gd name="T61" fmla="*/ 78 h 312"/>
                    <a:gd name="T62" fmla="*/ 14 w 160"/>
                    <a:gd name="T63" fmla="*/ 70 h 312"/>
                    <a:gd name="T64" fmla="*/ 17 w 160"/>
                    <a:gd name="T65" fmla="*/ 65 h 312"/>
                    <a:gd name="T66" fmla="*/ 17 w 160"/>
                    <a:gd name="T67" fmla="*/ 56 h 312"/>
                    <a:gd name="T68" fmla="*/ 19 w 160"/>
                    <a:gd name="T69" fmla="*/ 53 h 312"/>
                    <a:gd name="T70" fmla="*/ 25 w 160"/>
                    <a:gd name="T71" fmla="*/ 53 h 312"/>
                    <a:gd name="T72" fmla="*/ 25 w 160"/>
                    <a:gd name="T73" fmla="*/ 59 h 312"/>
                    <a:gd name="T74" fmla="*/ 30 w 160"/>
                    <a:gd name="T75" fmla="*/ 61 h 312"/>
                    <a:gd name="T76" fmla="*/ 36 w 160"/>
                    <a:gd name="T77" fmla="*/ 65 h 312"/>
                    <a:gd name="T78" fmla="*/ 36 w 160"/>
                    <a:gd name="T79" fmla="*/ 56 h 312"/>
                    <a:gd name="T80" fmla="*/ 33 w 160"/>
                    <a:gd name="T81" fmla="*/ 53 h 312"/>
                    <a:gd name="T82" fmla="*/ 33 w 160"/>
                    <a:gd name="T83" fmla="*/ 51 h 312"/>
                    <a:gd name="T84" fmla="*/ 36 w 160"/>
                    <a:gd name="T85" fmla="*/ 48 h 312"/>
                    <a:gd name="T86" fmla="*/ 38 w 160"/>
                    <a:gd name="T87" fmla="*/ 44 h 312"/>
                    <a:gd name="T88" fmla="*/ 41 w 160"/>
                    <a:gd name="T89" fmla="*/ 42 h 312"/>
                    <a:gd name="T90" fmla="*/ 52 w 160"/>
                    <a:gd name="T91" fmla="*/ 48 h 312"/>
                    <a:gd name="T92" fmla="*/ 55 w 160"/>
                    <a:gd name="T93" fmla="*/ 36 h 312"/>
                    <a:gd name="T94" fmla="*/ 55 w 160"/>
                    <a:gd name="T95" fmla="*/ 34 h 312"/>
                    <a:gd name="T96" fmla="*/ 47 w 160"/>
                    <a:gd name="T97" fmla="*/ 25 h 312"/>
                    <a:gd name="T98" fmla="*/ 44 w 160"/>
                    <a:gd name="T99" fmla="*/ 17 h 312"/>
                    <a:gd name="T100" fmla="*/ 41 w 160"/>
                    <a:gd name="T101" fmla="*/ 14 h 312"/>
                    <a:gd name="T102" fmla="*/ 38 w 160"/>
                    <a:gd name="T103" fmla="*/ 20 h 312"/>
                    <a:gd name="T104" fmla="*/ 36 w 160"/>
                    <a:gd name="T105" fmla="*/ 20 h 312"/>
                    <a:gd name="T106" fmla="*/ 33 w 160"/>
                    <a:gd name="T107" fmla="*/ 17 h 312"/>
                    <a:gd name="T108" fmla="*/ 27 w 160"/>
                    <a:gd name="T109" fmla="*/ 17 h 312"/>
                    <a:gd name="T110" fmla="*/ 25 w 160"/>
                    <a:gd name="T111" fmla="*/ 23 h 312"/>
                    <a:gd name="T112" fmla="*/ 22 w 160"/>
                    <a:gd name="T113" fmla="*/ 20 h 312"/>
                    <a:gd name="T114" fmla="*/ 22 w 160"/>
                    <a:gd name="T115" fmla="*/ 17 h 312"/>
                    <a:gd name="T116" fmla="*/ 25 w 160"/>
                    <a:gd name="T117" fmla="*/ 8 h 312"/>
                    <a:gd name="T118" fmla="*/ 19 w 160"/>
                    <a:gd name="T119" fmla="*/ 6 h 312"/>
                    <a:gd name="T120" fmla="*/ 17 w 160"/>
                    <a:gd name="T121" fmla="*/ 0 h 312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60"/>
                    <a:gd name="T184" fmla="*/ 0 h 312"/>
                    <a:gd name="T185" fmla="*/ 160 w 160"/>
                    <a:gd name="T186" fmla="*/ 312 h 312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60" h="312">
                      <a:moveTo>
                        <a:pt x="48" y="0"/>
                      </a:moveTo>
                      <a:lnTo>
                        <a:pt x="24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0" y="24"/>
                      </a:lnTo>
                      <a:lnTo>
                        <a:pt x="0" y="48"/>
                      </a:lnTo>
                      <a:lnTo>
                        <a:pt x="16" y="64"/>
                      </a:lnTo>
                      <a:lnTo>
                        <a:pt x="24" y="96"/>
                      </a:lnTo>
                      <a:lnTo>
                        <a:pt x="16" y="104"/>
                      </a:lnTo>
                      <a:lnTo>
                        <a:pt x="32" y="144"/>
                      </a:lnTo>
                      <a:lnTo>
                        <a:pt x="32" y="168"/>
                      </a:lnTo>
                      <a:lnTo>
                        <a:pt x="24" y="192"/>
                      </a:lnTo>
                      <a:lnTo>
                        <a:pt x="24" y="208"/>
                      </a:lnTo>
                      <a:lnTo>
                        <a:pt x="16" y="224"/>
                      </a:lnTo>
                      <a:lnTo>
                        <a:pt x="16" y="232"/>
                      </a:lnTo>
                      <a:lnTo>
                        <a:pt x="16" y="240"/>
                      </a:lnTo>
                      <a:lnTo>
                        <a:pt x="16" y="264"/>
                      </a:lnTo>
                      <a:lnTo>
                        <a:pt x="24" y="264"/>
                      </a:lnTo>
                      <a:lnTo>
                        <a:pt x="40" y="280"/>
                      </a:lnTo>
                      <a:lnTo>
                        <a:pt x="48" y="296"/>
                      </a:lnTo>
                      <a:lnTo>
                        <a:pt x="64" y="296"/>
                      </a:lnTo>
                      <a:lnTo>
                        <a:pt x="72" y="312"/>
                      </a:lnTo>
                      <a:lnTo>
                        <a:pt x="80" y="312"/>
                      </a:lnTo>
                      <a:lnTo>
                        <a:pt x="104" y="312"/>
                      </a:lnTo>
                      <a:lnTo>
                        <a:pt x="96" y="304"/>
                      </a:lnTo>
                      <a:lnTo>
                        <a:pt x="80" y="288"/>
                      </a:lnTo>
                      <a:lnTo>
                        <a:pt x="64" y="288"/>
                      </a:lnTo>
                      <a:lnTo>
                        <a:pt x="56" y="272"/>
                      </a:lnTo>
                      <a:lnTo>
                        <a:pt x="48" y="248"/>
                      </a:lnTo>
                      <a:lnTo>
                        <a:pt x="40" y="240"/>
                      </a:lnTo>
                      <a:lnTo>
                        <a:pt x="32" y="224"/>
                      </a:lnTo>
                      <a:lnTo>
                        <a:pt x="40" y="200"/>
                      </a:lnTo>
                      <a:lnTo>
                        <a:pt x="48" y="184"/>
                      </a:lnTo>
                      <a:lnTo>
                        <a:pt x="48" y="160"/>
                      </a:lnTo>
                      <a:lnTo>
                        <a:pt x="56" y="152"/>
                      </a:lnTo>
                      <a:lnTo>
                        <a:pt x="72" y="152"/>
                      </a:lnTo>
                      <a:lnTo>
                        <a:pt x="72" y="168"/>
                      </a:lnTo>
                      <a:lnTo>
                        <a:pt x="88" y="176"/>
                      </a:lnTo>
                      <a:lnTo>
                        <a:pt x="104" y="184"/>
                      </a:lnTo>
                      <a:lnTo>
                        <a:pt x="104" y="160"/>
                      </a:lnTo>
                      <a:lnTo>
                        <a:pt x="96" y="152"/>
                      </a:lnTo>
                      <a:lnTo>
                        <a:pt x="96" y="144"/>
                      </a:lnTo>
                      <a:lnTo>
                        <a:pt x="104" y="136"/>
                      </a:lnTo>
                      <a:lnTo>
                        <a:pt x="112" y="128"/>
                      </a:lnTo>
                      <a:lnTo>
                        <a:pt x="120" y="120"/>
                      </a:lnTo>
                      <a:lnTo>
                        <a:pt x="152" y="136"/>
                      </a:lnTo>
                      <a:lnTo>
                        <a:pt x="160" y="104"/>
                      </a:lnTo>
                      <a:lnTo>
                        <a:pt x="160" y="96"/>
                      </a:lnTo>
                      <a:lnTo>
                        <a:pt x="136" y="72"/>
                      </a:lnTo>
                      <a:lnTo>
                        <a:pt x="128" y="48"/>
                      </a:lnTo>
                      <a:lnTo>
                        <a:pt x="120" y="40"/>
                      </a:lnTo>
                      <a:lnTo>
                        <a:pt x="112" y="56"/>
                      </a:lnTo>
                      <a:lnTo>
                        <a:pt x="104" y="56"/>
                      </a:lnTo>
                      <a:lnTo>
                        <a:pt x="96" y="48"/>
                      </a:lnTo>
                      <a:lnTo>
                        <a:pt x="80" y="48"/>
                      </a:lnTo>
                      <a:lnTo>
                        <a:pt x="72" y="64"/>
                      </a:lnTo>
                      <a:lnTo>
                        <a:pt x="64" y="56"/>
                      </a:lnTo>
                      <a:lnTo>
                        <a:pt x="64" y="48"/>
                      </a:lnTo>
                      <a:lnTo>
                        <a:pt x="72" y="24"/>
                      </a:lnTo>
                      <a:lnTo>
                        <a:pt x="56" y="16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99" name="Freeform 130">
                  <a:extLst>
                    <a:ext uri="{FF2B5EF4-FFF2-40B4-BE49-F238E27FC236}">
                      <a16:creationId xmlns:a16="http://schemas.microsoft.com/office/drawing/2014/main" id="{87468290-76A1-C8AC-68B0-4D6BCFA768D6}"/>
                    </a:ext>
                  </a:extLst>
                </p:cNvPr>
                <p:cNvSpPr/>
                <p:nvPr/>
              </p:nvSpPr>
              <p:spPr bwMode="gray">
                <a:xfrm>
                  <a:off x="4410" y="2819"/>
                  <a:ext cx="16" cy="11"/>
                </a:xfrm>
                <a:custGeom>
                  <a:avLst/>
                  <a:gdLst>
                    <a:gd name="T0" fmla="*/ 7 w 24"/>
                    <a:gd name="T1" fmla="*/ 0 h 16"/>
                    <a:gd name="T2" fmla="*/ 2 w 24"/>
                    <a:gd name="T3" fmla="*/ 0 h 16"/>
                    <a:gd name="T4" fmla="*/ 0 w 24"/>
                    <a:gd name="T5" fmla="*/ 0 h 16"/>
                    <a:gd name="T6" fmla="*/ 0 w 24"/>
                    <a:gd name="T7" fmla="*/ 6 h 16"/>
                    <a:gd name="T8" fmla="*/ 2 w 24"/>
                    <a:gd name="T9" fmla="*/ 6 h 16"/>
                    <a:gd name="T10" fmla="*/ 2 w 24"/>
                    <a:gd name="T11" fmla="*/ 3 h 16"/>
                    <a:gd name="T12" fmla="*/ 5 w 24"/>
                    <a:gd name="T13" fmla="*/ 3 h 16"/>
                    <a:gd name="T14" fmla="*/ 7 w 24"/>
                    <a:gd name="T15" fmla="*/ 3 h 16"/>
                    <a:gd name="T16" fmla="*/ 7 w 24"/>
                    <a:gd name="T17" fmla="*/ 0 h 1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4"/>
                    <a:gd name="T28" fmla="*/ 0 h 16"/>
                    <a:gd name="T29" fmla="*/ 24 w 24"/>
                    <a:gd name="T30" fmla="*/ 16 h 1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4" h="16">
                      <a:moveTo>
                        <a:pt x="24" y="0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00" name="Freeform 131">
                  <a:extLst>
                    <a:ext uri="{FF2B5EF4-FFF2-40B4-BE49-F238E27FC236}">
                      <a16:creationId xmlns:a16="http://schemas.microsoft.com/office/drawing/2014/main" id="{2FE27AB7-401C-6F1A-0C3C-163D4DBEC6C3}"/>
                    </a:ext>
                  </a:extLst>
                </p:cNvPr>
                <p:cNvSpPr/>
                <p:nvPr/>
              </p:nvSpPr>
              <p:spPr bwMode="gray">
                <a:xfrm>
                  <a:off x="4331" y="2824"/>
                  <a:ext cx="146" cy="119"/>
                </a:xfrm>
                <a:custGeom>
                  <a:avLst/>
                  <a:gdLst>
                    <a:gd name="T0" fmla="*/ 61 w 208"/>
                    <a:gd name="T1" fmla="*/ 3 h 168"/>
                    <a:gd name="T2" fmla="*/ 61 w 208"/>
                    <a:gd name="T3" fmla="*/ 8 h 168"/>
                    <a:gd name="T4" fmla="*/ 64 w 208"/>
                    <a:gd name="T5" fmla="*/ 11 h 168"/>
                    <a:gd name="T6" fmla="*/ 64 w 208"/>
                    <a:gd name="T7" fmla="*/ 17 h 168"/>
                    <a:gd name="T8" fmla="*/ 69 w 208"/>
                    <a:gd name="T9" fmla="*/ 20 h 168"/>
                    <a:gd name="T10" fmla="*/ 72 w 208"/>
                    <a:gd name="T11" fmla="*/ 26 h 168"/>
                    <a:gd name="T12" fmla="*/ 67 w 208"/>
                    <a:gd name="T13" fmla="*/ 26 h 168"/>
                    <a:gd name="T14" fmla="*/ 67 w 208"/>
                    <a:gd name="T15" fmla="*/ 23 h 168"/>
                    <a:gd name="T16" fmla="*/ 61 w 208"/>
                    <a:gd name="T17" fmla="*/ 26 h 168"/>
                    <a:gd name="T18" fmla="*/ 61 w 208"/>
                    <a:gd name="T19" fmla="*/ 34 h 168"/>
                    <a:gd name="T20" fmla="*/ 55 w 208"/>
                    <a:gd name="T21" fmla="*/ 40 h 168"/>
                    <a:gd name="T22" fmla="*/ 53 w 208"/>
                    <a:gd name="T23" fmla="*/ 42 h 168"/>
                    <a:gd name="T24" fmla="*/ 53 w 208"/>
                    <a:gd name="T25" fmla="*/ 51 h 168"/>
                    <a:gd name="T26" fmla="*/ 47 w 208"/>
                    <a:gd name="T27" fmla="*/ 57 h 168"/>
                    <a:gd name="T28" fmla="*/ 41 w 208"/>
                    <a:gd name="T29" fmla="*/ 60 h 168"/>
                    <a:gd name="T30" fmla="*/ 41 w 208"/>
                    <a:gd name="T31" fmla="*/ 57 h 168"/>
                    <a:gd name="T32" fmla="*/ 36 w 208"/>
                    <a:gd name="T33" fmla="*/ 55 h 168"/>
                    <a:gd name="T34" fmla="*/ 33 w 208"/>
                    <a:gd name="T35" fmla="*/ 55 h 168"/>
                    <a:gd name="T36" fmla="*/ 27 w 208"/>
                    <a:gd name="T37" fmla="*/ 51 h 168"/>
                    <a:gd name="T38" fmla="*/ 22 w 208"/>
                    <a:gd name="T39" fmla="*/ 55 h 168"/>
                    <a:gd name="T40" fmla="*/ 19 w 208"/>
                    <a:gd name="T41" fmla="*/ 51 h 168"/>
                    <a:gd name="T42" fmla="*/ 11 w 208"/>
                    <a:gd name="T43" fmla="*/ 51 h 168"/>
                    <a:gd name="T44" fmla="*/ 8 w 208"/>
                    <a:gd name="T45" fmla="*/ 40 h 168"/>
                    <a:gd name="T46" fmla="*/ 3 w 208"/>
                    <a:gd name="T47" fmla="*/ 34 h 168"/>
                    <a:gd name="T48" fmla="*/ 0 w 208"/>
                    <a:gd name="T49" fmla="*/ 20 h 168"/>
                    <a:gd name="T50" fmla="*/ 6 w 208"/>
                    <a:gd name="T51" fmla="*/ 17 h 168"/>
                    <a:gd name="T52" fmla="*/ 6 w 208"/>
                    <a:gd name="T53" fmla="*/ 20 h 168"/>
                    <a:gd name="T54" fmla="*/ 6 w 208"/>
                    <a:gd name="T55" fmla="*/ 17 h 168"/>
                    <a:gd name="T56" fmla="*/ 8 w 208"/>
                    <a:gd name="T57" fmla="*/ 20 h 168"/>
                    <a:gd name="T58" fmla="*/ 8 w 208"/>
                    <a:gd name="T59" fmla="*/ 26 h 168"/>
                    <a:gd name="T60" fmla="*/ 19 w 208"/>
                    <a:gd name="T61" fmla="*/ 26 h 168"/>
                    <a:gd name="T62" fmla="*/ 25 w 208"/>
                    <a:gd name="T63" fmla="*/ 23 h 168"/>
                    <a:gd name="T64" fmla="*/ 27 w 208"/>
                    <a:gd name="T65" fmla="*/ 20 h 168"/>
                    <a:gd name="T66" fmla="*/ 31 w 208"/>
                    <a:gd name="T67" fmla="*/ 23 h 168"/>
                    <a:gd name="T68" fmla="*/ 39 w 208"/>
                    <a:gd name="T69" fmla="*/ 20 h 168"/>
                    <a:gd name="T70" fmla="*/ 44 w 208"/>
                    <a:gd name="T71" fmla="*/ 14 h 168"/>
                    <a:gd name="T72" fmla="*/ 47 w 208"/>
                    <a:gd name="T73" fmla="*/ 3 h 168"/>
                    <a:gd name="T74" fmla="*/ 50 w 208"/>
                    <a:gd name="T75" fmla="*/ 0 h 168"/>
                    <a:gd name="T76" fmla="*/ 58 w 208"/>
                    <a:gd name="T77" fmla="*/ 0 h 168"/>
                    <a:gd name="T78" fmla="*/ 61 w 208"/>
                    <a:gd name="T79" fmla="*/ 3 h 168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08"/>
                    <a:gd name="T121" fmla="*/ 0 h 168"/>
                    <a:gd name="T122" fmla="*/ 208 w 208"/>
                    <a:gd name="T123" fmla="*/ 168 h 168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08" h="168">
                      <a:moveTo>
                        <a:pt x="176" y="8"/>
                      </a:moveTo>
                      <a:lnTo>
                        <a:pt x="176" y="24"/>
                      </a:lnTo>
                      <a:lnTo>
                        <a:pt x="184" y="32"/>
                      </a:lnTo>
                      <a:lnTo>
                        <a:pt x="184" y="48"/>
                      </a:lnTo>
                      <a:lnTo>
                        <a:pt x="200" y="56"/>
                      </a:lnTo>
                      <a:lnTo>
                        <a:pt x="208" y="72"/>
                      </a:lnTo>
                      <a:lnTo>
                        <a:pt x="192" y="72"/>
                      </a:lnTo>
                      <a:lnTo>
                        <a:pt x="192" y="64"/>
                      </a:lnTo>
                      <a:lnTo>
                        <a:pt x="176" y="72"/>
                      </a:lnTo>
                      <a:lnTo>
                        <a:pt x="176" y="96"/>
                      </a:lnTo>
                      <a:lnTo>
                        <a:pt x="160" y="112"/>
                      </a:lnTo>
                      <a:lnTo>
                        <a:pt x="152" y="120"/>
                      </a:lnTo>
                      <a:lnTo>
                        <a:pt x="152" y="144"/>
                      </a:lnTo>
                      <a:lnTo>
                        <a:pt x="136" y="160"/>
                      </a:lnTo>
                      <a:lnTo>
                        <a:pt x="120" y="168"/>
                      </a:lnTo>
                      <a:lnTo>
                        <a:pt x="120" y="160"/>
                      </a:lnTo>
                      <a:lnTo>
                        <a:pt x="104" y="152"/>
                      </a:lnTo>
                      <a:lnTo>
                        <a:pt x="96" y="152"/>
                      </a:lnTo>
                      <a:lnTo>
                        <a:pt x="80" y="144"/>
                      </a:lnTo>
                      <a:lnTo>
                        <a:pt x="64" y="152"/>
                      </a:lnTo>
                      <a:lnTo>
                        <a:pt x="56" y="144"/>
                      </a:lnTo>
                      <a:lnTo>
                        <a:pt x="32" y="144"/>
                      </a:lnTo>
                      <a:lnTo>
                        <a:pt x="24" y="112"/>
                      </a:lnTo>
                      <a:lnTo>
                        <a:pt x="8" y="96"/>
                      </a:lnTo>
                      <a:lnTo>
                        <a:pt x="0" y="56"/>
                      </a:lnTo>
                      <a:lnTo>
                        <a:pt x="16" y="48"/>
                      </a:lnTo>
                      <a:lnTo>
                        <a:pt x="16" y="56"/>
                      </a:lnTo>
                      <a:lnTo>
                        <a:pt x="16" y="48"/>
                      </a:lnTo>
                      <a:lnTo>
                        <a:pt x="24" y="56"/>
                      </a:lnTo>
                      <a:lnTo>
                        <a:pt x="24" y="72"/>
                      </a:lnTo>
                      <a:lnTo>
                        <a:pt x="56" y="72"/>
                      </a:lnTo>
                      <a:lnTo>
                        <a:pt x="72" y="64"/>
                      </a:lnTo>
                      <a:lnTo>
                        <a:pt x="80" y="56"/>
                      </a:lnTo>
                      <a:lnTo>
                        <a:pt x="88" y="64"/>
                      </a:lnTo>
                      <a:lnTo>
                        <a:pt x="112" y="56"/>
                      </a:lnTo>
                      <a:lnTo>
                        <a:pt x="128" y="40"/>
                      </a:lnTo>
                      <a:lnTo>
                        <a:pt x="136" y="8"/>
                      </a:lnTo>
                      <a:lnTo>
                        <a:pt x="144" y="0"/>
                      </a:lnTo>
                      <a:lnTo>
                        <a:pt x="168" y="0"/>
                      </a:lnTo>
                      <a:lnTo>
                        <a:pt x="176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01" name="Freeform 132">
                  <a:extLst>
                    <a:ext uri="{FF2B5EF4-FFF2-40B4-BE49-F238E27FC236}">
                      <a16:creationId xmlns:a16="http://schemas.microsoft.com/office/drawing/2014/main" id="{BAADBBD5-6D51-7268-FD28-B7A0D163D6A0}"/>
                    </a:ext>
                  </a:extLst>
                </p:cNvPr>
                <p:cNvSpPr/>
                <p:nvPr/>
              </p:nvSpPr>
              <p:spPr bwMode="gray">
                <a:xfrm>
                  <a:off x="4342" y="2779"/>
                  <a:ext cx="135" cy="96"/>
                </a:xfrm>
                <a:custGeom>
                  <a:avLst/>
                  <a:gdLst>
                    <a:gd name="T0" fmla="*/ 0 w 192"/>
                    <a:gd name="T1" fmla="*/ 42 h 136"/>
                    <a:gd name="T2" fmla="*/ 11 w 192"/>
                    <a:gd name="T3" fmla="*/ 40 h 136"/>
                    <a:gd name="T4" fmla="*/ 11 w 192"/>
                    <a:gd name="T5" fmla="*/ 34 h 136"/>
                    <a:gd name="T6" fmla="*/ 17 w 192"/>
                    <a:gd name="T7" fmla="*/ 34 h 136"/>
                    <a:gd name="T8" fmla="*/ 19 w 192"/>
                    <a:gd name="T9" fmla="*/ 31 h 136"/>
                    <a:gd name="T10" fmla="*/ 27 w 192"/>
                    <a:gd name="T11" fmla="*/ 28 h 136"/>
                    <a:gd name="T12" fmla="*/ 31 w 192"/>
                    <a:gd name="T13" fmla="*/ 20 h 136"/>
                    <a:gd name="T14" fmla="*/ 34 w 192"/>
                    <a:gd name="T15" fmla="*/ 20 h 136"/>
                    <a:gd name="T16" fmla="*/ 34 w 192"/>
                    <a:gd name="T17" fmla="*/ 25 h 136"/>
                    <a:gd name="T18" fmla="*/ 36 w 192"/>
                    <a:gd name="T19" fmla="*/ 25 h 136"/>
                    <a:gd name="T20" fmla="*/ 36 w 192"/>
                    <a:gd name="T21" fmla="*/ 23 h 136"/>
                    <a:gd name="T22" fmla="*/ 39 w 192"/>
                    <a:gd name="T23" fmla="*/ 23 h 136"/>
                    <a:gd name="T24" fmla="*/ 41 w 192"/>
                    <a:gd name="T25" fmla="*/ 23 h 136"/>
                    <a:gd name="T26" fmla="*/ 41 w 192"/>
                    <a:gd name="T27" fmla="*/ 20 h 136"/>
                    <a:gd name="T28" fmla="*/ 41 w 192"/>
                    <a:gd name="T29" fmla="*/ 11 h 136"/>
                    <a:gd name="T30" fmla="*/ 53 w 192"/>
                    <a:gd name="T31" fmla="*/ 0 h 136"/>
                    <a:gd name="T32" fmla="*/ 56 w 192"/>
                    <a:gd name="T33" fmla="*/ 8 h 136"/>
                    <a:gd name="T34" fmla="*/ 64 w 192"/>
                    <a:gd name="T35" fmla="*/ 8 h 136"/>
                    <a:gd name="T36" fmla="*/ 67 w 192"/>
                    <a:gd name="T37" fmla="*/ 14 h 136"/>
                    <a:gd name="T38" fmla="*/ 61 w 192"/>
                    <a:gd name="T39" fmla="*/ 17 h 136"/>
                    <a:gd name="T40" fmla="*/ 64 w 192"/>
                    <a:gd name="T41" fmla="*/ 20 h 136"/>
                    <a:gd name="T42" fmla="*/ 58 w 192"/>
                    <a:gd name="T43" fmla="*/ 23 h 136"/>
                    <a:gd name="T44" fmla="*/ 56 w 192"/>
                    <a:gd name="T45" fmla="*/ 25 h 136"/>
                    <a:gd name="T46" fmla="*/ 53 w 192"/>
                    <a:gd name="T47" fmla="*/ 23 h 136"/>
                    <a:gd name="T48" fmla="*/ 44 w 192"/>
                    <a:gd name="T49" fmla="*/ 23 h 136"/>
                    <a:gd name="T50" fmla="*/ 41 w 192"/>
                    <a:gd name="T51" fmla="*/ 25 h 136"/>
                    <a:gd name="T52" fmla="*/ 39 w 192"/>
                    <a:gd name="T53" fmla="*/ 37 h 136"/>
                    <a:gd name="T54" fmla="*/ 34 w 192"/>
                    <a:gd name="T55" fmla="*/ 42 h 136"/>
                    <a:gd name="T56" fmla="*/ 25 w 192"/>
                    <a:gd name="T57" fmla="*/ 45 h 136"/>
                    <a:gd name="T58" fmla="*/ 23 w 192"/>
                    <a:gd name="T59" fmla="*/ 42 h 136"/>
                    <a:gd name="T60" fmla="*/ 19 w 192"/>
                    <a:gd name="T61" fmla="*/ 45 h 136"/>
                    <a:gd name="T62" fmla="*/ 14 w 192"/>
                    <a:gd name="T63" fmla="*/ 48 h 136"/>
                    <a:gd name="T64" fmla="*/ 3 w 192"/>
                    <a:gd name="T65" fmla="*/ 48 h 136"/>
                    <a:gd name="T66" fmla="*/ 3 w 192"/>
                    <a:gd name="T67" fmla="*/ 42 h 136"/>
                    <a:gd name="T68" fmla="*/ 0 w 192"/>
                    <a:gd name="T69" fmla="*/ 40 h 136"/>
                    <a:gd name="T70" fmla="*/ 0 w 192"/>
                    <a:gd name="T71" fmla="*/ 42 h 1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92"/>
                    <a:gd name="T109" fmla="*/ 0 h 136"/>
                    <a:gd name="T110" fmla="*/ 192 w 192"/>
                    <a:gd name="T111" fmla="*/ 136 h 136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92" h="136">
                      <a:moveTo>
                        <a:pt x="0" y="120"/>
                      </a:moveTo>
                      <a:lnTo>
                        <a:pt x="32" y="112"/>
                      </a:lnTo>
                      <a:lnTo>
                        <a:pt x="32" y="96"/>
                      </a:lnTo>
                      <a:lnTo>
                        <a:pt x="48" y="96"/>
                      </a:lnTo>
                      <a:lnTo>
                        <a:pt x="56" y="88"/>
                      </a:lnTo>
                      <a:lnTo>
                        <a:pt x="80" y="80"/>
                      </a:lnTo>
                      <a:lnTo>
                        <a:pt x="88" y="56"/>
                      </a:lnTo>
                      <a:lnTo>
                        <a:pt x="96" y="56"/>
                      </a:lnTo>
                      <a:lnTo>
                        <a:pt x="96" y="72"/>
                      </a:lnTo>
                      <a:lnTo>
                        <a:pt x="104" y="72"/>
                      </a:lnTo>
                      <a:lnTo>
                        <a:pt x="104" y="64"/>
                      </a:lnTo>
                      <a:lnTo>
                        <a:pt x="112" y="64"/>
                      </a:lnTo>
                      <a:lnTo>
                        <a:pt x="120" y="64"/>
                      </a:lnTo>
                      <a:lnTo>
                        <a:pt x="120" y="56"/>
                      </a:lnTo>
                      <a:lnTo>
                        <a:pt x="120" y="32"/>
                      </a:lnTo>
                      <a:lnTo>
                        <a:pt x="152" y="0"/>
                      </a:lnTo>
                      <a:lnTo>
                        <a:pt x="160" y="24"/>
                      </a:lnTo>
                      <a:lnTo>
                        <a:pt x="184" y="24"/>
                      </a:lnTo>
                      <a:lnTo>
                        <a:pt x="192" y="40"/>
                      </a:lnTo>
                      <a:lnTo>
                        <a:pt x="176" y="48"/>
                      </a:lnTo>
                      <a:lnTo>
                        <a:pt x="184" y="56"/>
                      </a:lnTo>
                      <a:lnTo>
                        <a:pt x="168" y="64"/>
                      </a:lnTo>
                      <a:lnTo>
                        <a:pt x="160" y="72"/>
                      </a:lnTo>
                      <a:lnTo>
                        <a:pt x="152" y="64"/>
                      </a:lnTo>
                      <a:lnTo>
                        <a:pt x="128" y="64"/>
                      </a:lnTo>
                      <a:lnTo>
                        <a:pt x="120" y="72"/>
                      </a:lnTo>
                      <a:lnTo>
                        <a:pt x="112" y="104"/>
                      </a:lnTo>
                      <a:lnTo>
                        <a:pt x="96" y="120"/>
                      </a:lnTo>
                      <a:lnTo>
                        <a:pt x="72" y="128"/>
                      </a:lnTo>
                      <a:lnTo>
                        <a:pt x="64" y="120"/>
                      </a:lnTo>
                      <a:lnTo>
                        <a:pt x="56" y="128"/>
                      </a:lnTo>
                      <a:lnTo>
                        <a:pt x="40" y="136"/>
                      </a:lnTo>
                      <a:lnTo>
                        <a:pt x="8" y="136"/>
                      </a:lnTo>
                      <a:lnTo>
                        <a:pt x="8" y="120"/>
                      </a:lnTo>
                      <a:lnTo>
                        <a:pt x="0" y="112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02" name="Freeform 133">
                  <a:extLst>
                    <a:ext uri="{FF2B5EF4-FFF2-40B4-BE49-F238E27FC236}">
                      <a16:creationId xmlns:a16="http://schemas.microsoft.com/office/drawing/2014/main" id="{AD2630F8-034C-B28E-2E17-4C32FB327286}"/>
                    </a:ext>
                  </a:extLst>
                </p:cNvPr>
                <p:cNvSpPr/>
                <p:nvPr/>
              </p:nvSpPr>
              <p:spPr bwMode="gray">
                <a:xfrm>
                  <a:off x="4652" y="2892"/>
                  <a:ext cx="146" cy="124"/>
                </a:xfrm>
                <a:custGeom>
                  <a:avLst/>
                  <a:gdLst>
                    <a:gd name="T0" fmla="*/ 72 w 208"/>
                    <a:gd name="T1" fmla="*/ 61 h 176"/>
                    <a:gd name="T2" fmla="*/ 72 w 208"/>
                    <a:gd name="T3" fmla="*/ 48 h 176"/>
                    <a:gd name="T4" fmla="*/ 69 w 208"/>
                    <a:gd name="T5" fmla="*/ 44 h 176"/>
                    <a:gd name="T6" fmla="*/ 69 w 208"/>
                    <a:gd name="T7" fmla="*/ 42 h 176"/>
                    <a:gd name="T8" fmla="*/ 72 w 208"/>
                    <a:gd name="T9" fmla="*/ 39 h 176"/>
                    <a:gd name="T10" fmla="*/ 69 w 208"/>
                    <a:gd name="T11" fmla="*/ 14 h 176"/>
                    <a:gd name="T12" fmla="*/ 64 w 208"/>
                    <a:gd name="T13" fmla="*/ 14 h 176"/>
                    <a:gd name="T14" fmla="*/ 58 w 208"/>
                    <a:gd name="T15" fmla="*/ 8 h 176"/>
                    <a:gd name="T16" fmla="*/ 44 w 208"/>
                    <a:gd name="T17" fmla="*/ 8 h 176"/>
                    <a:gd name="T18" fmla="*/ 41 w 208"/>
                    <a:gd name="T19" fmla="*/ 8 h 176"/>
                    <a:gd name="T20" fmla="*/ 41 w 208"/>
                    <a:gd name="T21" fmla="*/ 11 h 176"/>
                    <a:gd name="T22" fmla="*/ 31 w 208"/>
                    <a:gd name="T23" fmla="*/ 19 h 176"/>
                    <a:gd name="T24" fmla="*/ 27 w 208"/>
                    <a:gd name="T25" fmla="*/ 17 h 176"/>
                    <a:gd name="T26" fmla="*/ 25 w 208"/>
                    <a:gd name="T27" fmla="*/ 14 h 176"/>
                    <a:gd name="T28" fmla="*/ 22 w 208"/>
                    <a:gd name="T29" fmla="*/ 11 h 176"/>
                    <a:gd name="T30" fmla="*/ 22 w 208"/>
                    <a:gd name="T31" fmla="*/ 6 h 176"/>
                    <a:gd name="T32" fmla="*/ 19 w 208"/>
                    <a:gd name="T33" fmla="*/ 3 h 176"/>
                    <a:gd name="T34" fmla="*/ 14 w 208"/>
                    <a:gd name="T35" fmla="*/ 3 h 176"/>
                    <a:gd name="T36" fmla="*/ 11 w 208"/>
                    <a:gd name="T37" fmla="*/ 0 h 176"/>
                    <a:gd name="T38" fmla="*/ 8 w 208"/>
                    <a:gd name="T39" fmla="*/ 0 h 176"/>
                    <a:gd name="T40" fmla="*/ 6 w 208"/>
                    <a:gd name="T41" fmla="*/ 3 h 176"/>
                    <a:gd name="T42" fmla="*/ 3 w 208"/>
                    <a:gd name="T43" fmla="*/ 3 h 176"/>
                    <a:gd name="T44" fmla="*/ 0 w 208"/>
                    <a:gd name="T45" fmla="*/ 6 h 176"/>
                    <a:gd name="T46" fmla="*/ 6 w 208"/>
                    <a:gd name="T47" fmla="*/ 8 h 176"/>
                    <a:gd name="T48" fmla="*/ 8 w 208"/>
                    <a:gd name="T49" fmla="*/ 11 h 176"/>
                    <a:gd name="T50" fmla="*/ 11 w 208"/>
                    <a:gd name="T51" fmla="*/ 14 h 176"/>
                    <a:gd name="T52" fmla="*/ 17 w 208"/>
                    <a:gd name="T53" fmla="*/ 14 h 176"/>
                    <a:gd name="T54" fmla="*/ 19 w 208"/>
                    <a:gd name="T55" fmla="*/ 14 h 176"/>
                    <a:gd name="T56" fmla="*/ 17 w 208"/>
                    <a:gd name="T57" fmla="*/ 17 h 176"/>
                    <a:gd name="T58" fmla="*/ 8 w 208"/>
                    <a:gd name="T59" fmla="*/ 17 h 176"/>
                    <a:gd name="T60" fmla="*/ 11 w 208"/>
                    <a:gd name="T61" fmla="*/ 19 h 176"/>
                    <a:gd name="T62" fmla="*/ 11 w 208"/>
                    <a:gd name="T63" fmla="*/ 25 h 176"/>
                    <a:gd name="T64" fmla="*/ 17 w 208"/>
                    <a:gd name="T65" fmla="*/ 27 h 176"/>
                    <a:gd name="T66" fmla="*/ 17 w 208"/>
                    <a:gd name="T67" fmla="*/ 25 h 176"/>
                    <a:gd name="T68" fmla="*/ 19 w 208"/>
                    <a:gd name="T69" fmla="*/ 25 h 176"/>
                    <a:gd name="T70" fmla="*/ 27 w 208"/>
                    <a:gd name="T71" fmla="*/ 27 h 176"/>
                    <a:gd name="T72" fmla="*/ 33 w 208"/>
                    <a:gd name="T73" fmla="*/ 31 h 176"/>
                    <a:gd name="T74" fmla="*/ 39 w 208"/>
                    <a:gd name="T75" fmla="*/ 31 h 176"/>
                    <a:gd name="T76" fmla="*/ 44 w 208"/>
                    <a:gd name="T77" fmla="*/ 34 h 176"/>
                    <a:gd name="T78" fmla="*/ 53 w 208"/>
                    <a:gd name="T79" fmla="*/ 39 h 176"/>
                    <a:gd name="T80" fmla="*/ 53 w 208"/>
                    <a:gd name="T81" fmla="*/ 44 h 176"/>
                    <a:gd name="T82" fmla="*/ 55 w 208"/>
                    <a:gd name="T83" fmla="*/ 48 h 176"/>
                    <a:gd name="T84" fmla="*/ 55 w 208"/>
                    <a:gd name="T85" fmla="*/ 50 h 176"/>
                    <a:gd name="T86" fmla="*/ 58 w 208"/>
                    <a:gd name="T87" fmla="*/ 56 h 176"/>
                    <a:gd name="T88" fmla="*/ 64 w 208"/>
                    <a:gd name="T89" fmla="*/ 56 h 176"/>
                    <a:gd name="T90" fmla="*/ 67 w 208"/>
                    <a:gd name="T91" fmla="*/ 58 h 176"/>
                    <a:gd name="T92" fmla="*/ 72 w 208"/>
                    <a:gd name="T93" fmla="*/ 61 h 17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08"/>
                    <a:gd name="T142" fmla="*/ 0 h 176"/>
                    <a:gd name="T143" fmla="*/ 208 w 208"/>
                    <a:gd name="T144" fmla="*/ 176 h 17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08" h="176">
                      <a:moveTo>
                        <a:pt x="208" y="176"/>
                      </a:moveTo>
                      <a:lnTo>
                        <a:pt x="208" y="136"/>
                      </a:lnTo>
                      <a:lnTo>
                        <a:pt x="200" y="128"/>
                      </a:lnTo>
                      <a:lnTo>
                        <a:pt x="200" y="120"/>
                      </a:lnTo>
                      <a:lnTo>
                        <a:pt x="208" y="112"/>
                      </a:lnTo>
                      <a:lnTo>
                        <a:pt x="200" y="40"/>
                      </a:lnTo>
                      <a:lnTo>
                        <a:pt x="184" y="40"/>
                      </a:lnTo>
                      <a:lnTo>
                        <a:pt x="168" y="24"/>
                      </a:lnTo>
                      <a:lnTo>
                        <a:pt x="128" y="24"/>
                      </a:lnTo>
                      <a:lnTo>
                        <a:pt x="120" y="24"/>
                      </a:lnTo>
                      <a:lnTo>
                        <a:pt x="120" y="32"/>
                      </a:lnTo>
                      <a:lnTo>
                        <a:pt x="88" y="56"/>
                      </a:lnTo>
                      <a:lnTo>
                        <a:pt x="80" y="48"/>
                      </a:lnTo>
                      <a:lnTo>
                        <a:pt x="72" y="40"/>
                      </a:lnTo>
                      <a:lnTo>
                        <a:pt x="64" y="32"/>
                      </a:lnTo>
                      <a:lnTo>
                        <a:pt x="64" y="16"/>
                      </a:lnTo>
                      <a:lnTo>
                        <a:pt x="56" y="8"/>
                      </a:lnTo>
                      <a:lnTo>
                        <a:pt x="40" y="8"/>
                      </a:ln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32" y="40"/>
                      </a:lnTo>
                      <a:lnTo>
                        <a:pt x="48" y="40"/>
                      </a:lnTo>
                      <a:lnTo>
                        <a:pt x="56" y="40"/>
                      </a:lnTo>
                      <a:lnTo>
                        <a:pt x="48" y="48"/>
                      </a:lnTo>
                      <a:lnTo>
                        <a:pt x="24" y="48"/>
                      </a:lnTo>
                      <a:lnTo>
                        <a:pt x="32" y="56"/>
                      </a:lnTo>
                      <a:lnTo>
                        <a:pt x="32" y="72"/>
                      </a:lnTo>
                      <a:lnTo>
                        <a:pt x="48" y="80"/>
                      </a:lnTo>
                      <a:lnTo>
                        <a:pt x="48" y="72"/>
                      </a:lnTo>
                      <a:lnTo>
                        <a:pt x="56" y="72"/>
                      </a:lnTo>
                      <a:lnTo>
                        <a:pt x="80" y="80"/>
                      </a:lnTo>
                      <a:lnTo>
                        <a:pt x="96" y="88"/>
                      </a:lnTo>
                      <a:lnTo>
                        <a:pt x="112" y="88"/>
                      </a:lnTo>
                      <a:lnTo>
                        <a:pt x="128" y="96"/>
                      </a:lnTo>
                      <a:lnTo>
                        <a:pt x="152" y="112"/>
                      </a:lnTo>
                      <a:lnTo>
                        <a:pt x="152" y="128"/>
                      </a:lnTo>
                      <a:lnTo>
                        <a:pt x="160" y="136"/>
                      </a:lnTo>
                      <a:lnTo>
                        <a:pt x="160" y="144"/>
                      </a:lnTo>
                      <a:lnTo>
                        <a:pt x="168" y="160"/>
                      </a:lnTo>
                      <a:lnTo>
                        <a:pt x="184" y="160"/>
                      </a:lnTo>
                      <a:lnTo>
                        <a:pt x="192" y="168"/>
                      </a:lnTo>
                      <a:lnTo>
                        <a:pt x="208" y="17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03" name="Freeform 134">
                  <a:extLst>
                    <a:ext uri="{FF2B5EF4-FFF2-40B4-BE49-F238E27FC236}">
                      <a16:creationId xmlns:a16="http://schemas.microsoft.com/office/drawing/2014/main" id="{A35F5F63-5559-6E21-24FF-5C95AC6261F6}"/>
                    </a:ext>
                  </a:extLst>
                </p:cNvPr>
                <p:cNvSpPr/>
                <p:nvPr/>
              </p:nvSpPr>
              <p:spPr bwMode="gray">
                <a:xfrm>
                  <a:off x="4280" y="2909"/>
                  <a:ext cx="23" cy="17"/>
                </a:xfrm>
                <a:custGeom>
                  <a:avLst/>
                  <a:gdLst>
                    <a:gd name="T0" fmla="*/ 0 w 32"/>
                    <a:gd name="T1" fmla="*/ 0 h 24"/>
                    <a:gd name="T2" fmla="*/ 0 w 32"/>
                    <a:gd name="T3" fmla="*/ 3 h 24"/>
                    <a:gd name="T4" fmla="*/ 6 w 32"/>
                    <a:gd name="T5" fmla="*/ 9 h 24"/>
                    <a:gd name="T6" fmla="*/ 12 w 32"/>
                    <a:gd name="T7" fmla="*/ 9 h 24"/>
                    <a:gd name="T8" fmla="*/ 3 w 32"/>
                    <a:gd name="T9" fmla="*/ 0 h 24"/>
                    <a:gd name="T10" fmla="*/ 0 w 32"/>
                    <a:gd name="T11" fmla="*/ 0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24"/>
                    <a:gd name="T20" fmla="*/ 32 w 32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24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16" y="24"/>
                      </a:lnTo>
                      <a:lnTo>
                        <a:pt x="32" y="24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04" name="Freeform 135">
                  <a:extLst>
                    <a:ext uri="{FF2B5EF4-FFF2-40B4-BE49-F238E27FC236}">
                      <a16:creationId xmlns:a16="http://schemas.microsoft.com/office/drawing/2014/main" id="{4561E360-B05B-4A17-D245-1E4FBD0D2686}"/>
                    </a:ext>
                  </a:extLst>
                </p:cNvPr>
                <p:cNvSpPr/>
                <p:nvPr/>
              </p:nvSpPr>
              <p:spPr bwMode="gray">
                <a:xfrm>
                  <a:off x="4584" y="2926"/>
                  <a:ext cx="11" cy="11"/>
                </a:xfrm>
                <a:custGeom>
                  <a:avLst/>
                  <a:gdLst>
                    <a:gd name="T0" fmla="*/ 0 w 16"/>
                    <a:gd name="T1" fmla="*/ 0 h 16"/>
                    <a:gd name="T2" fmla="*/ 0 w 16"/>
                    <a:gd name="T3" fmla="*/ 3 h 16"/>
                    <a:gd name="T4" fmla="*/ 3 w 16"/>
                    <a:gd name="T5" fmla="*/ 6 h 16"/>
                    <a:gd name="T6" fmla="*/ 6 w 16"/>
                    <a:gd name="T7" fmla="*/ 6 h 16"/>
                    <a:gd name="T8" fmla="*/ 6 w 16"/>
                    <a:gd name="T9" fmla="*/ 3 h 16"/>
                    <a:gd name="T10" fmla="*/ 6 w 16"/>
                    <a:gd name="T11" fmla="*/ 0 h 16"/>
                    <a:gd name="T12" fmla="*/ 0 w 16"/>
                    <a:gd name="T13" fmla="*/ 0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16"/>
                    <a:gd name="T23" fmla="*/ 16 w 16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16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05" name="Freeform 136">
                  <a:extLst>
                    <a:ext uri="{FF2B5EF4-FFF2-40B4-BE49-F238E27FC236}">
                      <a16:creationId xmlns:a16="http://schemas.microsoft.com/office/drawing/2014/main" id="{5B77BDC4-274C-C42F-316E-C291B990BC67}"/>
                    </a:ext>
                  </a:extLst>
                </p:cNvPr>
                <p:cNvSpPr/>
                <p:nvPr/>
              </p:nvSpPr>
              <p:spPr bwMode="gray">
                <a:xfrm>
                  <a:off x="4607" y="2926"/>
                  <a:ext cx="45" cy="17"/>
                </a:xfrm>
                <a:custGeom>
                  <a:avLst/>
                  <a:gdLst>
                    <a:gd name="T0" fmla="*/ 19 w 64"/>
                    <a:gd name="T1" fmla="*/ 9 h 24"/>
                    <a:gd name="T2" fmla="*/ 23 w 64"/>
                    <a:gd name="T3" fmla="*/ 6 h 24"/>
                    <a:gd name="T4" fmla="*/ 23 w 64"/>
                    <a:gd name="T5" fmla="*/ 3 h 24"/>
                    <a:gd name="T6" fmla="*/ 19 w 64"/>
                    <a:gd name="T7" fmla="*/ 3 h 24"/>
                    <a:gd name="T8" fmla="*/ 17 w 64"/>
                    <a:gd name="T9" fmla="*/ 0 h 24"/>
                    <a:gd name="T10" fmla="*/ 14 w 64"/>
                    <a:gd name="T11" fmla="*/ 0 h 24"/>
                    <a:gd name="T12" fmla="*/ 6 w 64"/>
                    <a:gd name="T13" fmla="*/ 0 h 24"/>
                    <a:gd name="T14" fmla="*/ 0 w 64"/>
                    <a:gd name="T15" fmla="*/ 3 h 24"/>
                    <a:gd name="T16" fmla="*/ 3 w 64"/>
                    <a:gd name="T17" fmla="*/ 6 h 24"/>
                    <a:gd name="T18" fmla="*/ 6 w 64"/>
                    <a:gd name="T19" fmla="*/ 3 h 24"/>
                    <a:gd name="T20" fmla="*/ 8 w 64"/>
                    <a:gd name="T21" fmla="*/ 3 h 24"/>
                    <a:gd name="T22" fmla="*/ 14 w 64"/>
                    <a:gd name="T23" fmla="*/ 3 h 24"/>
                    <a:gd name="T24" fmla="*/ 19 w 64"/>
                    <a:gd name="T25" fmla="*/ 9 h 2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4"/>
                    <a:gd name="T40" fmla="*/ 0 h 24"/>
                    <a:gd name="T41" fmla="*/ 64 w 64"/>
                    <a:gd name="T42" fmla="*/ 24 h 2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4" h="24">
                      <a:moveTo>
                        <a:pt x="56" y="24"/>
                      </a:moveTo>
                      <a:lnTo>
                        <a:pt x="64" y="16"/>
                      </a:lnTo>
                      <a:lnTo>
                        <a:pt x="64" y="8"/>
                      </a:lnTo>
                      <a:lnTo>
                        <a:pt x="56" y="8"/>
                      </a:lnTo>
                      <a:lnTo>
                        <a:pt x="48" y="0"/>
                      </a:lnTo>
                      <a:lnTo>
                        <a:pt x="40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40" y="8"/>
                      </a:lnTo>
                      <a:lnTo>
                        <a:pt x="56" y="24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06" name="Freeform 137">
                  <a:extLst>
                    <a:ext uri="{FF2B5EF4-FFF2-40B4-BE49-F238E27FC236}">
                      <a16:creationId xmlns:a16="http://schemas.microsoft.com/office/drawing/2014/main" id="{4986FB72-F85C-59C2-41B3-52F3266AE15A}"/>
                    </a:ext>
                  </a:extLst>
                </p:cNvPr>
                <p:cNvSpPr/>
                <p:nvPr/>
              </p:nvSpPr>
              <p:spPr bwMode="gray">
                <a:xfrm>
                  <a:off x="4989" y="2959"/>
                  <a:ext cx="17" cy="23"/>
                </a:xfrm>
                <a:custGeom>
                  <a:avLst/>
                  <a:gdLst>
                    <a:gd name="T0" fmla="*/ 0 w 24"/>
                    <a:gd name="T1" fmla="*/ 3 h 32"/>
                    <a:gd name="T2" fmla="*/ 6 w 24"/>
                    <a:gd name="T3" fmla="*/ 9 h 32"/>
                    <a:gd name="T4" fmla="*/ 9 w 24"/>
                    <a:gd name="T5" fmla="*/ 12 h 32"/>
                    <a:gd name="T6" fmla="*/ 9 w 24"/>
                    <a:gd name="T7" fmla="*/ 9 h 32"/>
                    <a:gd name="T8" fmla="*/ 9 w 24"/>
                    <a:gd name="T9" fmla="*/ 6 h 32"/>
                    <a:gd name="T10" fmla="*/ 3 w 24"/>
                    <a:gd name="T11" fmla="*/ 0 h 32"/>
                    <a:gd name="T12" fmla="*/ 0 w 24"/>
                    <a:gd name="T13" fmla="*/ 3 h 3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32"/>
                    <a:gd name="T23" fmla="*/ 24 w 24"/>
                    <a:gd name="T24" fmla="*/ 32 h 3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32">
                      <a:moveTo>
                        <a:pt x="0" y="8"/>
                      </a:move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24" y="24"/>
                      </a:lnTo>
                      <a:lnTo>
                        <a:pt x="24" y="16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07" name="Freeform 138">
                  <a:extLst>
                    <a:ext uri="{FF2B5EF4-FFF2-40B4-BE49-F238E27FC236}">
                      <a16:creationId xmlns:a16="http://schemas.microsoft.com/office/drawing/2014/main" id="{BA76A3DB-0064-8CFF-49EC-6167765A1325}"/>
                    </a:ext>
                  </a:extLst>
                </p:cNvPr>
                <p:cNvSpPr/>
                <p:nvPr/>
              </p:nvSpPr>
              <p:spPr bwMode="gray">
                <a:xfrm>
                  <a:off x="5017" y="2976"/>
                  <a:ext cx="12" cy="12"/>
                </a:xfrm>
                <a:custGeom>
                  <a:avLst/>
                  <a:gdLst>
                    <a:gd name="T0" fmla="*/ 7 w 16"/>
                    <a:gd name="T1" fmla="*/ 7 h 16"/>
                    <a:gd name="T2" fmla="*/ 4 w 16"/>
                    <a:gd name="T3" fmla="*/ 0 h 16"/>
                    <a:gd name="T4" fmla="*/ 0 w 16"/>
                    <a:gd name="T5" fmla="*/ 0 h 16"/>
                    <a:gd name="T6" fmla="*/ 0 w 16"/>
                    <a:gd name="T7" fmla="*/ 4 h 16"/>
                    <a:gd name="T8" fmla="*/ 4 w 16"/>
                    <a:gd name="T9" fmla="*/ 7 h 16"/>
                    <a:gd name="T10" fmla="*/ 7 w 16"/>
                    <a:gd name="T11" fmla="*/ 7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16" y="16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16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08" name="Freeform 139">
                  <a:extLst>
                    <a:ext uri="{FF2B5EF4-FFF2-40B4-BE49-F238E27FC236}">
                      <a16:creationId xmlns:a16="http://schemas.microsoft.com/office/drawing/2014/main" id="{E6AA0135-DAEE-B097-F50F-ACAE15B9F51F}"/>
                    </a:ext>
                  </a:extLst>
                </p:cNvPr>
                <p:cNvSpPr/>
                <p:nvPr/>
              </p:nvSpPr>
              <p:spPr bwMode="gray">
                <a:xfrm>
                  <a:off x="5045" y="2988"/>
                  <a:ext cx="23" cy="16"/>
                </a:xfrm>
                <a:custGeom>
                  <a:avLst/>
                  <a:gdLst>
                    <a:gd name="T0" fmla="*/ 12 w 32"/>
                    <a:gd name="T1" fmla="*/ 7 h 24"/>
                    <a:gd name="T2" fmla="*/ 9 w 32"/>
                    <a:gd name="T3" fmla="*/ 5 h 24"/>
                    <a:gd name="T4" fmla="*/ 0 w 32"/>
                    <a:gd name="T5" fmla="*/ 0 h 24"/>
                    <a:gd name="T6" fmla="*/ 0 w 32"/>
                    <a:gd name="T7" fmla="*/ 2 h 24"/>
                    <a:gd name="T8" fmla="*/ 0 w 32"/>
                    <a:gd name="T9" fmla="*/ 5 h 24"/>
                    <a:gd name="T10" fmla="*/ 9 w 32"/>
                    <a:gd name="T11" fmla="*/ 7 h 24"/>
                    <a:gd name="T12" fmla="*/ 12 w 32"/>
                    <a:gd name="T13" fmla="*/ 7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24"/>
                    <a:gd name="T23" fmla="*/ 32 w 32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24">
                      <a:moveTo>
                        <a:pt x="32" y="24"/>
                      </a:moveTo>
                      <a:lnTo>
                        <a:pt x="24" y="16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24" y="24"/>
                      </a:lnTo>
                      <a:lnTo>
                        <a:pt x="32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09" name="Freeform 140">
                  <a:extLst>
                    <a:ext uri="{FF2B5EF4-FFF2-40B4-BE49-F238E27FC236}">
                      <a16:creationId xmlns:a16="http://schemas.microsoft.com/office/drawing/2014/main" id="{5DB2B4C8-5AF2-DC49-96EB-D36F6F52227E}"/>
                    </a:ext>
                  </a:extLst>
                </p:cNvPr>
                <p:cNvSpPr/>
                <p:nvPr/>
              </p:nvSpPr>
              <p:spPr bwMode="gray">
                <a:xfrm>
                  <a:off x="5074" y="3004"/>
                  <a:ext cx="16" cy="17"/>
                </a:xfrm>
                <a:custGeom>
                  <a:avLst/>
                  <a:gdLst>
                    <a:gd name="T0" fmla="*/ 7 w 24"/>
                    <a:gd name="T1" fmla="*/ 9 h 24"/>
                    <a:gd name="T2" fmla="*/ 5 w 24"/>
                    <a:gd name="T3" fmla="*/ 0 h 24"/>
                    <a:gd name="T4" fmla="*/ 2 w 24"/>
                    <a:gd name="T5" fmla="*/ 0 h 24"/>
                    <a:gd name="T6" fmla="*/ 0 w 24"/>
                    <a:gd name="T7" fmla="*/ 3 h 24"/>
                    <a:gd name="T8" fmla="*/ 2 w 24"/>
                    <a:gd name="T9" fmla="*/ 6 h 24"/>
                    <a:gd name="T10" fmla="*/ 5 w 24"/>
                    <a:gd name="T11" fmla="*/ 9 h 24"/>
                    <a:gd name="T12" fmla="*/ 5 w 24"/>
                    <a:gd name="T13" fmla="*/ 9 h 24"/>
                    <a:gd name="T14" fmla="*/ 7 w 24"/>
                    <a:gd name="T15" fmla="*/ 9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24"/>
                    <a:gd name="T26" fmla="*/ 24 w 24"/>
                    <a:gd name="T27" fmla="*/ 24 h 2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24">
                      <a:moveTo>
                        <a:pt x="24" y="24"/>
                      </a:move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16" y="24"/>
                      </a:lnTo>
                      <a:lnTo>
                        <a:pt x="24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10" name="Freeform 141">
                  <a:extLst>
                    <a:ext uri="{FF2B5EF4-FFF2-40B4-BE49-F238E27FC236}">
                      <a16:creationId xmlns:a16="http://schemas.microsoft.com/office/drawing/2014/main" id="{2BA3542A-2AE0-BA2F-E79A-79D6B7611B1D}"/>
                    </a:ext>
                  </a:extLst>
                </p:cNvPr>
                <p:cNvSpPr/>
                <p:nvPr/>
              </p:nvSpPr>
              <p:spPr bwMode="gray">
                <a:xfrm>
                  <a:off x="5164" y="3100"/>
                  <a:ext cx="5" cy="11"/>
                </a:xfrm>
                <a:custGeom>
                  <a:avLst/>
                  <a:gdLst>
                    <a:gd name="T0" fmla="*/ 0 w 8"/>
                    <a:gd name="T1" fmla="*/ 3 h 16"/>
                    <a:gd name="T2" fmla="*/ 0 w 8"/>
                    <a:gd name="T3" fmla="*/ 6 h 16"/>
                    <a:gd name="T4" fmla="*/ 2 w 8"/>
                    <a:gd name="T5" fmla="*/ 6 h 16"/>
                    <a:gd name="T6" fmla="*/ 2 w 8"/>
                    <a:gd name="T7" fmla="*/ 0 h 16"/>
                    <a:gd name="T8" fmla="*/ 0 w 8"/>
                    <a:gd name="T9" fmla="*/ 0 h 16"/>
                    <a:gd name="T10" fmla="*/ 0 w 8"/>
                    <a:gd name="T11" fmla="*/ 3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16"/>
                    <a:gd name="T20" fmla="*/ 8 w 8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16">
                      <a:moveTo>
                        <a:pt x="0" y="8"/>
                      </a:move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11" name="Freeform 142">
                  <a:extLst>
                    <a:ext uri="{FF2B5EF4-FFF2-40B4-BE49-F238E27FC236}">
                      <a16:creationId xmlns:a16="http://schemas.microsoft.com/office/drawing/2014/main" id="{B94AB31E-A35F-EB4A-BAD2-664B1846CD1E}"/>
                    </a:ext>
                  </a:extLst>
                </p:cNvPr>
                <p:cNvSpPr/>
                <p:nvPr/>
              </p:nvSpPr>
              <p:spPr bwMode="gray">
                <a:xfrm>
                  <a:off x="5169" y="3117"/>
                  <a:ext cx="11" cy="6"/>
                </a:xfrm>
                <a:custGeom>
                  <a:avLst/>
                  <a:gdLst>
                    <a:gd name="T0" fmla="*/ 6 w 16"/>
                    <a:gd name="T1" fmla="*/ 4 h 8"/>
                    <a:gd name="T2" fmla="*/ 6 w 16"/>
                    <a:gd name="T3" fmla="*/ 0 h 8"/>
                    <a:gd name="T4" fmla="*/ 3 w 16"/>
                    <a:gd name="T5" fmla="*/ 0 h 8"/>
                    <a:gd name="T6" fmla="*/ 0 w 16"/>
                    <a:gd name="T7" fmla="*/ 0 h 8"/>
                    <a:gd name="T8" fmla="*/ 6 w 16"/>
                    <a:gd name="T9" fmla="*/ 4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16" y="8"/>
                      </a:move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12" name="Freeform 143">
                  <a:extLst>
                    <a:ext uri="{FF2B5EF4-FFF2-40B4-BE49-F238E27FC236}">
                      <a16:creationId xmlns:a16="http://schemas.microsoft.com/office/drawing/2014/main" id="{7F3CF8F2-80CD-4DD1-28D5-425FE0953CC8}"/>
                    </a:ext>
                  </a:extLst>
                </p:cNvPr>
                <p:cNvSpPr/>
                <p:nvPr/>
              </p:nvSpPr>
              <p:spPr bwMode="gray">
                <a:xfrm>
                  <a:off x="5130" y="3179"/>
                  <a:ext cx="39" cy="28"/>
                </a:xfrm>
                <a:custGeom>
                  <a:avLst/>
                  <a:gdLst>
                    <a:gd name="T0" fmla="*/ 16 w 56"/>
                    <a:gd name="T1" fmla="*/ 10 h 40"/>
                    <a:gd name="T2" fmla="*/ 10 w 56"/>
                    <a:gd name="T3" fmla="*/ 8 h 40"/>
                    <a:gd name="T4" fmla="*/ 8 w 56"/>
                    <a:gd name="T5" fmla="*/ 6 h 40"/>
                    <a:gd name="T6" fmla="*/ 6 w 56"/>
                    <a:gd name="T7" fmla="*/ 3 h 40"/>
                    <a:gd name="T8" fmla="*/ 3 w 56"/>
                    <a:gd name="T9" fmla="*/ 3 h 40"/>
                    <a:gd name="T10" fmla="*/ 0 w 56"/>
                    <a:gd name="T11" fmla="*/ 0 h 40"/>
                    <a:gd name="T12" fmla="*/ 0 w 56"/>
                    <a:gd name="T13" fmla="*/ 3 h 40"/>
                    <a:gd name="T14" fmla="*/ 0 w 56"/>
                    <a:gd name="T15" fmla="*/ 6 h 40"/>
                    <a:gd name="T16" fmla="*/ 3 w 56"/>
                    <a:gd name="T17" fmla="*/ 8 h 40"/>
                    <a:gd name="T18" fmla="*/ 6 w 56"/>
                    <a:gd name="T19" fmla="*/ 8 h 40"/>
                    <a:gd name="T20" fmla="*/ 14 w 56"/>
                    <a:gd name="T21" fmla="*/ 14 h 40"/>
                    <a:gd name="T22" fmla="*/ 16 w 56"/>
                    <a:gd name="T23" fmla="*/ 14 h 40"/>
                    <a:gd name="T24" fmla="*/ 19 w 56"/>
                    <a:gd name="T25" fmla="*/ 14 h 40"/>
                    <a:gd name="T26" fmla="*/ 16 w 56"/>
                    <a:gd name="T27" fmla="*/ 10 h 4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40"/>
                    <a:gd name="T44" fmla="*/ 56 w 56"/>
                    <a:gd name="T45" fmla="*/ 40 h 4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40">
                      <a:moveTo>
                        <a:pt x="48" y="32"/>
                      </a:moveTo>
                      <a:lnTo>
                        <a:pt x="32" y="24"/>
                      </a:lnTo>
                      <a:lnTo>
                        <a:pt x="24" y="16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40" y="40"/>
                      </a:lnTo>
                      <a:lnTo>
                        <a:pt x="48" y="40"/>
                      </a:lnTo>
                      <a:lnTo>
                        <a:pt x="56" y="40"/>
                      </a:lnTo>
                      <a:lnTo>
                        <a:pt x="48" y="3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13" name="Freeform 144">
                  <a:extLst>
                    <a:ext uri="{FF2B5EF4-FFF2-40B4-BE49-F238E27FC236}">
                      <a16:creationId xmlns:a16="http://schemas.microsoft.com/office/drawing/2014/main" id="{B540AAAE-4146-544B-75D2-92255976BDBA}"/>
                    </a:ext>
                  </a:extLst>
                </p:cNvPr>
                <p:cNvSpPr/>
                <p:nvPr/>
              </p:nvSpPr>
              <p:spPr bwMode="gray">
                <a:xfrm>
                  <a:off x="5316" y="3134"/>
                  <a:ext cx="16" cy="17"/>
                </a:xfrm>
                <a:custGeom>
                  <a:avLst/>
                  <a:gdLst>
                    <a:gd name="T0" fmla="*/ 0 w 24"/>
                    <a:gd name="T1" fmla="*/ 6 h 24"/>
                    <a:gd name="T2" fmla="*/ 2 w 24"/>
                    <a:gd name="T3" fmla="*/ 9 h 24"/>
                    <a:gd name="T4" fmla="*/ 7 w 24"/>
                    <a:gd name="T5" fmla="*/ 6 h 24"/>
                    <a:gd name="T6" fmla="*/ 7 w 24"/>
                    <a:gd name="T7" fmla="*/ 3 h 24"/>
                    <a:gd name="T8" fmla="*/ 7 w 24"/>
                    <a:gd name="T9" fmla="*/ 0 h 24"/>
                    <a:gd name="T10" fmla="*/ 0 w 24"/>
                    <a:gd name="T11" fmla="*/ 3 h 24"/>
                    <a:gd name="T12" fmla="*/ 0 w 24"/>
                    <a:gd name="T13" fmla="*/ 6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0" y="16"/>
                      </a:moveTo>
                      <a:lnTo>
                        <a:pt x="8" y="24"/>
                      </a:ln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14" name="Freeform 145">
                  <a:extLst>
                    <a:ext uri="{FF2B5EF4-FFF2-40B4-BE49-F238E27FC236}">
                      <a16:creationId xmlns:a16="http://schemas.microsoft.com/office/drawing/2014/main" id="{4609D7A1-C1A1-E5EE-8BBB-76B1C934398B}"/>
                    </a:ext>
                  </a:extLst>
                </p:cNvPr>
                <p:cNvSpPr/>
                <p:nvPr/>
              </p:nvSpPr>
              <p:spPr bwMode="gray">
                <a:xfrm>
                  <a:off x="5332" y="3117"/>
                  <a:ext cx="23" cy="11"/>
                </a:xfrm>
                <a:custGeom>
                  <a:avLst/>
                  <a:gdLst>
                    <a:gd name="T0" fmla="*/ 6 w 32"/>
                    <a:gd name="T1" fmla="*/ 0 h 16"/>
                    <a:gd name="T2" fmla="*/ 0 w 32"/>
                    <a:gd name="T3" fmla="*/ 3 h 16"/>
                    <a:gd name="T4" fmla="*/ 3 w 32"/>
                    <a:gd name="T5" fmla="*/ 6 h 16"/>
                    <a:gd name="T6" fmla="*/ 12 w 32"/>
                    <a:gd name="T7" fmla="*/ 0 h 16"/>
                    <a:gd name="T8" fmla="*/ 9 w 32"/>
                    <a:gd name="T9" fmla="*/ 0 h 16"/>
                    <a:gd name="T10" fmla="*/ 6 w 32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16"/>
                    <a:gd name="T20" fmla="*/ 32 w 32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16">
                      <a:moveTo>
                        <a:pt x="16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15" name="Freeform 146">
                  <a:extLst>
                    <a:ext uri="{FF2B5EF4-FFF2-40B4-BE49-F238E27FC236}">
                      <a16:creationId xmlns:a16="http://schemas.microsoft.com/office/drawing/2014/main" id="{321A1E39-E98D-8075-729E-201CC769FA71}"/>
                    </a:ext>
                  </a:extLst>
                </p:cNvPr>
                <p:cNvSpPr/>
                <p:nvPr/>
              </p:nvSpPr>
              <p:spPr bwMode="gray">
                <a:xfrm>
                  <a:off x="3627" y="2290"/>
                  <a:ext cx="209" cy="157"/>
                </a:xfrm>
                <a:custGeom>
                  <a:avLst/>
                  <a:gdLst>
                    <a:gd name="T0" fmla="*/ 3 w 296"/>
                    <a:gd name="T1" fmla="*/ 74 h 224"/>
                    <a:gd name="T2" fmla="*/ 11 w 296"/>
                    <a:gd name="T3" fmla="*/ 74 h 224"/>
                    <a:gd name="T4" fmla="*/ 17 w 296"/>
                    <a:gd name="T5" fmla="*/ 74 h 224"/>
                    <a:gd name="T6" fmla="*/ 31 w 296"/>
                    <a:gd name="T7" fmla="*/ 77 h 224"/>
                    <a:gd name="T8" fmla="*/ 42 w 296"/>
                    <a:gd name="T9" fmla="*/ 74 h 224"/>
                    <a:gd name="T10" fmla="*/ 42 w 296"/>
                    <a:gd name="T11" fmla="*/ 69 h 224"/>
                    <a:gd name="T12" fmla="*/ 42 w 296"/>
                    <a:gd name="T13" fmla="*/ 63 h 224"/>
                    <a:gd name="T14" fmla="*/ 48 w 296"/>
                    <a:gd name="T15" fmla="*/ 60 h 224"/>
                    <a:gd name="T16" fmla="*/ 54 w 296"/>
                    <a:gd name="T17" fmla="*/ 58 h 224"/>
                    <a:gd name="T18" fmla="*/ 62 w 296"/>
                    <a:gd name="T19" fmla="*/ 58 h 224"/>
                    <a:gd name="T20" fmla="*/ 62 w 296"/>
                    <a:gd name="T21" fmla="*/ 53 h 224"/>
                    <a:gd name="T22" fmla="*/ 71 w 296"/>
                    <a:gd name="T23" fmla="*/ 41 h 224"/>
                    <a:gd name="T24" fmla="*/ 76 w 296"/>
                    <a:gd name="T25" fmla="*/ 41 h 224"/>
                    <a:gd name="T26" fmla="*/ 82 w 296"/>
                    <a:gd name="T27" fmla="*/ 30 h 224"/>
                    <a:gd name="T28" fmla="*/ 79 w 296"/>
                    <a:gd name="T29" fmla="*/ 22 h 224"/>
                    <a:gd name="T30" fmla="*/ 96 w 296"/>
                    <a:gd name="T31" fmla="*/ 14 h 224"/>
                    <a:gd name="T32" fmla="*/ 101 w 296"/>
                    <a:gd name="T33" fmla="*/ 14 h 224"/>
                    <a:gd name="T34" fmla="*/ 105 w 296"/>
                    <a:gd name="T35" fmla="*/ 14 h 224"/>
                    <a:gd name="T36" fmla="*/ 101 w 296"/>
                    <a:gd name="T37" fmla="*/ 11 h 224"/>
                    <a:gd name="T38" fmla="*/ 99 w 296"/>
                    <a:gd name="T39" fmla="*/ 8 h 224"/>
                    <a:gd name="T40" fmla="*/ 96 w 296"/>
                    <a:gd name="T41" fmla="*/ 8 h 224"/>
                    <a:gd name="T42" fmla="*/ 88 w 296"/>
                    <a:gd name="T43" fmla="*/ 14 h 224"/>
                    <a:gd name="T44" fmla="*/ 79 w 296"/>
                    <a:gd name="T45" fmla="*/ 17 h 224"/>
                    <a:gd name="T46" fmla="*/ 82 w 296"/>
                    <a:gd name="T47" fmla="*/ 8 h 224"/>
                    <a:gd name="T48" fmla="*/ 79 w 296"/>
                    <a:gd name="T49" fmla="*/ 3 h 224"/>
                    <a:gd name="T50" fmla="*/ 76 w 296"/>
                    <a:gd name="T51" fmla="*/ 0 h 224"/>
                    <a:gd name="T52" fmla="*/ 73 w 296"/>
                    <a:gd name="T53" fmla="*/ 3 h 224"/>
                    <a:gd name="T54" fmla="*/ 71 w 296"/>
                    <a:gd name="T55" fmla="*/ 8 h 224"/>
                    <a:gd name="T56" fmla="*/ 59 w 296"/>
                    <a:gd name="T57" fmla="*/ 14 h 224"/>
                    <a:gd name="T58" fmla="*/ 54 w 296"/>
                    <a:gd name="T59" fmla="*/ 11 h 224"/>
                    <a:gd name="T60" fmla="*/ 42 w 296"/>
                    <a:gd name="T61" fmla="*/ 11 h 224"/>
                    <a:gd name="T62" fmla="*/ 34 w 296"/>
                    <a:gd name="T63" fmla="*/ 11 h 224"/>
                    <a:gd name="T64" fmla="*/ 31 w 296"/>
                    <a:gd name="T65" fmla="*/ 17 h 224"/>
                    <a:gd name="T66" fmla="*/ 17 w 296"/>
                    <a:gd name="T67" fmla="*/ 25 h 224"/>
                    <a:gd name="T68" fmla="*/ 17 w 296"/>
                    <a:gd name="T69" fmla="*/ 30 h 224"/>
                    <a:gd name="T70" fmla="*/ 11 w 296"/>
                    <a:gd name="T71" fmla="*/ 27 h 224"/>
                    <a:gd name="T72" fmla="*/ 6 w 296"/>
                    <a:gd name="T73" fmla="*/ 25 h 224"/>
                    <a:gd name="T74" fmla="*/ 6 w 296"/>
                    <a:gd name="T75" fmla="*/ 33 h 224"/>
                    <a:gd name="T76" fmla="*/ 0 w 296"/>
                    <a:gd name="T77" fmla="*/ 39 h 224"/>
                    <a:gd name="T78" fmla="*/ 3 w 296"/>
                    <a:gd name="T79" fmla="*/ 53 h 224"/>
                    <a:gd name="T80" fmla="*/ 0 w 296"/>
                    <a:gd name="T81" fmla="*/ 58 h 224"/>
                    <a:gd name="T82" fmla="*/ 3 w 296"/>
                    <a:gd name="T83" fmla="*/ 60 h 224"/>
                    <a:gd name="T84" fmla="*/ 6 w 296"/>
                    <a:gd name="T85" fmla="*/ 58 h 224"/>
                    <a:gd name="T86" fmla="*/ 8 w 296"/>
                    <a:gd name="T87" fmla="*/ 63 h 224"/>
                    <a:gd name="T88" fmla="*/ 6 w 296"/>
                    <a:gd name="T89" fmla="*/ 69 h 224"/>
                    <a:gd name="T90" fmla="*/ 6 w 296"/>
                    <a:gd name="T91" fmla="*/ 74 h 224"/>
                    <a:gd name="T92" fmla="*/ 3 w 296"/>
                    <a:gd name="T93" fmla="*/ 74 h 224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96"/>
                    <a:gd name="T142" fmla="*/ 0 h 224"/>
                    <a:gd name="T143" fmla="*/ 296 w 296"/>
                    <a:gd name="T144" fmla="*/ 224 h 224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96" h="224">
                      <a:moveTo>
                        <a:pt x="8" y="216"/>
                      </a:moveTo>
                      <a:lnTo>
                        <a:pt x="32" y="216"/>
                      </a:lnTo>
                      <a:lnTo>
                        <a:pt x="48" y="216"/>
                      </a:lnTo>
                      <a:lnTo>
                        <a:pt x="88" y="224"/>
                      </a:lnTo>
                      <a:lnTo>
                        <a:pt x="120" y="216"/>
                      </a:lnTo>
                      <a:lnTo>
                        <a:pt x="120" y="200"/>
                      </a:lnTo>
                      <a:lnTo>
                        <a:pt x="120" y="184"/>
                      </a:lnTo>
                      <a:lnTo>
                        <a:pt x="136" y="176"/>
                      </a:lnTo>
                      <a:lnTo>
                        <a:pt x="152" y="168"/>
                      </a:lnTo>
                      <a:lnTo>
                        <a:pt x="176" y="168"/>
                      </a:lnTo>
                      <a:lnTo>
                        <a:pt x="176" y="152"/>
                      </a:lnTo>
                      <a:lnTo>
                        <a:pt x="200" y="120"/>
                      </a:lnTo>
                      <a:lnTo>
                        <a:pt x="216" y="120"/>
                      </a:lnTo>
                      <a:lnTo>
                        <a:pt x="232" y="88"/>
                      </a:lnTo>
                      <a:lnTo>
                        <a:pt x="224" y="64"/>
                      </a:lnTo>
                      <a:lnTo>
                        <a:pt x="272" y="40"/>
                      </a:lnTo>
                      <a:lnTo>
                        <a:pt x="288" y="40"/>
                      </a:lnTo>
                      <a:lnTo>
                        <a:pt x="296" y="40"/>
                      </a:lnTo>
                      <a:lnTo>
                        <a:pt x="288" y="32"/>
                      </a:lnTo>
                      <a:lnTo>
                        <a:pt x="280" y="24"/>
                      </a:lnTo>
                      <a:lnTo>
                        <a:pt x="272" y="24"/>
                      </a:lnTo>
                      <a:lnTo>
                        <a:pt x="248" y="40"/>
                      </a:lnTo>
                      <a:lnTo>
                        <a:pt x="224" y="48"/>
                      </a:lnTo>
                      <a:lnTo>
                        <a:pt x="232" y="24"/>
                      </a:lnTo>
                      <a:lnTo>
                        <a:pt x="224" y="8"/>
                      </a:lnTo>
                      <a:lnTo>
                        <a:pt x="216" y="0"/>
                      </a:lnTo>
                      <a:lnTo>
                        <a:pt x="208" y="8"/>
                      </a:lnTo>
                      <a:lnTo>
                        <a:pt x="200" y="24"/>
                      </a:lnTo>
                      <a:lnTo>
                        <a:pt x="168" y="40"/>
                      </a:lnTo>
                      <a:lnTo>
                        <a:pt x="152" y="32"/>
                      </a:lnTo>
                      <a:lnTo>
                        <a:pt x="120" y="32"/>
                      </a:lnTo>
                      <a:lnTo>
                        <a:pt x="96" y="32"/>
                      </a:lnTo>
                      <a:lnTo>
                        <a:pt x="88" y="48"/>
                      </a:lnTo>
                      <a:lnTo>
                        <a:pt x="48" y="72"/>
                      </a:lnTo>
                      <a:lnTo>
                        <a:pt x="48" y="88"/>
                      </a:lnTo>
                      <a:lnTo>
                        <a:pt x="32" y="80"/>
                      </a:lnTo>
                      <a:lnTo>
                        <a:pt x="16" y="72"/>
                      </a:lnTo>
                      <a:lnTo>
                        <a:pt x="16" y="96"/>
                      </a:lnTo>
                      <a:lnTo>
                        <a:pt x="0" y="112"/>
                      </a:lnTo>
                      <a:lnTo>
                        <a:pt x="8" y="152"/>
                      </a:lnTo>
                      <a:lnTo>
                        <a:pt x="0" y="168"/>
                      </a:lnTo>
                      <a:lnTo>
                        <a:pt x="8" y="176"/>
                      </a:lnTo>
                      <a:lnTo>
                        <a:pt x="16" y="168"/>
                      </a:lnTo>
                      <a:lnTo>
                        <a:pt x="24" y="184"/>
                      </a:lnTo>
                      <a:lnTo>
                        <a:pt x="16" y="200"/>
                      </a:lnTo>
                      <a:lnTo>
                        <a:pt x="16" y="216"/>
                      </a:lnTo>
                      <a:lnTo>
                        <a:pt x="8" y="2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16" name="Freeform 147">
                  <a:extLst>
                    <a:ext uri="{FF2B5EF4-FFF2-40B4-BE49-F238E27FC236}">
                      <a16:creationId xmlns:a16="http://schemas.microsoft.com/office/drawing/2014/main" id="{F1D90A23-7454-E872-C69F-4C998A47BB3D}"/>
                    </a:ext>
                  </a:extLst>
                </p:cNvPr>
                <p:cNvSpPr/>
                <p:nvPr/>
              </p:nvSpPr>
              <p:spPr bwMode="gray">
                <a:xfrm>
                  <a:off x="3633" y="2318"/>
                  <a:ext cx="236" cy="225"/>
                </a:xfrm>
                <a:custGeom>
                  <a:avLst/>
                  <a:gdLst>
                    <a:gd name="T0" fmla="*/ 117 w 336"/>
                    <a:gd name="T1" fmla="*/ 19 h 320"/>
                    <a:gd name="T2" fmla="*/ 108 w 336"/>
                    <a:gd name="T3" fmla="*/ 19 h 320"/>
                    <a:gd name="T4" fmla="*/ 100 w 336"/>
                    <a:gd name="T5" fmla="*/ 19 h 320"/>
                    <a:gd name="T6" fmla="*/ 94 w 336"/>
                    <a:gd name="T7" fmla="*/ 19 h 320"/>
                    <a:gd name="T8" fmla="*/ 94 w 336"/>
                    <a:gd name="T9" fmla="*/ 34 h 320"/>
                    <a:gd name="T10" fmla="*/ 100 w 336"/>
                    <a:gd name="T11" fmla="*/ 36 h 320"/>
                    <a:gd name="T12" fmla="*/ 103 w 336"/>
                    <a:gd name="T13" fmla="*/ 39 h 320"/>
                    <a:gd name="T14" fmla="*/ 103 w 336"/>
                    <a:gd name="T15" fmla="*/ 44 h 320"/>
                    <a:gd name="T16" fmla="*/ 97 w 336"/>
                    <a:gd name="T17" fmla="*/ 48 h 320"/>
                    <a:gd name="T18" fmla="*/ 97 w 336"/>
                    <a:gd name="T19" fmla="*/ 56 h 320"/>
                    <a:gd name="T20" fmla="*/ 91 w 336"/>
                    <a:gd name="T21" fmla="*/ 58 h 320"/>
                    <a:gd name="T22" fmla="*/ 88 w 336"/>
                    <a:gd name="T23" fmla="*/ 64 h 320"/>
                    <a:gd name="T24" fmla="*/ 75 w 336"/>
                    <a:gd name="T25" fmla="*/ 78 h 320"/>
                    <a:gd name="T26" fmla="*/ 69 w 336"/>
                    <a:gd name="T27" fmla="*/ 78 h 320"/>
                    <a:gd name="T28" fmla="*/ 67 w 336"/>
                    <a:gd name="T29" fmla="*/ 75 h 320"/>
                    <a:gd name="T30" fmla="*/ 64 w 336"/>
                    <a:gd name="T31" fmla="*/ 86 h 320"/>
                    <a:gd name="T32" fmla="*/ 72 w 336"/>
                    <a:gd name="T33" fmla="*/ 98 h 320"/>
                    <a:gd name="T34" fmla="*/ 72 w 336"/>
                    <a:gd name="T35" fmla="*/ 105 h 320"/>
                    <a:gd name="T36" fmla="*/ 61 w 336"/>
                    <a:gd name="T37" fmla="*/ 103 h 320"/>
                    <a:gd name="T38" fmla="*/ 55 w 336"/>
                    <a:gd name="T39" fmla="*/ 105 h 320"/>
                    <a:gd name="T40" fmla="*/ 53 w 336"/>
                    <a:gd name="T41" fmla="*/ 111 h 320"/>
                    <a:gd name="T42" fmla="*/ 47 w 336"/>
                    <a:gd name="T43" fmla="*/ 108 h 320"/>
                    <a:gd name="T44" fmla="*/ 47 w 336"/>
                    <a:gd name="T45" fmla="*/ 105 h 320"/>
                    <a:gd name="T46" fmla="*/ 44 w 336"/>
                    <a:gd name="T47" fmla="*/ 105 h 320"/>
                    <a:gd name="T48" fmla="*/ 44 w 336"/>
                    <a:gd name="T49" fmla="*/ 101 h 320"/>
                    <a:gd name="T50" fmla="*/ 41 w 336"/>
                    <a:gd name="T51" fmla="*/ 98 h 320"/>
                    <a:gd name="T52" fmla="*/ 36 w 336"/>
                    <a:gd name="T53" fmla="*/ 98 h 320"/>
                    <a:gd name="T54" fmla="*/ 33 w 336"/>
                    <a:gd name="T55" fmla="*/ 101 h 320"/>
                    <a:gd name="T56" fmla="*/ 25 w 336"/>
                    <a:gd name="T57" fmla="*/ 98 h 320"/>
                    <a:gd name="T58" fmla="*/ 22 w 336"/>
                    <a:gd name="T59" fmla="*/ 101 h 320"/>
                    <a:gd name="T60" fmla="*/ 11 w 336"/>
                    <a:gd name="T61" fmla="*/ 101 h 320"/>
                    <a:gd name="T62" fmla="*/ 8 w 336"/>
                    <a:gd name="T63" fmla="*/ 98 h 320"/>
                    <a:gd name="T64" fmla="*/ 6 w 336"/>
                    <a:gd name="T65" fmla="*/ 98 h 320"/>
                    <a:gd name="T66" fmla="*/ 8 w 336"/>
                    <a:gd name="T67" fmla="*/ 92 h 320"/>
                    <a:gd name="T68" fmla="*/ 17 w 336"/>
                    <a:gd name="T69" fmla="*/ 86 h 320"/>
                    <a:gd name="T70" fmla="*/ 17 w 336"/>
                    <a:gd name="T71" fmla="*/ 84 h 320"/>
                    <a:gd name="T72" fmla="*/ 11 w 336"/>
                    <a:gd name="T73" fmla="*/ 81 h 320"/>
                    <a:gd name="T74" fmla="*/ 14 w 336"/>
                    <a:gd name="T75" fmla="*/ 78 h 320"/>
                    <a:gd name="T76" fmla="*/ 0 w 336"/>
                    <a:gd name="T77" fmla="*/ 67 h 320"/>
                    <a:gd name="T78" fmla="*/ 0 w 336"/>
                    <a:gd name="T79" fmla="*/ 61 h 320"/>
                    <a:gd name="T80" fmla="*/ 8 w 336"/>
                    <a:gd name="T81" fmla="*/ 61 h 320"/>
                    <a:gd name="T82" fmla="*/ 14 w 336"/>
                    <a:gd name="T83" fmla="*/ 61 h 320"/>
                    <a:gd name="T84" fmla="*/ 27 w 336"/>
                    <a:gd name="T85" fmla="*/ 64 h 320"/>
                    <a:gd name="T86" fmla="*/ 39 w 336"/>
                    <a:gd name="T87" fmla="*/ 61 h 320"/>
                    <a:gd name="T88" fmla="*/ 39 w 336"/>
                    <a:gd name="T89" fmla="*/ 56 h 320"/>
                    <a:gd name="T90" fmla="*/ 39 w 336"/>
                    <a:gd name="T91" fmla="*/ 50 h 320"/>
                    <a:gd name="T92" fmla="*/ 44 w 336"/>
                    <a:gd name="T93" fmla="*/ 48 h 320"/>
                    <a:gd name="T94" fmla="*/ 50 w 336"/>
                    <a:gd name="T95" fmla="*/ 44 h 320"/>
                    <a:gd name="T96" fmla="*/ 58 w 336"/>
                    <a:gd name="T97" fmla="*/ 44 h 320"/>
                    <a:gd name="T98" fmla="*/ 58 w 336"/>
                    <a:gd name="T99" fmla="*/ 39 h 320"/>
                    <a:gd name="T100" fmla="*/ 67 w 336"/>
                    <a:gd name="T101" fmla="*/ 27 h 320"/>
                    <a:gd name="T102" fmla="*/ 72 w 336"/>
                    <a:gd name="T103" fmla="*/ 27 h 320"/>
                    <a:gd name="T104" fmla="*/ 77 w 336"/>
                    <a:gd name="T105" fmla="*/ 17 h 320"/>
                    <a:gd name="T106" fmla="*/ 75 w 336"/>
                    <a:gd name="T107" fmla="*/ 8 h 320"/>
                    <a:gd name="T108" fmla="*/ 91 w 336"/>
                    <a:gd name="T109" fmla="*/ 0 h 320"/>
                    <a:gd name="T110" fmla="*/ 97 w 336"/>
                    <a:gd name="T111" fmla="*/ 0 h 320"/>
                    <a:gd name="T112" fmla="*/ 100 w 336"/>
                    <a:gd name="T113" fmla="*/ 0 h 320"/>
                    <a:gd name="T114" fmla="*/ 103 w 336"/>
                    <a:gd name="T115" fmla="*/ 0 h 320"/>
                    <a:gd name="T116" fmla="*/ 105 w 336"/>
                    <a:gd name="T117" fmla="*/ 6 h 320"/>
                    <a:gd name="T118" fmla="*/ 108 w 336"/>
                    <a:gd name="T119" fmla="*/ 11 h 320"/>
                    <a:gd name="T120" fmla="*/ 114 w 336"/>
                    <a:gd name="T121" fmla="*/ 14 h 320"/>
                    <a:gd name="T122" fmla="*/ 117 w 336"/>
                    <a:gd name="T123" fmla="*/ 19 h 32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36"/>
                    <a:gd name="T187" fmla="*/ 0 h 320"/>
                    <a:gd name="T188" fmla="*/ 336 w 336"/>
                    <a:gd name="T189" fmla="*/ 320 h 32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36" h="320">
                      <a:moveTo>
                        <a:pt x="336" y="56"/>
                      </a:moveTo>
                      <a:lnTo>
                        <a:pt x="312" y="56"/>
                      </a:lnTo>
                      <a:lnTo>
                        <a:pt x="288" y="56"/>
                      </a:lnTo>
                      <a:lnTo>
                        <a:pt x="272" y="56"/>
                      </a:lnTo>
                      <a:lnTo>
                        <a:pt x="272" y="96"/>
                      </a:lnTo>
                      <a:lnTo>
                        <a:pt x="288" y="104"/>
                      </a:lnTo>
                      <a:lnTo>
                        <a:pt x="296" y="112"/>
                      </a:lnTo>
                      <a:lnTo>
                        <a:pt x="296" y="128"/>
                      </a:lnTo>
                      <a:lnTo>
                        <a:pt x="280" y="136"/>
                      </a:lnTo>
                      <a:lnTo>
                        <a:pt x="280" y="160"/>
                      </a:lnTo>
                      <a:lnTo>
                        <a:pt x="264" y="168"/>
                      </a:lnTo>
                      <a:lnTo>
                        <a:pt x="256" y="184"/>
                      </a:lnTo>
                      <a:lnTo>
                        <a:pt x="216" y="224"/>
                      </a:lnTo>
                      <a:lnTo>
                        <a:pt x="200" y="224"/>
                      </a:lnTo>
                      <a:lnTo>
                        <a:pt x="192" y="216"/>
                      </a:lnTo>
                      <a:lnTo>
                        <a:pt x="184" y="248"/>
                      </a:lnTo>
                      <a:lnTo>
                        <a:pt x="208" y="280"/>
                      </a:lnTo>
                      <a:lnTo>
                        <a:pt x="208" y="304"/>
                      </a:lnTo>
                      <a:lnTo>
                        <a:pt x="176" y="296"/>
                      </a:lnTo>
                      <a:lnTo>
                        <a:pt x="160" y="304"/>
                      </a:lnTo>
                      <a:lnTo>
                        <a:pt x="152" y="320"/>
                      </a:lnTo>
                      <a:lnTo>
                        <a:pt x="136" y="312"/>
                      </a:lnTo>
                      <a:lnTo>
                        <a:pt x="136" y="304"/>
                      </a:lnTo>
                      <a:lnTo>
                        <a:pt x="128" y="304"/>
                      </a:lnTo>
                      <a:lnTo>
                        <a:pt x="128" y="288"/>
                      </a:lnTo>
                      <a:lnTo>
                        <a:pt x="120" y="280"/>
                      </a:lnTo>
                      <a:lnTo>
                        <a:pt x="104" y="280"/>
                      </a:lnTo>
                      <a:lnTo>
                        <a:pt x="96" y="288"/>
                      </a:lnTo>
                      <a:lnTo>
                        <a:pt x="72" y="280"/>
                      </a:lnTo>
                      <a:lnTo>
                        <a:pt x="64" y="288"/>
                      </a:lnTo>
                      <a:lnTo>
                        <a:pt x="32" y="288"/>
                      </a:lnTo>
                      <a:lnTo>
                        <a:pt x="24" y="280"/>
                      </a:lnTo>
                      <a:lnTo>
                        <a:pt x="16" y="280"/>
                      </a:lnTo>
                      <a:lnTo>
                        <a:pt x="24" y="264"/>
                      </a:lnTo>
                      <a:lnTo>
                        <a:pt x="48" y="248"/>
                      </a:lnTo>
                      <a:lnTo>
                        <a:pt x="48" y="240"/>
                      </a:lnTo>
                      <a:lnTo>
                        <a:pt x="32" y="232"/>
                      </a:lnTo>
                      <a:lnTo>
                        <a:pt x="40" y="224"/>
                      </a:lnTo>
                      <a:lnTo>
                        <a:pt x="0" y="192"/>
                      </a:lnTo>
                      <a:lnTo>
                        <a:pt x="0" y="176"/>
                      </a:lnTo>
                      <a:lnTo>
                        <a:pt x="24" y="176"/>
                      </a:lnTo>
                      <a:lnTo>
                        <a:pt x="40" y="176"/>
                      </a:lnTo>
                      <a:lnTo>
                        <a:pt x="80" y="184"/>
                      </a:lnTo>
                      <a:lnTo>
                        <a:pt x="112" y="176"/>
                      </a:lnTo>
                      <a:lnTo>
                        <a:pt x="112" y="160"/>
                      </a:lnTo>
                      <a:lnTo>
                        <a:pt x="112" y="144"/>
                      </a:lnTo>
                      <a:lnTo>
                        <a:pt x="128" y="136"/>
                      </a:lnTo>
                      <a:lnTo>
                        <a:pt x="144" y="128"/>
                      </a:lnTo>
                      <a:lnTo>
                        <a:pt x="168" y="128"/>
                      </a:lnTo>
                      <a:lnTo>
                        <a:pt x="168" y="112"/>
                      </a:lnTo>
                      <a:lnTo>
                        <a:pt x="192" y="80"/>
                      </a:lnTo>
                      <a:lnTo>
                        <a:pt x="208" y="80"/>
                      </a:lnTo>
                      <a:lnTo>
                        <a:pt x="224" y="48"/>
                      </a:lnTo>
                      <a:lnTo>
                        <a:pt x="216" y="24"/>
                      </a:lnTo>
                      <a:lnTo>
                        <a:pt x="264" y="0"/>
                      </a:lnTo>
                      <a:lnTo>
                        <a:pt x="280" y="0"/>
                      </a:lnTo>
                      <a:lnTo>
                        <a:pt x="288" y="0"/>
                      </a:lnTo>
                      <a:lnTo>
                        <a:pt x="296" y="0"/>
                      </a:lnTo>
                      <a:lnTo>
                        <a:pt x="304" y="16"/>
                      </a:lnTo>
                      <a:lnTo>
                        <a:pt x="312" y="32"/>
                      </a:lnTo>
                      <a:lnTo>
                        <a:pt x="328" y="40"/>
                      </a:lnTo>
                      <a:lnTo>
                        <a:pt x="336" y="5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17" name="Freeform 148">
                  <a:extLst>
                    <a:ext uri="{FF2B5EF4-FFF2-40B4-BE49-F238E27FC236}">
                      <a16:creationId xmlns:a16="http://schemas.microsoft.com/office/drawing/2014/main" id="{2A8A6E43-071B-24D0-F90F-0525EA0882B3}"/>
                    </a:ext>
                  </a:extLst>
                </p:cNvPr>
                <p:cNvSpPr/>
                <p:nvPr/>
              </p:nvSpPr>
              <p:spPr bwMode="gray">
                <a:xfrm>
                  <a:off x="3740" y="2357"/>
                  <a:ext cx="422" cy="417"/>
                </a:xfrm>
                <a:custGeom>
                  <a:avLst/>
                  <a:gdLst>
                    <a:gd name="T0" fmla="*/ 86 w 600"/>
                    <a:gd name="T1" fmla="*/ 48 h 592"/>
                    <a:gd name="T2" fmla="*/ 94 w 600"/>
                    <a:gd name="T3" fmla="*/ 56 h 592"/>
                    <a:gd name="T4" fmla="*/ 125 w 600"/>
                    <a:gd name="T5" fmla="*/ 67 h 592"/>
                    <a:gd name="T6" fmla="*/ 142 w 600"/>
                    <a:gd name="T7" fmla="*/ 61 h 592"/>
                    <a:gd name="T8" fmla="*/ 151 w 600"/>
                    <a:gd name="T9" fmla="*/ 58 h 592"/>
                    <a:gd name="T10" fmla="*/ 172 w 600"/>
                    <a:gd name="T11" fmla="*/ 65 h 592"/>
                    <a:gd name="T12" fmla="*/ 200 w 600"/>
                    <a:gd name="T13" fmla="*/ 42 h 592"/>
                    <a:gd name="T14" fmla="*/ 209 w 600"/>
                    <a:gd name="T15" fmla="*/ 53 h 592"/>
                    <a:gd name="T16" fmla="*/ 186 w 600"/>
                    <a:gd name="T17" fmla="*/ 84 h 592"/>
                    <a:gd name="T18" fmla="*/ 178 w 600"/>
                    <a:gd name="T19" fmla="*/ 89 h 592"/>
                    <a:gd name="T20" fmla="*/ 175 w 600"/>
                    <a:gd name="T21" fmla="*/ 98 h 592"/>
                    <a:gd name="T22" fmla="*/ 167 w 600"/>
                    <a:gd name="T23" fmla="*/ 84 h 592"/>
                    <a:gd name="T24" fmla="*/ 170 w 600"/>
                    <a:gd name="T25" fmla="*/ 73 h 592"/>
                    <a:gd name="T26" fmla="*/ 148 w 600"/>
                    <a:gd name="T27" fmla="*/ 67 h 592"/>
                    <a:gd name="T28" fmla="*/ 148 w 600"/>
                    <a:gd name="T29" fmla="*/ 75 h 592"/>
                    <a:gd name="T30" fmla="*/ 142 w 600"/>
                    <a:gd name="T31" fmla="*/ 81 h 592"/>
                    <a:gd name="T32" fmla="*/ 148 w 600"/>
                    <a:gd name="T33" fmla="*/ 95 h 592"/>
                    <a:gd name="T34" fmla="*/ 134 w 600"/>
                    <a:gd name="T35" fmla="*/ 111 h 592"/>
                    <a:gd name="T36" fmla="*/ 128 w 600"/>
                    <a:gd name="T37" fmla="*/ 120 h 592"/>
                    <a:gd name="T38" fmla="*/ 117 w 600"/>
                    <a:gd name="T39" fmla="*/ 128 h 592"/>
                    <a:gd name="T40" fmla="*/ 106 w 600"/>
                    <a:gd name="T41" fmla="*/ 137 h 592"/>
                    <a:gd name="T42" fmla="*/ 94 w 600"/>
                    <a:gd name="T43" fmla="*/ 149 h 592"/>
                    <a:gd name="T44" fmla="*/ 86 w 600"/>
                    <a:gd name="T45" fmla="*/ 154 h 592"/>
                    <a:gd name="T46" fmla="*/ 86 w 600"/>
                    <a:gd name="T47" fmla="*/ 176 h 592"/>
                    <a:gd name="T48" fmla="*/ 81 w 600"/>
                    <a:gd name="T49" fmla="*/ 190 h 592"/>
                    <a:gd name="T50" fmla="*/ 75 w 600"/>
                    <a:gd name="T51" fmla="*/ 199 h 592"/>
                    <a:gd name="T52" fmla="*/ 67 w 600"/>
                    <a:gd name="T53" fmla="*/ 207 h 592"/>
                    <a:gd name="T54" fmla="*/ 58 w 600"/>
                    <a:gd name="T55" fmla="*/ 193 h 592"/>
                    <a:gd name="T56" fmla="*/ 48 w 600"/>
                    <a:gd name="T57" fmla="*/ 176 h 592"/>
                    <a:gd name="T58" fmla="*/ 44 w 600"/>
                    <a:gd name="T59" fmla="*/ 162 h 592"/>
                    <a:gd name="T60" fmla="*/ 34 w 600"/>
                    <a:gd name="T61" fmla="*/ 134 h 592"/>
                    <a:gd name="T62" fmla="*/ 31 w 600"/>
                    <a:gd name="T63" fmla="*/ 111 h 592"/>
                    <a:gd name="T64" fmla="*/ 27 w 600"/>
                    <a:gd name="T65" fmla="*/ 109 h 592"/>
                    <a:gd name="T66" fmla="*/ 17 w 600"/>
                    <a:gd name="T67" fmla="*/ 115 h 592"/>
                    <a:gd name="T68" fmla="*/ 6 w 600"/>
                    <a:gd name="T69" fmla="*/ 101 h 592"/>
                    <a:gd name="T70" fmla="*/ 14 w 600"/>
                    <a:gd name="T71" fmla="*/ 98 h 592"/>
                    <a:gd name="T72" fmla="*/ 3 w 600"/>
                    <a:gd name="T73" fmla="*/ 98 h 592"/>
                    <a:gd name="T74" fmla="*/ 3 w 600"/>
                    <a:gd name="T75" fmla="*/ 87 h 592"/>
                    <a:gd name="T76" fmla="*/ 19 w 600"/>
                    <a:gd name="T77" fmla="*/ 78 h 592"/>
                    <a:gd name="T78" fmla="*/ 17 w 600"/>
                    <a:gd name="T79" fmla="*/ 58 h 592"/>
                    <a:gd name="T80" fmla="*/ 39 w 600"/>
                    <a:gd name="T81" fmla="*/ 39 h 592"/>
                    <a:gd name="T82" fmla="*/ 50 w 600"/>
                    <a:gd name="T83" fmla="*/ 25 h 592"/>
                    <a:gd name="T84" fmla="*/ 41 w 600"/>
                    <a:gd name="T85" fmla="*/ 14 h 592"/>
                    <a:gd name="T86" fmla="*/ 56 w 600"/>
                    <a:gd name="T87" fmla="*/ 0 h 592"/>
                    <a:gd name="T88" fmla="*/ 70 w 600"/>
                    <a:gd name="T89" fmla="*/ 3 h 592"/>
                    <a:gd name="T90" fmla="*/ 78 w 600"/>
                    <a:gd name="T91" fmla="*/ 14 h 592"/>
                    <a:gd name="T92" fmla="*/ 72 w 600"/>
                    <a:gd name="T93" fmla="*/ 17 h 592"/>
                    <a:gd name="T94" fmla="*/ 75 w 600"/>
                    <a:gd name="T95" fmla="*/ 31 h 592"/>
                    <a:gd name="T96" fmla="*/ 86 w 600"/>
                    <a:gd name="T97" fmla="*/ 36 h 592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600"/>
                    <a:gd name="T148" fmla="*/ 0 h 592"/>
                    <a:gd name="T149" fmla="*/ 600 w 600"/>
                    <a:gd name="T150" fmla="*/ 592 h 592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600" h="592">
                      <a:moveTo>
                        <a:pt x="256" y="104"/>
                      </a:moveTo>
                      <a:lnTo>
                        <a:pt x="256" y="120"/>
                      </a:lnTo>
                      <a:lnTo>
                        <a:pt x="248" y="136"/>
                      </a:lnTo>
                      <a:lnTo>
                        <a:pt x="248" y="152"/>
                      </a:lnTo>
                      <a:lnTo>
                        <a:pt x="264" y="160"/>
                      </a:lnTo>
                      <a:lnTo>
                        <a:pt x="272" y="160"/>
                      </a:lnTo>
                      <a:lnTo>
                        <a:pt x="312" y="168"/>
                      </a:lnTo>
                      <a:lnTo>
                        <a:pt x="336" y="168"/>
                      </a:lnTo>
                      <a:lnTo>
                        <a:pt x="360" y="192"/>
                      </a:lnTo>
                      <a:lnTo>
                        <a:pt x="384" y="200"/>
                      </a:lnTo>
                      <a:lnTo>
                        <a:pt x="408" y="192"/>
                      </a:lnTo>
                      <a:lnTo>
                        <a:pt x="408" y="176"/>
                      </a:lnTo>
                      <a:lnTo>
                        <a:pt x="408" y="160"/>
                      </a:lnTo>
                      <a:lnTo>
                        <a:pt x="416" y="160"/>
                      </a:lnTo>
                      <a:lnTo>
                        <a:pt x="432" y="168"/>
                      </a:lnTo>
                      <a:lnTo>
                        <a:pt x="432" y="176"/>
                      </a:lnTo>
                      <a:lnTo>
                        <a:pt x="440" y="192"/>
                      </a:lnTo>
                      <a:lnTo>
                        <a:pt x="496" y="184"/>
                      </a:lnTo>
                      <a:lnTo>
                        <a:pt x="496" y="160"/>
                      </a:lnTo>
                      <a:lnTo>
                        <a:pt x="528" y="136"/>
                      </a:lnTo>
                      <a:lnTo>
                        <a:pt x="576" y="120"/>
                      </a:lnTo>
                      <a:lnTo>
                        <a:pt x="584" y="128"/>
                      </a:lnTo>
                      <a:lnTo>
                        <a:pt x="584" y="136"/>
                      </a:lnTo>
                      <a:lnTo>
                        <a:pt x="600" y="152"/>
                      </a:lnTo>
                      <a:lnTo>
                        <a:pt x="584" y="168"/>
                      </a:lnTo>
                      <a:lnTo>
                        <a:pt x="560" y="176"/>
                      </a:lnTo>
                      <a:lnTo>
                        <a:pt x="536" y="240"/>
                      </a:lnTo>
                      <a:lnTo>
                        <a:pt x="528" y="248"/>
                      </a:lnTo>
                      <a:lnTo>
                        <a:pt x="528" y="256"/>
                      </a:lnTo>
                      <a:lnTo>
                        <a:pt x="512" y="256"/>
                      </a:lnTo>
                      <a:lnTo>
                        <a:pt x="520" y="288"/>
                      </a:lnTo>
                      <a:lnTo>
                        <a:pt x="504" y="296"/>
                      </a:lnTo>
                      <a:lnTo>
                        <a:pt x="504" y="280"/>
                      </a:lnTo>
                      <a:lnTo>
                        <a:pt x="496" y="256"/>
                      </a:lnTo>
                      <a:lnTo>
                        <a:pt x="480" y="256"/>
                      </a:lnTo>
                      <a:lnTo>
                        <a:pt x="480" y="240"/>
                      </a:lnTo>
                      <a:lnTo>
                        <a:pt x="488" y="224"/>
                      </a:lnTo>
                      <a:lnTo>
                        <a:pt x="496" y="216"/>
                      </a:lnTo>
                      <a:lnTo>
                        <a:pt x="488" y="208"/>
                      </a:lnTo>
                      <a:lnTo>
                        <a:pt x="448" y="208"/>
                      </a:lnTo>
                      <a:lnTo>
                        <a:pt x="440" y="200"/>
                      </a:lnTo>
                      <a:lnTo>
                        <a:pt x="424" y="192"/>
                      </a:lnTo>
                      <a:lnTo>
                        <a:pt x="408" y="200"/>
                      </a:lnTo>
                      <a:lnTo>
                        <a:pt x="416" y="208"/>
                      </a:lnTo>
                      <a:lnTo>
                        <a:pt x="424" y="216"/>
                      </a:lnTo>
                      <a:lnTo>
                        <a:pt x="424" y="224"/>
                      </a:lnTo>
                      <a:lnTo>
                        <a:pt x="408" y="224"/>
                      </a:lnTo>
                      <a:lnTo>
                        <a:pt x="408" y="232"/>
                      </a:lnTo>
                      <a:lnTo>
                        <a:pt x="424" y="240"/>
                      </a:lnTo>
                      <a:lnTo>
                        <a:pt x="424" y="256"/>
                      </a:lnTo>
                      <a:lnTo>
                        <a:pt x="424" y="272"/>
                      </a:lnTo>
                      <a:lnTo>
                        <a:pt x="424" y="296"/>
                      </a:lnTo>
                      <a:lnTo>
                        <a:pt x="392" y="312"/>
                      </a:lnTo>
                      <a:lnTo>
                        <a:pt x="384" y="320"/>
                      </a:lnTo>
                      <a:lnTo>
                        <a:pt x="392" y="328"/>
                      </a:lnTo>
                      <a:lnTo>
                        <a:pt x="384" y="336"/>
                      </a:lnTo>
                      <a:lnTo>
                        <a:pt x="368" y="344"/>
                      </a:lnTo>
                      <a:lnTo>
                        <a:pt x="352" y="352"/>
                      </a:lnTo>
                      <a:lnTo>
                        <a:pt x="344" y="360"/>
                      </a:lnTo>
                      <a:lnTo>
                        <a:pt x="336" y="368"/>
                      </a:lnTo>
                      <a:lnTo>
                        <a:pt x="328" y="376"/>
                      </a:lnTo>
                      <a:lnTo>
                        <a:pt x="320" y="384"/>
                      </a:lnTo>
                      <a:lnTo>
                        <a:pt x="304" y="392"/>
                      </a:lnTo>
                      <a:lnTo>
                        <a:pt x="296" y="408"/>
                      </a:lnTo>
                      <a:lnTo>
                        <a:pt x="288" y="424"/>
                      </a:lnTo>
                      <a:lnTo>
                        <a:pt x="272" y="424"/>
                      </a:lnTo>
                      <a:lnTo>
                        <a:pt x="264" y="432"/>
                      </a:lnTo>
                      <a:lnTo>
                        <a:pt x="256" y="432"/>
                      </a:lnTo>
                      <a:lnTo>
                        <a:pt x="248" y="440"/>
                      </a:lnTo>
                      <a:lnTo>
                        <a:pt x="248" y="464"/>
                      </a:lnTo>
                      <a:lnTo>
                        <a:pt x="248" y="472"/>
                      </a:lnTo>
                      <a:lnTo>
                        <a:pt x="248" y="504"/>
                      </a:lnTo>
                      <a:lnTo>
                        <a:pt x="240" y="520"/>
                      </a:lnTo>
                      <a:lnTo>
                        <a:pt x="240" y="544"/>
                      </a:lnTo>
                      <a:lnTo>
                        <a:pt x="232" y="544"/>
                      </a:lnTo>
                      <a:lnTo>
                        <a:pt x="232" y="552"/>
                      </a:lnTo>
                      <a:lnTo>
                        <a:pt x="224" y="560"/>
                      </a:lnTo>
                      <a:lnTo>
                        <a:pt x="216" y="568"/>
                      </a:lnTo>
                      <a:lnTo>
                        <a:pt x="208" y="576"/>
                      </a:lnTo>
                      <a:lnTo>
                        <a:pt x="208" y="584"/>
                      </a:lnTo>
                      <a:lnTo>
                        <a:pt x="192" y="592"/>
                      </a:lnTo>
                      <a:lnTo>
                        <a:pt x="184" y="592"/>
                      </a:lnTo>
                      <a:lnTo>
                        <a:pt x="176" y="576"/>
                      </a:lnTo>
                      <a:lnTo>
                        <a:pt x="168" y="552"/>
                      </a:lnTo>
                      <a:lnTo>
                        <a:pt x="160" y="536"/>
                      </a:lnTo>
                      <a:lnTo>
                        <a:pt x="152" y="520"/>
                      </a:lnTo>
                      <a:lnTo>
                        <a:pt x="136" y="504"/>
                      </a:lnTo>
                      <a:lnTo>
                        <a:pt x="136" y="488"/>
                      </a:lnTo>
                      <a:lnTo>
                        <a:pt x="136" y="480"/>
                      </a:lnTo>
                      <a:lnTo>
                        <a:pt x="128" y="464"/>
                      </a:lnTo>
                      <a:lnTo>
                        <a:pt x="120" y="432"/>
                      </a:lnTo>
                      <a:lnTo>
                        <a:pt x="112" y="424"/>
                      </a:lnTo>
                      <a:lnTo>
                        <a:pt x="96" y="384"/>
                      </a:lnTo>
                      <a:lnTo>
                        <a:pt x="96" y="360"/>
                      </a:lnTo>
                      <a:lnTo>
                        <a:pt x="96" y="320"/>
                      </a:lnTo>
                      <a:lnTo>
                        <a:pt x="88" y="320"/>
                      </a:lnTo>
                      <a:lnTo>
                        <a:pt x="88" y="296"/>
                      </a:lnTo>
                      <a:lnTo>
                        <a:pt x="80" y="296"/>
                      </a:lnTo>
                      <a:lnTo>
                        <a:pt x="80" y="312"/>
                      </a:lnTo>
                      <a:lnTo>
                        <a:pt x="80" y="320"/>
                      </a:lnTo>
                      <a:lnTo>
                        <a:pt x="72" y="328"/>
                      </a:lnTo>
                      <a:lnTo>
                        <a:pt x="48" y="328"/>
                      </a:lnTo>
                      <a:lnTo>
                        <a:pt x="40" y="320"/>
                      </a:lnTo>
                      <a:lnTo>
                        <a:pt x="16" y="296"/>
                      </a:lnTo>
                      <a:lnTo>
                        <a:pt x="16" y="288"/>
                      </a:lnTo>
                      <a:lnTo>
                        <a:pt x="24" y="288"/>
                      </a:lnTo>
                      <a:lnTo>
                        <a:pt x="32" y="288"/>
                      </a:lnTo>
                      <a:lnTo>
                        <a:pt x="40" y="280"/>
                      </a:lnTo>
                      <a:lnTo>
                        <a:pt x="24" y="280"/>
                      </a:lnTo>
                      <a:lnTo>
                        <a:pt x="16" y="280"/>
                      </a:lnTo>
                      <a:lnTo>
                        <a:pt x="8" y="280"/>
                      </a:lnTo>
                      <a:lnTo>
                        <a:pt x="8" y="272"/>
                      </a:lnTo>
                      <a:lnTo>
                        <a:pt x="0" y="264"/>
                      </a:lnTo>
                      <a:lnTo>
                        <a:pt x="8" y="248"/>
                      </a:lnTo>
                      <a:lnTo>
                        <a:pt x="24" y="240"/>
                      </a:lnTo>
                      <a:lnTo>
                        <a:pt x="56" y="248"/>
                      </a:lnTo>
                      <a:lnTo>
                        <a:pt x="56" y="224"/>
                      </a:lnTo>
                      <a:lnTo>
                        <a:pt x="32" y="192"/>
                      </a:lnTo>
                      <a:lnTo>
                        <a:pt x="40" y="160"/>
                      </a:lnTo>
                      <a:lnTo>
                        <a:pt x="48" y="168"/>
                      </a:lnTo>
                      <a:lnTo>
                        <a:pt x="64" y="168"/>
                      </a:lnTo>
                      <a:lnTo>
                        <a:pt x="104" y="128"/>
                      </a:lnTo>
                      <a:lnTo>
                        <a:pt x="112" y="112"/>
                      </a:lnTo>
                      <a:lnTo>
                        <a:pt x="128" y="104"/>
                      </a:lnTo>
                      <a:lnTo>
                        <a:pt x="128" y="80"/>
                      </a:lnTo>
                      <a:lnTo>
                        <a:pt x="144" y="72"/>
                      </a:lnTo>
                      <a:lnTo>
                        <a:pt x="144" y="56"/>
                      </a:lnTo>
                      <a:lnTo>
                        <a:pt x="136" y="48"/>
                      </a:lnTo>
                      <a:lnTo>
                        <a:pt x="120" y="40"/>
                      </a:lnTo>
                      <a:lnTo>
                        <a:pt x="120" y="0"/>
                      </a:lnTo>
                      <a:lnTo>
                        <a:pt x="136" y="0"/>
                      </a:lnTo>
                      <a:lnTo>
                        <a:pt x="160" y="0"/>
                      </a:lnTo>
                      <a:lnTo>
                        <a:pt x="184" y="0"/>
                      </a:lnTo>
                      <a:lnTo>
                        <a:pt x="192" y="0"/>
                      </a:lnTo>
                      <a:lnTo>
                        <a:pt x="200" y="8"/>
                      </a:lnTo>
                      <a:lnTo>
                        <a:pt x="208" y="16"/>
                      </a:lnTo>
                      <a:lnTo>
                        <a:pt x="208" y="32"/>
                      </a:lnTo>
                      <a:lnTo>
                        <a:pt x="224" y="40"/>
                      </a:lnTo>
                      <a:lnTo>
                        <a:pt x="224" y="48"/>
                      </a:lnTo>
                      <a:lnTo>
                        <a:pt x="216" y="56"/>
                      </a:lnTo>
                      <a:lnTo>
                        <a:pt x="208" y="48"/>
                      </a:lnTo>
                      <a:lnTo>
                        <a:pt x="208" y="56"/>
                      </a:lnTo>
                      <a:lnTo>
                        <a:pt x="216" y="64"/>
                      </a:lnTo>
                      <a:lnTo>
                        <a:pt x="216" y="88"/>
                      </a:lnTo>
                      <a:lnTo>
                        <a:pt x="224" y="88"/>
                      </a:lnTo>
                      <a:lnTo>
                        <a:pt x="240" y="88"/>
                      </a:lnTo>
                      <a:lnTo>
                        <a:pt x="248" y="104"/>
                      </a:lnTo>
                      <a:lnTo>
                        <a:pt x="256" y="104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418" name="Freeform 149">
                  <a:extLst>
                    <a:ext uri="{FF2B5EF4-FFF2-40B4-BE49-F238E27FC236}">
                      <a16:creationId xmlns:a16="http://schemas.microsoft.com/office/drawing/2014/main" id="{7B1427D6-FB07-19BF-B4C1-D9C8A771CF8F}"/>
                    </a:ext>
                  </a:extLst>
                </p:cNvPr>
                <p:cNvSpPr/>
                <p:nvPr/>
              </p:nvSpPr>
              <p:spPr bwMode="gray">
                <a:xfrm>
                  <a:off x="3909" y="2751"/>
                  <a:ext cx="34" cy="57"/>
                </a:xfrm>
                <a:custGeom>
                  <a:avLst/>
                  <a:gdLst>
                    <a:gd name="T0" fmla="*/ 9 w 48"/>
                    <a:gd name="T1" fmla="*/ 29 h 80"/>
                    <a:gd name="T2" fmla="*/ 17 w 48"/>
                    <a:gd name="T3" fmla="*/ 21 h 80"/>
                    <a:gd name="T4" fmla="*/ 14 w 48"/>
                    <a:gd name="T5" fmla="*/ 17 h 80"/>
                    <a:gd name="T6" fmla="*/ 14 w 48"/>
                    <a:gd name="T7" fmla="*/ 15 h 80"/>
                    <a:gd name="T8" fmla="*/ 14 w 48"/>
                    <a:gd name="T9" fmla="*/ 11 h 80"/>
                    <a:gd name="T10" fmla="*/ 9 w 48"/>
                    <a:gd name="T11" fmla="*/ 6 h 80"/>
                    <a:gd name="T12" fmla="*/ 9 w 48"/>
                    <a:gd name="T13" fmla="*/ 3 h 80"/>
                    <a:gd name="T14" fmla="*/ 6 w 48"/>
                    <a:gd name="T15" fmla="*/ 0 h 80"/>
                    <a:gd name="T16" fmla="*/ 3 w 48"/>
                    <a:gd name="T17" fmla="*/ 0 h 80"/>
                    <a:gd name="T18" fmla="*/ 0 w 48"/>
                    <a:gd name="T19" fmla="*/ 3 h 80"/>
                    <a:gd name="T20" fmla="*/ 0 w 48"/>
                    <a:gd name="T21" fmla="*/ 6 h 80"/>
                    <a:gd name="T22" fmla="*/ 0 w 48"/>
                    <a:gd name="T23" fmla="*/ 11 h 80"/>
                    <a:gd name="T24" fmla="*/ 3 w 48"/>
                    <a:gd name="T25" fmla="*/ 24 h 80"/>
                    <a:gd name="T26" fmla="*/ 6 w 48"/>
                    <a:gd name="T27" fmla="*/ 29 h 80"/>
                    <a:gd name="T28" fmla="*/ 9 w 48"/>
                    <a:gd name="T29" fmla="*/ 29 h 8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8"/>
                    <a:gd name="T46" fmla="*/ 0 h 80"/>
                    <a:gd name="T47" fmla="*/ 48 w 48"/>
                    <a:gd name="T48" fmla="*/ 80 h 8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8" h="80">
                      <a:moveTo>
                        <a:pt x="24" y="80"/>
                      </a:moveTo>
                      <a:lnTo>
                        <a:pt x="48" y="56"/>
                      </a:lnTo>
                      <a:lnTo>
                        <a:pt x="40" y="48"/>
                      </a:lnTo>
                      <a:lnTo>
                        <a:pt x="40" y="40"/>
                      </a:lnTo>
                      <a:lnTo>
                        <a:pt x="40" y="32"/>
                      </a:ln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0" y="32"/>
                      </a:lnTo>
                      <a:lnTo>
                        <a:pt x="8" y="64"/>
                      </a:lnTo>
                      <a:lnTo>
                        <a:pt x="16" y="80"/>
                      </a:lnTo>
                      <a:lnTo>
                        <a:pt x="24" y="8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</p:grpSp>
          <p:grpSp>
            <p:nvGrpSpPr>
              <p:cNvPr id="1113" name="Group 150">
                <a:extLst>
                  <a:ext uri="{FF2B5EF4-FFF2-40B4-BE49-F238E27FC236}">
                    <a16:creationId xmlns:a16="http://schemas.microsoft.com/office/drawing/2014/main" id="{46BF8ABB-C34A-7291-5701-40ECA904C41C}"/>
                  </a:ext>
                </a:extLst>
              </p:cNvPr>
              <p:cNvGrpSpPr/>
              <p:nvPr/>
            </p:nvGrpSpPr>
            <p:grpSpPr bwMode="gray">
              <a:xfrm>
                <a:off x="5903666" y="2676643"/>
                <a:ext cx="1110261" cy="677261"/>
                <a:chOff x="2795" y="1913"/>
                <a:chExt cx="534" cy="360"/>
              </a:xfrm>
              <a:solidFill>
                <a:srgbClr val="B3B3B3"/>
              </a:solidFill>
            </p:grpSpPr>
            <p:sp>
              <p:nvSpPr>
                <p:cNvPr id="1328" name="Freeform 151">
                  <a:extLst>
                    <a:ext uri="{FF2B5EF4-FFF2-40B4-BE49-F238E27FC236}">
                      <a16:creationId xmlns:a16="http://schemas.microsoft.com/office/drawing/2014/main" id="{41DD5079-BF23-52BB-13F1-0F008B73C8BF}"/>
                    </a:ext>
                  </a:extLst>
                </p:cNvPr>
                <p:cNvSpPr/>
                <p:nvPr/>
              </p:nvSpPr>
              <p:spPr bwMode="gray">
                <a:xfrm>
                  <a:off x="2902" y="2087"/>
                  <a:ext cx="101" cy="57"/>
                </a:xfrm>
                <a:custGeom>
                  <a:avLst/>
                  <a:gdLst>
                    <a:gd name="T0" fmla="*/ 47 w 144"/>
                    <a:gd name="T1" fmla="*/ 24 h 80"/>
                    <a:gd name="T2" fmla="*/ 39 w 144"/>
                    <a:gd name="T3" fmla="*/ 24 h 80"/>
                    <a:gd name="T4" fmla="*/ 33 w 144"/>
                    <a:gd name="T5" fmla="*/ 29 h 80"/>
                    <a:gd name="T6" fmla="*/ 27 w 144"/>
                    <a:gd name="T7" fmla="*/ 26 h 80"/>
                    <a:gd name="T8" fmla="*/ 22 w 144"/>
                    <a:gd name="T9" fmla="*/ 24 h 80"/>
                    <a:gd name="T10" fmla="*/ 19 w 144"/>
                    <a:gd name="T11" fmla="*/ 24 h 80"/>
                    <a:gd name="T12" fmla="*/ 17 w 144"/>
                    <a:gd name="T13" fmla="*/ 24 h 80"/>
                    <a:gd name="T14" fmla="*/ 14 w 144"/>
                    <a:gd name="T15" fmla="*/ 24 h 80"/>
                    <a:gd name="T16" fmla="*/ 11 w 144"/>
                    <a:gd name="T17" fmla="*/ 24 h 80"/>
                    <a:gd name="T18" fmla="*/ 3 w 144"/>
                    <a:gd name="T19" fmla="*/ 24 h 80"/>
                    <a:gd name="T20" fmla="*/ 0 w 144"/>
                    <a:gd name="T21" fmla="*/ 24 h 80"/>
                    <a:gd name="T22" fmla="*/ 0 w 144"/>
                    <a:gd name="T23" fmla="*/ 17 h 80"/>
                    <a:gd name="T24" fmla="*/ 6 w 144"/>
                    <a:gd name="T25" fmla="*/ 17 h 80"/>
                    <a:gd name="T26" fmla="*/ 14 w 144"/>
                    <a:gd name="T27" fmla="*/ 17 h 80"/>
                    <a:gd name="T28" fmla="*/ 17 w 144"/>
                    <a:gd name="T29" fmla="*/ 15 h 80"/>
                    <a:gd name="T30" fmla="*/ 22 w 144"/>
                    <a:gd name="T31" fmla="*/ 15 h 80"/>
                    <a:gd name="T32" fmla="*/ 25 w 144"/>
                    <a:gd name="T33" fmla="*/ 11 h 80"/>
                    <a:gd name="T34" fmla="*/ 25 w 144"/>
                    <a:gd name="T35" fmla="*/ 9 h 80"/>
                    <a:gd name="T36" fmla="*/ 27 w 144"/>
                    <a:gd name="T37" fmla="*/ 6 h 80"/>
                    <a:gd name="T38" fmla="*/ 27 w 144"/>
                    <a:gd name="T39" fmla="*/ 0 h 80"/>
                    <a:gd name="T40" fmla="*/ 39 w 144"/>
                    <a:gd name="T41" fmla="*/ 0 h 80"/>
                    <a:gd name="T42" fmla="*/ 44 w 144"/>
                    <a:gd name="T43" fmla="*/ 3 h 80"/>
                    <a:gd name="T44" fmla="*/ 47 w 144"/>
                    <a:gd name="T45" fmla="*/ 6 h 80"/>
                    <a:gd name="T46" fmla="*/ 50 w 144"/>
                    <a:gd name="T47" fmla="*/ 9 h 80"/>
                    <a:gd name="T48" fmla="*/ 50 w 144"/>
                    <a:gd name="T49" fmla="*/ 11 h 80"/>
                    <a:gd name="T50" fmla="*/ 47 w 144"/>
                    <a:gd name="T51" fmla="*/ 15 h 80"/>
                    <a:gd name="T52" fmla="*/ 47 w 144"/>
                    <a:gd name="T53" fmla="*/ 21 h 80"/>
                    <a:gd name="T54" fmla="*/ 47 w 144"/>
                    <a:gd name="T55" fmla="*/ 24 h 8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44"/>
                    <a:gd name="T85" fmla="*/ 0 h 80"/>
                    <a:gd name="T86" fmla="*/ 144 w 144"/>
                    <a:gd name="T87" fmla="*/ 80 h 8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44" h="80">
                      <a:moveTo>
                        <a:pt x="136" y="64"/>
                      </a:moveTo>
                      <a:lnTo>
                        <a:pt x="112" y="64"/>
                      </a:lnTo>
                      <a:lnTo>
                        <a:pt x="96" y="80"/>
                      </a:lnTo>
                      <a:lnTo>
                        <a:pt x="80" y="72"/>
                      </a:lnTo>
                      <a:lnTo>
                        <a:pt x="64" y="64"/>
                      </a:lnTo>
                      <a:lnTo>
                        <a:pt x="56" y="64"/>
                      </a:lnTo>
                      <a:lnTo>
                        <a:pt x="48" y="64"/>
                      </a:lnTo>
                      <a:lnTo>
                        <a:pt x="40" y="64"/>
                      </a:lnTo>
                      <a:lnTo>
                        <a:pt x="32" y="64"/>
                      </a:lnTo>
                      <a:lnTo>
                        <a:pt x="8" y="64"/>
                      </a:lnTo>
                      <a:lnTo>
                        <a:pt x="0" y="64"/>
                      </a:lnTo>
                      <a:lnTo>
                        <a:pt x="0" y="48"/>
                      </a:lnTo>
                      <a:lnTo>
                        <a:pt x="16" y="48"/>
                      </a:lnTo>
                      <a:lnTo>
                        <a:pt x="40" y="48"/>
                      </a:lnTo>
                      <a:lnTo>
                        <a:pt x="48" y="40"/>
                      </a:lnTo>
                      <a:lnTo>
                        <a:pt x="64" y="40"/>
                      </a:lnTo>
                      <a:lnTo>
                        <a:pt x="72" y="32"/>
                      </a:lnTo>
                      <a:lnTo>
                        <a:pt x="72" y="24"/>
                      </a:lnTo>
                      <a:lnTo>
                        <a:pt x="80" y="16"/>
                      </a:lnTo>
                      <a:lnTo>
                        <a:pt x="80" y="0"/>
                      </a:lnTo>
                      <a:lnTo>
                        <a:pt x="112" y="0"/>
                      </a:lnTo>
                      <a:lnTo>
                        <a:pt x="128" y="8"/>
                      </a:lnTo>
                      <a:lnTo>
                        <a:pt x="136" y="16"/>
                      </a:lnTo>
                      <a:lnTo>
                        <a:pt x="144" y="24"/>
                      </a:lnTo>
                      <a:lnTo>
                        <a:pt x="144" y="32"/>
                      </a:lnTo>
                      <a:lnTo>
                        <a:pt x="136" y="40"/>
                      </a:lnTo>
                      <a:lnTo>
                        <a:pt x="136" y="56"/>
                      </a:lnTo>
                      <a:lnTo>
                        <a:pt x="136" y="6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29" name="Freeform 152">
                  <a:extLst>
                    <a:ext uri="{FF2B5EF4-FFF2-40B4-BE49-F238E27FC236}">
                      <a16:creationId xmlns:a16="http://schemas.microsoft.com/office/drawing/2014/main" id="{D1A8CAF5-E848-6227-F2F3-5DB6E740ADD1}"/>
                    </a:ext>
                  </a:extLst>
                </p:cNvPr>
                <p:cNvSpPr/>
                <p:nvPr/>
              </p:nvSpPr>
              <p:spPr bwMode="gray">
                <a:xfrm>
                  <a:off x="2845" y="2110"/>
                  <a:ext cx="62" cy="45"/>
                </a:xfrm>
                <a:custGeom>
                  <a:avLst/>
                  <a:gdLst>
                    <a:gd name="T0" fmla="*/ 6 w 88"/>
                    <a:gd name="T1" fmla="*/ 23 h 64"/>
                    <a:gd name="T2" fmla="*/ 6 w 88"/>
                    <a:gd name="T3" fmla="*/ 17 h 64"/>
                    <a:gd name="T4" fmla="*/ 3 w 88"/>
                    <a:gd name="T5" fmla="*/ 17 h 64"/>
                    <a:gd name="T6" fmla="*/ 0 w 88"/>
                    <a:gd name="T7" fmla="*/ 19 h 64"/>
                    <a:gd name="T8" fmla="*/ 0 w 88"/>
                    <a:gd name="T9" fmla="*/ 17 h 64"/>
                    <a:gd name="T10" fmla="*/ 3 w 88"/>
                    <a:gd name="T11" fmla="*/ 14 h 64"/>
                    <a:gd name="T12" fmla="*/ 3 w 88"/>
                    <a:gd name="T13" fmla="*/ 11 h 64"/>
                    <a:gd name="T14" fmla="*/ 6 w 88"/>
                    <a:gd name="T15" fmla="*/ 11 h 64"/>
                    <a:gd name="T16" fmla="*/ 6 w 88"/>
                    <a:gd name="T17" fmla="*/ 6 h 64"/>
                    <a:gd name="T18" fmla="*/ 8 w 88"/>
                    <a:gd name="T19" fmla="*/ 3 h 64"/>
                    <a:gd name="T20" fmla="*/ 11 w 88"/>
                    <a:gd name="T21" fmla="*/ 6 h 64"/>
                    <a:gd name="T22" fmla="*/ 14 w 88"/>
                    <a:gd name="T23" fmla="*/ 3 h 64"/>
                    <a:gd name="T24" fmla="*/ 19 w 88"/>
                    <a:gd name="T25" fmla="*/ 0 h 64"/>
                    <a:gd name="T26" fmla="*/ 23 w 88"/>
                    <a:gd name="T27" fmla="*/ 6 h 64"/>
                    <a:gd name="T28" fmla="*/ 27 w 88"/>
                    <a:gd name="T29" fmla="*/ 6 h 64"/>
                    <a:gd name="T30" fmla="*/ 25 w 88"/>
                    <a:gd name="T31" fmla="*/ 8 h 64"/>
                    <a:gd name="T32" fmla="*/ 27 w 88"/>
                    <a:gd name="T33" fmla="*/ 11 h 64"/>
                    <a:gd name="T34" fmla="*/ 31 w 88"/>
                    <a:gd name="T35" fmla="*/ 11 h 64"/>
                    <a:gd name="T36" fmla="*/ 27 w 88"/>
                    <a:gd name="T37" fmla="*/ 17 h 64"/>
                    <a:gd name="T38" fmla="*/ 19 w 88"/>
                    <a:gd name="T39" fmla="*/ 17 h 64"/>
                    <a:gd name="T40" fmla="*/ 19 w 88"/>
                    <a:gd name="T41" fmla="*/ 14 h 64"/>
                    <a:gd name="T42" fmla="*/ 14 w 88"/>
                    <a:gd name="T43" fmla="*/ 14 h 64"/>
                    <a:gd name="T44" fmla="*/ 14 w 88"/>
                    <a:gd name="T45" fmla="*/ 19 h 64"/>
                    <a:gd name="T46" fmla="*/ 11 w 88"/>
                    <a:gd name="T47" fmla="*/ 23 h 64"/>
                    <a:gd name="T48" fmla="*/ 8 w 88"/>
                    <a:gd name="T49" fmla="*/ 23 h 64"/>
                    <a:gd name="T50" fmla="*/ 6 w 88"/>
                    <a:gd name="T51" fmla="*/ 23 h 6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88"/>
                    <a:gd name="T79" fmla="*/ 0 h 64"/>
                    <a:gd name="T80" fmla="*/ 88 w 88"/>
                    <a:gd name="T81" fmla="*/ 64 h 6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88" h="64">
                      <a:moveTo>
                        <a:pt x="16" y="64"/>
                      </a:moveTo>
                      <a:lnTo>
                        <a:pt x="16" y="48"/>
                      </a:lnTo>
                      <a:lnTo>
                        <a:pt x="8" y="48"/>
                      </a:lnTo>
                      <a:lnTo>
                        <a:pt x="0" y="56"/>
                      </a:lnTo>
                      <a:lnTo>
                        <a:pt x="0" y="48"/>
                      </a:lnTo>
                      <a:lnTo>
                        <a:pt x="8" y="40"/>
                      </a:lnTo>
                      <a:lnTo>
                        <a:pt x="8" y="32"/>
                      </a:lnTo>
                      <a:lnTo>
                        <a:pt x="16" y="32"/>
                      </a:lnTo>
                      <a:lnTo>
                        <a:pt x="16" y="16"/>
                      </a:lnTo>
                      <a:lnTo>
                        <a:pt x="24" y="8"/>
                      </a:lnTo>
                      <a:lnTo>
                        <a:pt x="32" y="16"/>
                      </a:lnTo>
                      <a:lnTo>
                        <a:pt x="40" y="8"/>
                      </a:lnTo>
                      <a:lnTo>
                        <a:pt x="56" y="0"/>
                      </a:lnTo>
                      <a:lnTo>
                        <a:pt x="64" y="16"/>
                      </a:lnTo>
                      <a:lnTo>
                        <a:pt x="80" y="16"/>
                      </a:lnTo>
                      <a:lnTo>
                        <a:pt x="72" y="24"/>
                      </a:lnTo>
                      <a:lnTo>
                        <a:pt x="80" y="32"/>
                      </a:lnTo>
                      <a:lnTo>
                        <a:pt x="88" y="32"/>
                      </a:lnTo>
                      <a:lnTo>
                        <a:pt x="80" y="48"/>
                      </a:lnTo>
                      <a:lnTo>
                        <a:pt x="56" y="48"/>
                      </a:lnTo>
                      <a:lnTo>
                        <a:pt x="56" y="40"/>
                      </a:lnTo>
                      <a:lnTo>
                        <a:pt x="40" y="40"/>
                      </a:lnTo>
                      <a:lnTo>
                        <a:pt x="40" y="56"/>
                      </a:lnTo>
                      <a:lnTo>
                        <a:pt x="32" y="64"/>
                      </a:lnTo>
                      <a:lnTo>
                        <a:pt x="24" y="64"/>
                      </a:lnTo>
                      <a:lnTo>
                        <a:pt x="16" y="6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30" name="Freeform 153">
                  <a:extLst>
                    <a:ext uri="{FF2B5EF4-FFF2-40B4-BE49-F238E27FC236}">
                      <a16:creationId xmlns:a16="http://schemas.microsoft.com/office/drawing/2014/main" id="{550C804D-FDAE-DC89-77B6-C134F3B825D0}"/>
                    </a:ext>
                  </a:extLst>
                </p:cNvPr>
                <p:cNvSpPr/>
                <p:nvPr/>
              </p:nvSpPr>
              <p:spPr bwMode="gray">
                <a:xfrm>
                  <a:off x="2845" y="1952"/>
                  <a:ext cx="135" cy="169"/>
                </a:xfrm>
                <a:custGeom>
                  <a:avLst/>
                  <a:gdLst>
                    <a:gd name="T0" fmla="*/ 6 w 192"/>
                    <a:gd name="T1" fmla="*/ 61 h 240"/>
                    <a:gd name="T2" fmla="*/ 11 w 192"/>
                    <a:gd name="T3" fmla="*/ 61 h 240"/>
                    <a:gd name="T4" fmla="*/ 17 w 192"/>
                    <a:gd name="T5" fmla="*/ 65 h 240"/>
                    <a:gd name="T6" fmla="*/ 14 w 192"/>
                    <a:gd name="T7" fmla="*/ 73 h 240"/>
                    <a:gd name="T8" fmla="*/ 11 w 192"/>
                    <a:gd name="T9" fmla="*/ 84 h 240"/>
                    <a:gd name="T10" fmla="*/ 14 w 192"/>
                    <a:gd name="T11" fmla="*/ 81 h 240"/>
                    <a:gd name="T12" fmla="*/ 19 w 192"/>
                    <a:gd name="T13" fmla="*/ 78 h 240"/>
                    <a:gd name="T14" fmla="*/ 23 w 192"/>
                    <a:gd name="T15" fmla="*/ 84 h 240"/>
                    <a:gd name="T16" fmla="*/ 27 w 192"/>
                    <a:gd name="T17" fmla="*/ 84 h 240"/>
                    <a:gd name="T18" fmla="*/ 34 w 192"/>
                    <a:gd name="T19" fmla="*/ 84 h 240"/>
                    <a:gd name="T20" fmla="*/ 41 w 192"/>
                    <a:gd name="T21" fmla="*/ 84 h 240"/>
                    <a:gd name="T22" fmla="*/ 44 w 192"/>
                    <a:gd name="T23" fmla="*/ 81 h 240"/>
                    <a:gd name="T24" fmla="*/ 50 w 192"/>
                    <a:gd name="T25" fmla="*/ 81 h 240"/>
                    <a:gd name="T26" fmla="*/ 53 w 192"/>
                    <a:gd name="T27" fmla="*/ 78 h 240"/>
                    <a:gd name="T28" fmla="*/ 53 w 192"/>
                    <a:gd name="T29" fmla="*/ 75 h 240"/>
                    <a:gd name="T30" fmla="*/ 56 w 192"/>
                    <a:gd name="T31" fmla="*/ 73 h 240"/>
                    <a:gd name="T32" fmla="*/ 56 w 192"/>
                    <a:gd name="T33" fmla="*/ 67 h 240"/>
                    <a:gd name="T34" fmla="*/ 48 w 192"/>
                    <a:gd name="T35" fmla="*/ 61 h 240"/>
                    <a:gd name="T36" fmla="*/ 44 w 192"/>
                    <a:gd name="T37" fmla="*/ 53 h 240"/>
                    <a:gd name="T38" fmla="*/ 56 w 192"/>
                    <a:gd name="T39" fmla="*/ 48 h 240"/>
                    <a:gd name="T40" fmla="*/ 58 w 192"/>
                    <a:gd name="T41" fmla="*/ 44 h 240"/>
                    <a:gd name="T42" fmla="*/ 67 w 192"/>
                    <a:gd name="T43" fmla="*/ 42 h 240"/>
                    <a:gd name="T44" fmla="*/ 58 w 192"/>
                    <a:gd name="T45" fmla="*/ 25 h 240"/>
                    <a:gd name="T46" fmla="*/ 61 w 192"/>
                    <a:gd name="T47" fmla="*/ 17 h 240"/>
                    <a:gd name="T48" fmla="*/ 58 w 192"/>
                    <a:gd name="T49" fmla="*/ 11 h 240"/>
                    <a:gd name="T50" fmla="*/ 56 w 192"/>
                    <a:gd name="T51" fmla="*/ 6 h 240"/>
                    <a:gd name="T52" fmla="*/ 53 w 192"/>
                    <a:gd name="T53" fmla="*/ 3 h 240"/>
                    <a:gd name="T54" fmla="*/ 44 w 192"/>
                    <a:gd name="T55" fmla="*/ 3 h 240"/>
                    <a:gd name="T56" fmla="*/ 41 w 192"/>
                    <a:gd name="T57" fmla="*/ 6 h 240"/>
                    <a:gd name="T58" fmla="*/ 36 w 192"/>
                    <a:gd name="T59" fmla="*/ 6 h 240"/>
                    <a:gd name="T60" fmla="*/ 31 w 192"/>
                    <a:gd name="T61" fmla="*/ 6 h 240"/>
                    <a:gd name="T62" fmla="*/ 27 w 192"/>
                    <a:gd name="T63" fmla="*/ 0 h 240"/>
                    <a:gd name="T64" fmla="*/ 23 w 192"/>
                    <a:gd name="T65" fmla="*/ 0 h 240"/>
                    <a:gd name="T66" fmla="*/ 19 w 192"/>
                    <a:gd name="T67" fmla="*/ 0 h 240"/>
                    <a:gd name="T68" fmla="*/ 23 w 192"/>
                    <a:gd name="T69" fmla="*/ 6 h 240"/>
                    <a:gd name="T70" fmla="*/ 19 w 192"/>
                    <a:gd name="T71" fmla="*/ 11 h 240"/>
                    <a:gd name="T72" fmla="*/ 17 w 192"/>
                    <a:gd name="T73" fmla="*/ 14 h 240"/>
                    <a:gd name="T74" fmla="*/ 14 w 192"/>
                    <a:gd name="T75" fmla="*/ 14 h 240"/>
                    <a:gd name="T76" fmla="*/ 11 w 192"/>
                    <a:gd name="T77" fmla="*/ 14 h 240"/>
                    <a:gd name="T78" fmla="*/ 8 w 192"/>
                    <a:gd name="T79" fmla="*/ 17 h 240"/>
                    <a:gd name="T80" fmla="*/ 8 w 192"/>
                    <a:gd name="T81" fmla="*/ 19 h 240"/>
                    <a:gd name="T82" fmla="*/ 6 w 192"/>
                    <a:gd name="T83" fmla="*/ 23 h 240"/>
                    <a:gd name="T84" fmla="*/ 8 w 192"/>
                    <a:gd name="T85" fmla="*/ 25 h 240"/>
                    <a:gd name="T86" fmla="*/ 8 w 192"/>
                    <a:gd name="T87" fmla="*/ 31 h 240"/>
                    <a:gd name="T88" fmla="*/ 3 w 192"/>
                    <a:gd name="T89" fmla="*/ 34 h 240"/>
                    <a:gd name="T90" fmla="*/ 0 w 192"/>
                    <a:gd name="T91" fmla="*/ 36 h 240"/>
                    <a:gd name="T92" fmla="*/ 3 w 192"/>
                    <a:gd name="T93" fmla="*/ 39 h 240"/>
                    <a:gd name="T94" fmla="*/ 0 w 192"/>
                    <a:gd name="T95" fmla="*/ 42 h 240"/>
                    <a:gd name="T96" fmla="*/ 0 w 192"/>
                    <a:gd name="T97" fmla="*/ 44 h 240"/>
                    <a:gd name="T98" fmla="*/ 0 w 192"/>
                    <a:gd name="T99" fmla="*/ 48 h 240"/>
                    <a:gd name="T100" fmla="*/ 3 w 192"/>
                    <a:gd name="T101" fmla="*/ 53 h 240"/>
                    <a:gd name="T102" fmla="*/ 3 w 192"/>
                    <a:gd name="T103" fmla="*/ 56 h 240"/>
                    <a:gd name="T104" fmla="*/ 6 w 192"/>
                    <a:gd name="T105" fmla="*/ 61 h 24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92"/>
                    <a:gd name="T160" fmla="*/ 0 h 240"/>
                    <a:gd name="T161" fmla="*/ 192 w 192"/>
                    <a:gd name="T162" fmla="*/ 240 h 24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92" h="240">
                      <a:moveTo>
                        <a:pt x="16" y="176"/>
                      </a:moveTo>
                      <a:lnTo>
                        <a:pt x="32" y="176"/>
                      </a:lnTo>
                      <a:lnTo>
                        <a:pt x="48" y="184"/>
                      </a:lnTo>
                      <a:lnTo>
                        <a:pt x="40" y="208"/>
                      </a:lnTo>
                      <a:lnTo>
                        <a:pt x="32" y="240"/>
                      </a:lnTo>
                      <a:lnTo>
                        <a:pt x="40" y="232"/>
                      </a:lnTo>
                      <a:lnTo>
                        <a:pt x="56" y="224"/>
                      </a:lnTo>
                      <a:lnTo>
                        <a:pt x="64" y="240"/>
                      </a:lnTo>
                      <a:lnTo>
                        <a:pt x="80" y="240"/>
                      </a:lnTo>
                      <a:lnTo>
                        <a:pt x="96" y="240"/>
                      </a:lnTo>
                      <a:lnTo>
                        <a:pt x="120" y="240"/>
                      </a:lnTo>
                      <a:lnTo>
                        <a:pt x="128" y="232"/>
                      </a:lnTo>
                      <a:lnTo>
                        <a:pt x="144" y="232"/>
                      </a:lnTo>
                      <a:lnTo>
                        <a:pt x="152" y="224"/>
                      </a:lnTo>
                      <a:lnTo>
                        <a:pt x="152" y="216"/>
                      </a:lnTo>
                      <a:lnTo>
                        <a:pt x="160" y="208"/>
                      </a:lnTo>
                      <a:lnTo>
                        <a:pt x="160" y="192"/>
                      </a:lnTo>
                      <a:lnTo>
                        <a:pt x="136" y="176"/>
                      </a:lnTo>
                      <a:lnTo>
                        <a:pt x="128" y="152"/>
                      </a:lnTo>
                      <a:lnTo>
                        <a:pt x="160" y="136"/>
                      </a:lnTo>
                      <a:lnTo>
                        <a:pt x="168" y="128"/>
                      </a:lnTo>
                      <a:lnTo>
                        <a:pt x="192" y="120"/>
                      </a:lnTo>
                      <a:lnTo>
                        <a:pt x="168" y="72"/>
                      </a:lnTo>
                      <a:lnTo>
                        <a:pt x="176" y="48"/>
                      </a:lnTo>
                      <a:lnTo>
                        <a:pt x="168" y="32"/>
                      </a:lnTo>
                      <a:lnTo>
                        <a:pt x="160" y="16"/>
                      </a:lnTo>
                      <a:lnTo>
                        <a:pt x="152" y="8"/>
                      </a:lnTo>
                      <a:lnTo>
                        <a:pt x="128" y="8"/>
                      </a:lnTo>
                      <a:lnTo>
                        <a:pt x="120" y="16"/>
                      </a:lnTo>
                      <a:lnTo>
                        <a:pt x="104" y="16"/>
                      </a:lnTo>
                      <a:lnTo>
                        <a:pt x="88" y="16"/>
                      </a:lnTo>
                      <a:lnTo>
                        <a:pt x="80" y="0"/>
                      </a:lnTo>
                      <a:lnTo>
                        <a:pt x="64" y="0"/>
                      </a:lnTo>
                      <a:lnTo>
                        <a:pt x="56" y="0"/>
                      </a:lnTo>
                      <a:lnTo>
                        <a:pt x="64" y="16"/>
                      </a:lnTo>
                      <a:lnTo>
                        <a:pt x="56" y="32"/>
                      </a:lnTo>
                      <a:lnTo>
                        <a:pt x="48" y="40"/>
                      </a:lnTo>
                      <a:lnTo>
                        <a:pt x="40" y="40"/>
                      </a:lnTo>
                      <a:lnTo>
                        <a:pt x="32" y="40"/>
                      </a:lnTo>
                      <a:lnTo>
                        <a:pt x="24" y="48"/>
                      </a:lnTo>
                      <a:lnTo>
                        <a:pt x="24" y="56"/>
                      </a:lnTo>
                      <a:lnTo>
                        <a:pt x="16" y="64"/>
                      </a:lnTo>
                      <a:lnTo>
                        <a:pt x="24" y="72"/>
                      </a:lnTo>
                      <a:lnTo>
                        <a:pt x="24" y="88"/>
                      </a:lnTo>
                      <a:lnTo>
                        <a:pt x="8" y="96"/>
                      </a:lnTo>
                      <a:lnTo>
                        <a:pt x="0" y="104"/>
                      </a:lnTo>
                      <a:lnTo>
                        <a:pt x="8" y="112"/>
                      </a:lnTo>
                      <a:lnTo>
                        <a:pt x="0" y="120"/>
                      </a:lnTo>
                      <a:lnTo>
                        <a:pt x="0" y="128"/>
                      </a:lnTo>
                      <a:lnTo>
                        <a:pt x="0" y="136"/>
                      </a:lnTo>
                      <a:lnTo>
                        <a:pt x="8" y="152"/>
                      </a:lnTo>
                      <a:lnTo>
                        <a:pt x="8" y="160"/>
                      </a:lnTo>
                      <a:lnTo>
                        <a:pt x="16" y="17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31" name="Freeform 154">
                  <a:extLst>
                    <a:ext uri="{FF2B5EF4-FFF2-40B4-BE49-F238E27FC236}">
                      <a16:creationId xmlns:a16="http://schemas.microsoft.com/office/drawing/2014/main" id="{CD1ED42F-0AB3-2825-E513-AAD14BB8572B}"/>
                    </a:ext>
                  </a:extLst>
                </p:cNvPr>
                <p:cNvSpPr/>
                <p:nvPr/>
              </p:nvSpPr>
              <p:spPr bwMode="gray">
                <a:xfrm>
                  <a:off x="2806" y="1986"/>
                  <a:ext cx="56" cy="62"/>
                </a:xfrm>
                <a:custGeom>
                  <a:avLst/>
                  <a:gdLst>
                    <a:gd name="T0" fmla="*/ 19 w 80"/>
                    <a:gd name="T1" fmla="*/ 19 h 88"/>
                    <a:gd name="T2" fmla="*/ 22 w 80"/>
                    <a:gd name="T3" fmla="*/ 17 h 88"/>
                    <a:gd name="T4" fmla="*/ 27 w 80"/>
                    <a:gd name="T5" fmla="*/ 14 h 88"/>
                    <a:gd name="T6" fmla="*/ 27 w 80"/>
                    <a:gd name="T7" fmla="*/ 8 h 88"/>
                    <a:gd name="T8" fmla="*/ 25 w 80"/>
                    <a:gd name="T9" fmla="*/ 6 h 88"/>
                    <a:gd name="T10" fmla="*/ 27 w 80"/>
                    <a:gd name="T11" fmla="*/ 3 h 88"/>
                    <a:gd name="T12" fmla="*/ 27 w 80"/>
                    <a:gd name="T13" fmla="*/ 0 h 88"/>
                    <a:gd name="T14" fmla="*/ 19 w 80"/>
                    <a:gd name="T15" fmla="*/ 0 h 88"/>
                    <a:gd name="T16" fmla="*/ 17 w 80"/>
                    <a:gd name="T17" fmla="*/ 3 h 88"/>
                    <a:gd name="T18" fmla="*/ 17 w 80"/>
                    <a:gd name="T19" fmla="*/ 6 h 88"/>
                    <a:gd name="T20" fmla="*/ 19 w 80"/>
                    <a:gd name="T21" fmla="*/ 8 h 88"/>
                    <a:gd name="T22" fmla="*/ 17 w 80"/>
                    <a:gd name="T23" fmla="*/ 11 h 88"/>
                    <a:gd name="T24" fmla="*/ 14 w 80"/>
                    <a:gd name="T25" fmla="*/ 11 h 88"/>
                    <a:gd name="T26" fmla="*/ 14 w 80"/>
                    <a:gd name="T27" fmla="*/ 8 h 88"/>
                    <a:gd name="T28" fmla="*/ 14 w 80"/>
                    <a:gd name="T29" fmla="*/ 6 h 88"/>
                    <a:gd name="T30" fmla="*/ 10 w 80"/>
                    <a:gd name="T31" fmla="*/ 6 h 88"/>
                    <a:gd name="T32" fmla="*/ 8 w 80"/>
                    <a:gd name="T33" fmla="*/ 14 h 88"/>
                    <a:gd name="T34" fmla="*/ 6 w 80"/>
                    <a:gd name="T35" fmla="*/ 17 h 88"/>
                    <a:gd name="T36" fmla="*/ 6 w 80"/>
                    <a:gd name="T37" fmla="*/ 19 h 88"/>
                    <a:gd name="T38" fmla="*/ 6 w 80"/>
                    <a:gd name="T39" fmla="*/ 23 h 88"/>
                    <a:gd name="T40" fmla="*/ 3 w 80"/>
                    <a:gd name="T41" fmla="*/ 23 h 88"/>
                    <a:gd name="T42" fmla="*/ 0 w 80"/>
                    <a:gd name="T43" fmla="*/ 25 h 88"/>
                    <a:gd name="T44" fmla="*/ 3 w 80"/>
                    <a:gd name="T45" fmla="*/ 25 h 88"/>
                    <a:gd name="T46" fmla="*/ 6 w 80"/>
                    <a:gd name="T47" fmla="*/ 25 h 88"/>
                    <a:gd name="T48" fmla="*/ 10 w 80"/>
                    <a:gd name="T49" fmla="*/ 23 h 88"/>
                    <a:gd name="T50" fmla="*/ 17 w 80"/>
                    <a:gd name="T51" fmla="*/ 23 h 88"/>
                    <a:gd name="T52" fmla="*/ 17 w 80"/>
                    <a:gd name="T53" fmla="*/ 27 h 88"/>
                    <a:gd name="T54" fmla="*/ 19 w 80"/>
                    <a:gd name="T55" fmla="*/ 31 h 88"/>
                    <a:gd name="T56" fmla="*/ 19 w 80"/>
                    <a:gd name="T57" fmla="*/ 27 h 88"/>
                    <a:gd name="T58" fmla="*/ 19 w 80"/>
                    <a:gd name="T59" fmla="*/ 25 h 88"/>
                    <a:gd name="T60" fmla="*/ 22 w 80"/>
                    <a:gd name="T61" fmla="*/ 23 h 88"/>
                    <a:gd name="T62" fmla="*/ 19 w 80"/>
                    <a:gd name="T63" fmla="*/ 19 h 88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80"/>
                    <a:gd name="T97" fmla="*/ 0 h 88"/>
                    <a:gd name="T98" fmla="*/ 80 w 80"/>
                    <a:gd name="T99" fmla="*/ 88 h 88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80" h="88">
                      <a:moveTo>
                        <a:pt x="56" y="56"/>
                      </a:moveTo>
                      <a:lnTo>
                        <a:pt x="64" y="48"/>
                      </a:lnTo>
                      <a:lnTo>
                        <a:pt x="80" y="40"/>
                      </a:lnTo>
                      <a:lnTo>
                        <a:pt x="80" y="24"/>
                      </a:lnTo>
                      <a:lnTo>
                        <a:pt x="72" y="16"/>
                      </a:lnTo>
                      <a:lnTo>
                        <a:pt x="80" y="8"/>
                      </a:lnTo>
                      <a:lnTo>
                        <a:pt x="80" y="0"/>
                      </a:lnTo>
                      <a:lnTo>
                        <a:pt x="56" y="0"/>
                      </a:lnTo>
                      <a:lnTo>
                        <a:pt x="48" y="8"/>
                      </a:lnTo>
                      <a:lnTo>
                        <a:pt x="48" y="16"/>
                      </a:lnTo>
                      <a:lnTo>
                        <a:pt x="56" y="24"/>
                      </a:lnTo>
                      <a:lnTo>
                        <a:pt x="48" y="32"/>
                      </a:lnTo>
                      <a:lnTo>
                        <a:pt x="40" y="32"/>
                      </a:lnTo>
                      <a:lnTo>
                        <a:pt x="40" y="24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24" y="40"/>
                      </a:lnTo>
                      <a:lnTo>
                        <a:pt x="16" y="48"/>
                      </a:lnTo>
                      <a:lnTo>
                        <a:pt x="16" y="56"/>
                      </a:lnTo>
                      <a:lnTo>
                        <a:pt x="16" y="64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72"/>
                      </a:lnTo>
                      <a:lnTo>
                        <a:pt x="16" y="72"/>
                      </a:lnTo>
                      <a:lnTo>
                        <a:pt x="32" y="64"/>
                      </a:lnTo>
                      <a:lnTo>
                        <a:pt x="48" y="64"/>
                      </a:lnTo>
                      <a:lnTo>
                        <a:pt x="48" y="80"/>
                      </a:lnTo>
                      <a:lnTo>
                        <a:pt x="56" y="88"/>
                      </a:lnTo>
                      <a:lnTo>
                        <a:pt x="56" y="80"/>
                      </a:lnTo>
                      <a:lnTo>
                        <a:pt x="56" y="72"/>
                      </a:lnTo>
                      <a:lnTo>
                        <a:pt x="64" y="64"/>
                      </a:lnTo>
                      <a:lnTo>
                        <a:pt x="56" y="5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32" name="Freeform 155">
                  <a:extLst>
                    <a:ext uri="{FF2B5EF4-FFF2-40B4-BE49-F238E27FC236}">
                      <a16:creationId xmlns:a16="http://schemas.microsoft.com/office/drawing/2014/main" id="{3AFED1E7-AD27-9A8B-5915-EF0F4A9147DA}"/>
                    </a:ext>
                  </a:extLst>
                </p:cNvPr>
                <p:cNvSpPr/>
                <p:nvPr/>
              </p:nvSpPr>
              <p:spPr bwMode="gray">
                <a:xfrm>
                  <a:off x="2795" y="2031"/>
                  <a:ext cx="56" cy="45"/>
                </a:xfrm>
                <a:custGeom>
                  <a:avLst/>
                  <a:gdLst>
                    <a:gd name="T0" fmla="*/ 27 w 80"/>
                    <a:gd name="T1" fmla="*/ 14 h 64"/>
                    <a:gd name="T2" fmla="*/ 25 w 80"/>
                    <a:gd name="T3" fmla="*/ 14 h 64"/>
                    <a:gd name="T4" fmla="*/ 25 w 80"/>
                    <a:gd name="T5" fmla="*/ 17 h 64"/>
                    <a:gd name="T6" fmla="*/ 25 w 80"/>
                    <a:gd name="T7" fmla="*/ 23 h 64"/>
                    <a:gd name="T8" fmla="*/ 19 w 80"/>
                    <a:gd name="T9" fmla="*/ 17 h 64"/>
                    <a:gd name="T10" fmla="*/ 17 w 80"/>
                    <a:gd name="T11" fmla="*/ 17 h 64"/>
                    <a:gd name="T12" fmla="*/ 10 w 80"/>
                    <a:gd name="T13" fmla="*/ 14 h 64"/>
                    <a:gd name="T14" fmla="*/ 6 w 80"/>
                    <a:gd name="T15" fmla="*/ 11 h 64"/>
                    <a:gd name="T16" fmla="*/ 0 w 80"/>
                    <a:gd name="T17" fmla="*/ 6 h 64"/>
                    <a:gd name="T18" fmla="*/ 3 w 80"/>
                    <a:gd name="T19" fmla="*/ 3 h 64"/>
                    <a:gd name="T20" fmla="*/ 6 w 80"/>
                    <a:gd name="T21" fmla="*/ 3 h 64"/>
                    <a:gd name="T22" fmla="*/ 8 w 80"/>
                    <a:gd name="T23" fmla="*/ 3 h 64"/>
                    <a:gd name="T24" fmla="*/ 10 w 80"/>
                    <a:gd name="T25" fmla="*/ 3 h 64"/>
                    <a:gd name="T26" fmla="*/ 17 w 80"/>
                    <a:gd name="T27" fmla="*/ 0 h 64"/>
                    <a:gd name="T28" fmla="*/ 22 w 80"/>
                    <a:gd name="T29" fmla="*/ 0 h 64"/>
                    <a:gd name="T30" fmla="*/ 22 w 80"/>
                    <a:gd name="T31" fmla="*/ 6 h 64"/>
                    <a:gd name="T32" fmla="*/ 25 w 80"/>
                    <a:gd name="T33" fmla="*/ 8 h 64"/>
                    <a:gd name="T34" fmla="*/ 25 w 80"/>
                    <a:gd name="T35" fmla="*/ 6 h 64"/>
                    <a:gd name="T36" fmla="*/ 25 w 80"/>
                    <a:gd name="T37" fmla="*/ 8 h 64"/>
                    <a:gd name="T38" fmla="*/ 27 w 80"/>
                    <a:gd name="T39" fmla="*/ 14 h 6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80"/>
                    <a:gd name="T61" fmla="*/ 0 h 64"/>
                    <a:gd name="T62" fmla="*/ 80 w 80"/>
                    <a:gd name="T63" fmla="*/ 64 h 6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80" h="64">
                      <a:moveTo>
                        <a:pt x="80" y="40"/>
                      </a:moveTo>
                      <a:lnTo>
                        <a:pt x="72" y="40"/>
                      </a:lnTo>
                      <a:lnTo>
                        <a:pt x="72" y="48"/>
                      </a:lnTo>
                      <a:lnTo>
                        <a:pt x="72" y="64"/>
                      </a:lnTo>
                      <a:lnTo>
                        <a:pt x="56" y="48"/>
                      </a:lnTo>
                      <a:lnTo>
                        <a:pt x="48" y="48"/>
                      </a:lnTo>
                      <a:lnTo>
                        <a:pt x="32" y="40"/>
                      </a:lnTo>
                      <a:lnTo>
                        <a:pt x="16" y="32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48" y="0"/>
                      </a:lnTo>
                      <a:lnTo>
                        <a:pt x="64" y="0"/>
                      </a:lnTo>
                      <a:lnTo>
                        <a:pt x="64" y="16"/>
                      </a:lnTo>
                      <a:lnTo>
                        <a:pt x="72" y="24"/>
                      </a:lnTo>
                      <a:lnTo>
                        <a:pt x="72" y="16"/>
                      </a:lnTo>
                      <a:lnTo>
                        <a:pt x="72" y="24"/>
                      </a:lnTo>
                      <a:lnTo>
                        <a:pt x="80" y="4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33" name="Freeform 156">
                  <a:extLst>
                    <a:ext uri="{FF2B5EF4-FFF2-40B4-BE49-F238E27FC236}">
                      <a16:creationId xmlns:a16="http://schemas.microsoft.com/office/drawing/2014/main" id="{22E7E014-B227-932E-2BC5-7608EA9172D4}"/>
                    </a:ext>
                  </a:extLst>
                </p:cNvPr>
                <p:cNvSpPr/>
                <p:nvPr/>
              </p:nvSpPr>
              <p:spPr bwMode="gray">
                <a:xfrm>
                  <a:off x="3132" y="2228"/>
                  <a:ext cx="40" cy="34"/>
                </a:xfrm>
                <a:custGeom>
                  <a:avLst/>
                  <a:gdLst>
                    <a:gd name="T0" fmla="*/ 3 w 56"/>
                    <a:gd name="T1" fmla="*/ 0 h 48"/>
                    <a:gd name="T2" fmla="*/ 9 w 56"/>
                    <a:gd name="T3" fmla="*/ 0 h 48"/>
                    <a:gd name="T4" fmla="*/ 11 w 56"/>
                    <a:gd name="T5" fmla="*/ 0 h 48"/>
                    <a:gd name="T6" fmla="*/ 21 w 56"/>
                    <a:gd name="T7" fmla="*/ 9 h 48"/>
                    <a:gd name="T8" fmla="*/ 21 w 56"/>
                    <a:gd name="T9" fmla="*/ 11 h 48"/>
                    <a:gd name="T10" fmla="*/ 17 w 56"/>
                    <a:gd name="T11" fmla="*/ 11 h 48"/>
                    <a:gd name="T12" fmla="*/ 11 w 56"/>
                    <a:gd name="T13" fmla="*/ 11 h 48"/>
                    <a:gd name="T14" fmla="*/ 6 w 56"/>
                    <a:gd name="T15" fmla="*/ 14 h 48"/>
                    <a:gd name="T16" fmla="*/ 3 w 56"/>
                    <a:gd name="T17" fmla="*/ 17 h 48"/>
                    <a:gd name="T18" fmla="*/ 3 w 56"/>
                    <a:gd name="T19" fmla="*/ 14 h 48"/>
                    <a:gd name="T20" fmla="*/ 0 w 56"/>
                    <a:gd name="T21" fmla="*/ 11 h 48"/>
                    <a:gd name="T22" fmla="*/ 6 w 56"/>
                    <a:gd name="T23" fmla="*/ 9 h 48"/>
                    <a:gd name="T24" fmla="*/ 6 w 56"/>
                    <a:gd name="T25" fmla="*/ 6 h 48"/>
                    <a:gd name="T26" fmla="*/ 3 w 56"/>
                    <a:gd name="T27" fmla="*/ 0 h 4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48"/>
                    <a:gd name="T44" fmla="*/ 56 w 56"/>
                    <a:gd name="T45" fmla="*/ 48 h 4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48">
                      <a:moveTo>
                        <a:pt x="8" y="0"/>
                      </a:moveTo>
                      <a:lnTo>
                        <a:pt x="24" y="0"/>
                      </a:lnTo>
                      <a:lnTo>
                        <a:pt x="32" y="0"/>
                      </a:lnTo>
                      <a:lnTo>
                        <a:pt x="56" y="24"/>
                      </a:lnTo>
                      <a:lnTo>
                        <a:pt x="56" y="32"/>
                      </a:lnTo>
                      <a:lnTo>
                        <a:pt x="48" y="32"/>
                      </a:lnTo>
                      <a:lnTo>
                        <a:pt x="32" y="32"/>
                      </a:lnTo>
                      <a:lnTo>
                        <a:pt x="16" y="40"/>
                      </a:lnTo>
                      <a:lnTo>
                        <a:pt x="8" y="48"/>
                      </a:lnTo>
                      <a:lnTo>
                        <a:pt x="8" y="40"/>
                      </a:lnTo>
                      <a:lnTo>
                        <a:pt x="0" y="32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34" name="Freeform 157">
                  <a:extLst>
                    <a:ext uri="{FF2B5EF4-FFF2-40B4-BE49-F238E27FC236}">
                      <a16:creationId xmlns:a16="http://schemas.microsoft.com/office/drawing/2014/main" id="{BAAA0344-1394-7FCE-9536-FE719F201ADD}"/>
                    </a:ext>
                  </a:extLst>
                </p:cNvPr>
                <p:cNvSpPr/>
                <p:nvPr/>
              </p:nvSpPr>
              <p:spPr bwMode="gray">
                <a:xfrm>
                  <a:off x="3093" y="1913"/>
                  <a:ext cx="129" cy="118"/>
                </a:xfrm>
                <a:custGeom>
                  <a:avLst/>
                  <a:gdLst>
                    <a:gd name="T0" fmla="*/ 58 w 184"/>
                    <a:gd name="T1" fmla="*/ 50 h 168"/>
                    <a:gd name="T2" fmla="*/ 53 w 184"/>
                    <a:gd name="T3" fmla="*/ 50 h 168"/>
                    <a:gd name="T4" fmla="*/ 50 w 184"/>
                    <a:gd name="T5" fmla="*/ 55 h 168"/>
                    <a:gd name="T6" fmla="*/ 47 w 184"/>
                    <a:gd name="T7" fmla="*/ 55 h 168"/>
                    <a:gd name="T8" fmla="*/ 36 w 184"/>
                    <a:gd name="T9" fmla="*/ 53 h 168"/>
                    <a:gd name="T10" fmla="*/ 33 w 184"/>
                    <a:gd name="T11" fmla="*/ 53 h 168"/>
                    <a:gd name="T12" fmla="*/ 27 w 184"/>
                    <a:gd name="T13" fmla="*/ 53 h 168"/>
                    <a:gd name="T14" fmla="*/ 25 w 184"/>
                    <a:gd name="T15" fmla="*/ 53 h 168"/>
                    <a:gd name="T16" fmla="*/ 19 w 184"/>
                    <a:gd name="T17" fmla="*/ 50 h 168"/>
                    <a:gd name="T18" fmla="*/ 14 w 184"/>
                    <a:gd name="T19" fmla="*/ 50 h 168"/>
                    <a:gd name="T20" fmla="*/ 8 w 184"/>
                    <a:gd name="T21" fmla="*/ 58 h 168"/>
                    <a:gd name="T22" fmla="*/ 6 w 184"/>
                    <a:gd name="T23" fmla="*/ 53 h 168"/>
                    <a:gd name="T24" fmla="*/ 0 w 184"/>
                    <a:gd name="T25" fmla="*/ 47 h 168"/>
                    <a:gd name="T26" fmla="*/ 6 w 184"/>
                    <a:gd name="T27" fmla="*/ 41 h 168"/>
                    <a:gd name="T28" fmla="*/ 3 w 184"/>
                    <a:gd name="T29" fmla="*/ 33 h 168"/>
                    <a:gd name="T30" fmla="*/ 3 w 184"/>
                    <a:gd name="T31" fmla="*/ 25 h 168"/>
                    <a:gd name="T32" fmla="*/ 8 w 184"/>
                    <a:gd name="T33" fmla="*/ 27 h 168"/>
                    <a:gd name="T34" fmla="*/ 11 w 184"/>
                    <a:gd name="T35" fmla="*/ 25 h 168"/>
                    <a:gd name="T36" fmla="*/ 11 w 184"/>
                    <a:gd name="T37" fmla="*/ 22 h 168"/>
                    <a:gd name="T38" fmla="*/ 17 w 184"/>
                    <a:gd name="T39" fmla="*/ 19 h 168"/>
                    <a:gd name="T40" fmla="*/ 19 w 184"/>
                    <a:gd name="T41" fmla="*/ 14 h 168"/>
                    <a:gd name="T42" fmla="*/ 25 w 184"/>
                    <a:gd name="T43" fmla="*/ 8 h 168"/>
                    <a:gd name="T44" fmla="*/ 27 w 184"/>
                    <a:gd name="T45" fmla="*/ 8 h 168"/>
                    <a:gd name="T46" fmla="*/ 33 w 184"/>
                    <a:gd name="T47" fmla="*/ 0 h 168"/>
                    <a:gd name="T48" fmla="*/ 39 w 184"/>
                    <a:gd name="T49" fmla="*/ 3 h 168"/>
                    <a:gd name="T50" fmla="*/ 41 w 184"/>
                    <a:gd name="T51" fmla="*/ 6 h 168"/>
                    <a:gd name="T52" fmla="*/ 44 w 184"/>
                    <a:gd name="T53" fmla="*/ 6 h 168"/>
                    <a:gd name="T54" fmla="*/ 50 w 184"/>
                    <a:gd name="T55" fmla="*/ 6 h 168"/>
                    <a:gd name="T56" fmla="*/ 53 w 184"/>
                    <a:gd name="T57" fmla="*/ 8 h 168"/>
                    <a:gd name="T58" fmla="*/ 53 w 184"/>
                    <a:gd name="T59" fmla="*/ 19 h 168"/>
                    <a:gd name="T60" fmla="*/ 58 w 184"/>
                    <a:gd name="T61" fmla="*/ 27 h 168"/>
                    <a:gd name="T62" fmla="*/ 63 w 184"/>
                    <a:gd name="T63" fmla="*/ 33 h 168"/>
                    <a:gd name="T64" fmla="*/ 63 w 184"/>
                    <a:gd name="T65" fmla="*/ 39 h 168"/>
                    <a:gd name="T66" fmla="*/ 60 w 184"/>
                    <a:gd name="T67" fmla="*/ 39 h 168"/>
                    <a:gd name="T68" fmla="*/ 58 w 184"/>
                    <a:gd name="T69" fmla="*/ 36 h 168"/>
                    <a:gd name="T70" fmla="*/ 53 w 184"/>
                    <a:gd name="T71" fmla="*/ 36 h 168"/>
                    <a:gd name="T72" fmla="*/ 55 w 184"/>
                    <a:gd name="T73" fmla="*/ 41 h 168"/>
                    <a:gd name="T74" fmla="*/ 58 w 184"/>
                    <a:gd name="T75" fmla="*/ 44 h 168"/>
                    <a:gd name="T76" fmla="*/ 58 w 184"/>
                    <a:gd name="T77" fmla="*/ 50 h 16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184"/>
                    <a:gd name="T118" fmla="*/ 0 h 168"/>
                    <a:gd name="T119" fmla="*/ 184 w 184"/>
                    <a:gd name="T120" fmla="*/ 168 h 16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184" h="168">
                      <a:moveTo>
                        <a:pt x="168" y="144"/>
                      </a:moveTo>
                      <a:lnTo>
                        <a:pt x="152" y="144"/>
                      </a:lnTo>
                      <a:lnTo>
                        <a:pt x="144" y="160"/>
                      </a:lnTo>
                      <a:lnTo>
                        <a:pt x="136" y="160"/>
                      </a:lnTo>
                      <a:lnTo>
                        <a:pt x="104" y="152"/>
                      </a:lnTo>
                      <a:lnTo>
                        <a:pt x="96" y="152"/>
                      </a:lnTo>
                      <a:lnTo>
                        <a:pt x="80" y="152"/>
                      </a:lnTo>
                      <a:lnTo>
                        <a:pt x="72" y="152"/>
                      </a:lnTo>
                      <a:lnTo>
                        <a:pt x="56" y="144"/>
                      </a:lnTo>
                      <a:lnTo>
                        <a:pt x="40" y="144"/>
                      </a:lnTo>
                      <a:lnTo>
                        <a:pt x="24" y="168"/>
                      </a:lnTo>
                      <a:lnTo>
                        <a:pt x="16" y="152"/>
                      </a:lnTo>
                      <a:lnTo>
                        <a:pt x="0" y="136"/>
                      </a:lnTo>
                      <a:lnTo>
                        <a:pt x="16" y="120"/>
                      </a:lnTo>
                      <a:lnTo>
                        <a:pt x="8" y="96"/>
                      </a:lnTo>
                      <a:lnTo>
                        <a:pt x="8" y="72"/>
                      </a:lnTo>
                      <a:lnTo>
                        <a:pt x="24" y="80"/>
                      </a:lnTo>
                      <a:lnTo>
                        <a:pt x="32" y="72"/>
                      </a:lnTo>
                      <a:lnTo>
                        <a:pt x="32" y="64"/>
                      </a:lnTo>
                      <a:lnTo>
                        <a:pt x="48" y="56"/>
                      </a:lnTo>
                      <a:lnTo>
                        <a:pt x="56" y="40"/>
                      </a:lnTo>
                      <a:lnTo>
                        <a:pt x="72" y="24"/>
                      </a:lnTo>
                      <a:lnTo>
                        <a:pt x="80" y="24"/>
                      </a:lnTo>
                      <a:lnTo>
                        <a:pt x="96" y="0"/>
                      </a:lnTo>
                      <a:lnTo>
                        <a:pt x="112" y="8"/>
                      </a:lnTo>
                      <a:lnTo>
                        <a:pt x="120" y="16"/>
                      </a:lnTo>
                      <a:lnTo>
                        <a:pt x="128" y="16"/>
                      </a:lnTo>
                      <a:lnTo>
                        <a:pt x="144" y="16"/>
                      </a:lnTo>
                      <a:lnTo>
                        <a:pt x="152" y="24"/>
                      </a:lnTo>
                      <a:lnTo>
                        <a:pt x="152" y="56"/>
                      </a:lnTo>
                      <a:lnTo>
                        <a:pt x="168" y="80"/>
                      </a:lnTo>
                      <a:lnTo>
                        <a:pt x="184" y="96"/>
                      </a:lnTo>
                      <a:lnTo>
                        <a:pt x="184" y="112"/>
                      </a:lnTo>
                      <a:lnTo>
                        <a:pt x="176" y="112"/>
                      </a:lnTo>
                      <a:lnTo>
                        <a:pt x="168" y="104"/>
                      </a:lnTo>
                      <a:lnTo>
                        <a:pt x="152" y="104"/>
                      </a:lnTo>
                      <a:lnTo>
                        <a:pt x="160" y="120"/>
                      </a:lnTo>
                      <a:lnTo>
                        <a:pt x="168" y="128"/>
                      </a:lnTo>
                      <a:lnTo>
                        <a:pt x="168" y="14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35" name="Freeform 158">
                  <a:extLst>
                    <a:ext uri="{FF2B5EF4-FFF2-40B4-BE49-F238E27FC236}">
                      <a16:creationId xmlns:a16="http://schemas.microsoft.com/office/drawing/2014/main" id="{8553B2BB-1039-2A7F-15F7-117D3BF288DB}"/>
                    </a:ext>
                  </a:extLst>
                </p:cNvPr>
                <p:cNvSpPr/>
                <p:nvPr/>
              </p:nvSpPr>
              <p:spPr bwMode="gray">
                <a:xfrm>
                  <a:off x="2963" y="1947"/>
                  <a:ext cx="147" cy="135"/>
                </a:xfrm>
                <a:custGeom>
                  <a:avLst/>
                  <a:gdLst>
                    <a:gd name="T0" fmla="*/ 0 w 208"/>
                    <a:gd name="T1" fmla="*/ 14 h 192"/>
                    <a:gd name="T2" fmla="*/ 6 w 208"/>
                    <a:gd name="T3" fmla="*/ 11 h 192"/>
                    <a:gd name="T4" fmla="*/ 11 w 208"/>
                    <a:gd name="T5" fmla="*/ 8 h 192"/>
                    <a:gd name="T6" fmla="*/ 17 w 208"/>
                    <a:gd name="T7" fmla="*/ 6 h 192"/>
                    <a:gd name="T8" fmla="*/ 23 w 208"/>
                    <a:gd name="T9" fmla="*/ 3 h 192"/>
                    <a:gd name="T10" fmla="*/ 25 w 208"/>
                    <a:gd name="T11" fmla="*/ 0 h 192"/>
                    <a:gd name="T12" fmla="*/ 31 w 208"/>
                    <a:gd name="T13" fmla="*/ 3 h 192"/>
                    <a:gd name="T14" fmla="*/ 31 w 208"/>
                    <a:gd name="T15" fmla="*/ 8 h 192"/>
                    <a:gd name="T16" fmla="*/ 37 w 208"/>
                    <a:gd name="T17" fmla="*/ 8 h 192"/>
                    <a:gd name="T18" fmla="*/ 42 w 208"/>
                    <a:gd name="T19" fmla="*/ 6 h 192"/>
                    <a:gd name="T20" fmla="*/ 45 w 208"/>
                    <a:gd name="T21" fmla="*/ 6 h 192"/>
                    <a:gd name="T22" fmla="*/ 54 w 208"/>
                    <a:gd name="T23" fmla="*/ 8 h 192"/>
                    <a:gd name="T24" fmla="*/ 62 w 208"/>
                    <a:gd name="T25" fmla="*/ 6 h 192"/>
                    <a:gd name="T26" fmla="*/ 65 w 208"/>
                    <a:gd name="T27" fmla="*/ 6 h 192"/>
                    <a:gd name="T28" fmla="*/ 68 w 208"/>
                    <a:gd name="T29" fmla="*/ 8 h 192"/>
                    <a:gd name="T30" fmla="*/ 68 w 208"/>
                    <a:gd name="T31" fmla="*/ 17 h 192"/>
                    <a:gd name="T32" fmla="*/ 71 w 208"/>
                    <a:gd name="T33" fmla="*/ 25 h 192"/>
                    <a:gd name="T34" fmla="*/ 65 w 208"/>
                    <a:gd name="T35" fmla="*/ 31 h 192"/>
                    <a:gd name="T36" fmla="*/ 71 w 208"/>
                    <a:gd name="T37" fmla="*/ 36 h 192"/>
                    <a:gd name="T38" fmla="*/ 74 w 208"/>
                    <a:gd name="T39" fmla="*/ 41 h 192"/>
                    <a:gd name="T40" fmla="*/ 74 w 208"/>
                    <a:gd name="T41" fmla="*/ 50 h 192"/>
                    <a:gd name="T42" fmla="*/ 62 w 208"/>
                    <a:gd name="T43" fmla="*/ 61 h 192"/>
                    <a:gd name="T44" fmla="*/ 65 w 208"/>
                    <a:gd name="T45" fmla="*/ 64 h 192"/>
                    <a:gd name="T46" fmla="*/ 59 w 208"/>
                    <a:gd name="T47" fmla="*/ 67 h 192"/>
                    <a:gd name="T48" fmla="*/ 57 w 208"/>
                    <a:gd name="T49" fmla="*/ 64 h 192"/>
                    <a:gd name="T50" fmla="*/ 42 w 208"/>
                    <a:gd name="T51" fmla="*/ 64 h 192"/>
                    <a:gd name="T52" fmla="*/ 37 w 208"/>
                    <a:gd name="T53" fmla="*/ 61 h 192"/>
                    <a:gd name="T54" fmla="*/ 31 w 208"/>
                    <a:gd name="T55" fmla="*/ 61 h 192"/>
                    <a:gd name="T56" fmla="*/ 20 w 208"/>
                    <a:gd name="T57" fmla="*/ 53 h 192"/>
                    <a:gd name="T58" fmla="*/ 17 w 208"/>
                    <a:gd name="T59" fmla="*/ 53 h 192"/>
                    <a:gd name="T60" fmla="*/ 11 w 208"/>
                    <a:gd name="T61" fmla="*/ 48 h 192"/>
                    <a:gd name="T62" fmla="*/ 8 w 208"/>
                    <a:gd name="T63" fmla="*/ 44 h 192"/>
                    <a:gd name="T64" fmla="*/ 0 w 208"/>
                    <a:gd name="T65" fmla="*/ 27 h 192"/>
                    <a:gd name="T66" fmla="*/ 3 w 208"/>
                    <a:gd name="T67" fmla="*/ 19 h 192"/>
                    <a:gd name="T68" fmla="*/ 0 w 208"/>
                    <a:gd name="T69" fmla="*/ 14 h 192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8"/>
                    <a:gd name="T106" fmla="*/ 0 h 192"/>
                    <a:gd name="T107" fmla="*/ 208 w 208"/>
                    <a:gd name="T108" fmla="*/ 192 h 192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8" h="192">
                      <a:moveTo>
                        <a:pt x="0" y="40"/>
                      </a:moveTo>
                      <a:lnTo>
                        <a:pt x="16" y="32"/>
                      </a:lnTo>
                      <a:lnTo>
                        <a:pt x="32" y="24"/>
                      </a:lnTo>
                      <a:lnTo>
                        <a:pt x="48" y="16"/>
                      </a:lnTo>
                      <a:lnTo>
                        <a:pt x="64" y="8"/>
                      </a:lnTo>
                      <a:lnTo>
                        <a:pt x="72" y="0"/>
                      </a:lnTo>
                      <a:lnTo>
                        <a:pt x="88" y="8"/>
                      </a:lnTo>
                      <a:lnTo>
                        <a:pt x="88" y="24"/>
                      </a:lnTo>
                      <a:lnTo>
                        <a:pt x="104" y="24"/>
                      </a:lnTo>
                      <a:lnTo>
                        <a:pt x="120" y="16"/>
                      </a:lnTo>
                      <a:lnTo>
                        <a:pt x="128" y="16"/>
                      </a:lnTo>
                      <a:lnTo>
                        <a:pt x="152" y="24"/>
                      </a:lnTo>
                      <a:lnTo>
                        <a:pt x="176" y="16"/>
                      </a:lnTo>
                      <a:lnTo>
                        <a:pt x="184" y="16"/>
                      </a:lnTo>
                      <a:lnTo>
                        <a:pt x="192" y="24"/>
                      </a:lnTo>
                      <a:lnTo>
                        <a:pt x="192" y="48"/>
                      </a:lnTo>
                      <a:lnTo>
                        <a:pt x="200" y="72"/>
                      </a:lnTo>
                      <a:lnTo>
                        <a:pt x="184" y="88"/>
                      </a:lnTo>
                      <a:lnTo>
                        <a:pt x="200" y="104"/>
                      </a:lnTo>
                      <a:lnTo>
                        <a:pt x="208" y="120"/>
                      </a:lnTo>
                      <a:lnTo>
                        <a:pt x="208" y="144"/>
                      </a:lnTo>
                      <a:lnTo>
                        <a:pt x="176" y="176"/>
                      </a:lnTo>
                      <a:lnTo>
                        <a:pt x="184" y="184"/>
                      </a:lnTo>
                      <a:lnTo>
                        <a:pt x="168" y="192"/>
                      </a:lnTo>
                      <a:lnTo>
                        <a:pt x="160" y="184"/>
                      </a:lnTo>
                      <a:lnTo>
                        <a:pt x="120" y="184"/>
                      </a:lnTo>
                      <a:lnTo>
                        <a:pt x="104" y="176"/>
                      </a:lnTo>
                      <a:lnTo>
                        <a:pt x="88" y="176"/>
                      </a:lnTo>
                      <a:lnTo>
                        <a:pt x="56" y="152"/>
                      </a:lnTo>
                      <a:lnTo>
                        <a:pt x="48" y="152"/>
                      </a:lnTo>
                      <a:lnTo>
                        <a:pt x="32" y="136"/>
                      </a:lnTo>
                      <a:lnTo>
                        <a:pt x="24" y="128"/>
                      </a:lnTo>
                      <a:lnTo>
                        <a:pt x="0" y="80"/>
                      </a:lnTo>
                      <a:lnTo>
                        <a:pt x="8" y="56"/>
                      </a:lnTo>
                      <a:lnTo>
                        <a:pt x="0" y="4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36" name="Freeform 159">
                  <a:extLst>
                    <a:ext uri="{FF2B5EF4-FFF2-40B4-BE49-F238E27FC236}">
                      <a16:creationId xmlns:a16="http://schemas.microsoft.com/office/drawing/2014/main" id="{C43D1087-B489-0DA6-950C-892801E2635E}"/>
                    </a:ext>
                  </a:extLst>
                </p:cNvPr>
                <p:cNvSpPr/>
                <p:nvPr/>
              </p:nvSpPr>
              <p:spPr bwMode="gray">
                <a:xfrm>
                  <a:off x="3008" y="2070"/>
                  <a:ext cx="74" cy="34"/>
                </a:xfrm>
                <a:custGeom>
                  <a:avLst/>
                  <a:gdLst>
                    <a:gd name="T0" fmla="*/ 38 w 104"/>
                    <a:gd name="T1" fmla="*/ 6 h 48"/>
                    <a:gd name="T2" fmla="*/ 34 w 104"/>
                    <a:gd name="T3" fmla="*/ 3 h 48"/>
                    <a:gd name="T4" fmla="*/ 20 w 104"/>
                    <a:gd name="T5" fmla="*/ 3 h 48"/>
                    <a:gd name="T6" fmla="*/ 14 w 104"/>
                    <a:gd name="T7" fmla="*/ 0 h 48"/>
                    <a:gd name="T8" fmla="*/ 11 w 104"/>
                    <a:gd name="T9" fmla="*/ 6 h 48"/>
                    <a:gd name="T10" fmla="*/ 9 w 104"/>
                    <a:gd name="T11" fmla="*/ 6 h 48"/>
                    <a:gd name="T12" fmla="*/ 6 w 104"/>
                    <a:gd name="T13" fmla="*/ 9 h 48"/>
                    <a:gd name="T14" fmla="*/ 0 w 104"/>
                    <a:gd name="T15" fmla="*/ 11 h 48"/>
                    <a:gd name="T16" fmla="*/ 0 w 104"/>
                    <a:gd name="T17" fmla="*/ 17 h 48"/>
                    <a:gd name="T18" fmla="*/ 3 w 104"/>
                    <a:gd name="T19" fmla="*/ 17 h 48"/>
                    <a:gd name="T20" fmla="*/ 6 w 104"/>
                    <a:gd name="T21" fmla="*/ 17 h 48"/>
                    <a:gd name="T22" fmla="*/ 11 w 104"/>
                    <a:gd name="T23" fmla="*/ 17 h 48"/>
                    <a:gd name="T24" fmla="*/ 17 w 104"/>
                    <a:gd name="T25" fmla="*/ 17 h 48"/>
                    <a:gd name="T26" fmla="*/ 23 w 104"/>
                    <a:gd name="T27" fmla="*/ 11 h 48"/>
                    <a:gd name="T28" fmla="*/ 32 w 104"/>
                    <a:gd name="T29" fmla="*/ 11 h 48"/>
                    <a:gd name="T30" fmla="*/ 34 w 104"/>
                    <a:gd name="T31" fmla="*/ 11 h 48"/>
                    <a:gd name="T32" fmla="*/ 38 w 104"/>
                    <a:gd name="T33" fmla="*/ 11 h 48"/>
                    <a:gd name="T34" fmla="*/ 38 w 104"/>
                    <a:gd name="T35" fmla="*/ 6 h 4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04"/>
                    <a:gd name="T55" fmla="*/ 0 h 48"/>
                    <a:gd name="T56" fmla="*/ 104 w 104"/>
                    <a:gd name="T57" fmla="*/ 48 h 4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04" h="48">
                      <a:moveTo>
                        <a:pt x="104" y="16"/>
                      </a:moveTo>
                      <a:lnTo>
                        <a:pt x="96" y="8"/>
                      </a:lnTo>
                      <a:lnTo>
                        <a:pt x="56" y="8"/>
                      </a:lnTo>
                      <a:lnTo>
                        <a:pt x="40" y="0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24"/>
                      </a:lnTo>
                      <a:lnTo>
                        <a:pt x="0" y="32"/>
                      </a:lnTo>
                      <a:lnTo>
                        <a:pt x="0" y="48"/>
                      </a:lnTo>
                      <a:lnTo>
                        <a:pt x="8" y="48"/>
                      </a:lnTo>
                      <a:lnTo>
                        <a:pt x="16" y="48"/>
                      </a:lnTo>
                      <a:lnTo>
                        <a:pt x="32" y="48"/>
                      </a:lnTo>
                      <a:lnTo>
                        <a:pt x="48" y="48"/>
                      </a:lnTo>
                      <a:lnTo>
                        <a:pt x="64" y="32"/>
                      </a:lnTo>
                      <a:lnTo>
                        <a:pt x="88" y="32"/>
                      </a:lnTo>
                      <a:lnTo>
                        <a:pt x="96" y="32"/>
                      </a:lnTo>
                      <a:lnTo>
                        <a:pt x="104" y="32"/>
                      </a:lnTo>
                      <a:lnTo>
                        <a:pt x="104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37" name="Freeform 160">
                  <a:extLst>
                    <a:ext uri="{FF2B5EF4-FFF2-40B4-BE49-F238E27FC236}">
                      <a16:creationId xmlns:a16="http://schemas.microsoft.com/office/drawing/2014/main" id="{0E71539E-42A3-4290-537D-E019E223B650}"/>
                    </a:ext>
                  </a:extLst>
                </p:cNvPr>
                <p:cNvSpPr/>
                <p:nvPr/>
              </p:nvSpPr>
              <p:spPr bwMode="gray">
                <a:xfrm>
                  <a:off x="2997" y="2093"/>
                  <a:ext cx="96" cy="62"/>
                </a:xfrm>
                <a:custGeom>
                  <a:avLst/>
                  <a:gdLst>
                    <a:gd name="T0" fmla="*/ 42 w 136"/>
                    <a:gd name="T1" fmla="*/ 0 h 88"/>
                    <a:gd name="T2" fmla="*/ 40 w 136"/>
                    <a:gd name="T3" fmla="*/ 0 h 88"/>
                    <a:gd name="T4" fmla="*/ 37 w 136"/>
                    <a:gd name="T5" fmla="*/ 0 h 88"/>
                    <a:gd name="T6" fmla="*/ 28 w 136"/>
                    <a:gd name="T7" fmla="*/ 0 h 88"/>
                    <a:gd name="T8" fmla="*/ 23 w 136"/>
                    <a:gd name="T9" fmla="*/ 6 h 88"/>
                    <a:gd name="T10" fmla="*/ 17 w 136"/>
                    <a:gd name="T11" fmla="*/ 6 h 88"/>
                    <a:gd name="T12" fmla="*/ 11 w 136"/>
                    <a:gd name="T13" fmla="*/ 6 h 88"/>
                    <a:gd name="T14" fmla="*/ 8 w 136"/>
                    <a:gd name="T15" fmla="*/ 6 h 88"/>
                    <a:gd name="T16" fmla="*/ 6 w 136"/>
                    <a:gd name="T17" fmla="*/ 6 h 88"/>
                    <a:gd name="T18" fmla="*/ 3 w 136"/>
                    <a:gd name="T19" fmla="*/ 6 h 88"/>
                    <a:gd name="T20" fmla="*/ 3 w 136"/>
                    <a:gd name="T21" fmla="*/ 8 h 88"/>
                    <a:gd name="T22" fmla="*/ 0 w 136"/>
                    <a:gd name="T23" fmla="*/ 11 h 88"/>
                    <a:gd name="T24" fmla="*/ 0 w 136"/>
                    <a:gd name="T25" fmla="*/ 17 h 88"/>
                    <a:gd name="T26" fmla="*/ 0 w 136"/>
                    <a:gd name="T27" fmla="*/ 19 h 88"/>
                    <a:gd name="T28" fmla="*/ 3 w 136"/>
                    <a:gd name="T29" fmla="*/ 23 h 88"/>
                    <a:gd name="T30" fmla="*/ 8 w 136"/>
                    <a:gd name="T31" fmla="*/ 27 h 88"/>
                    <a:gd name="T32" fmla="*/ 17 w 136"/>
                    <a:gd name="T33" fmla="*/ 31 h 88"/>
                    <a:gd name="T34" fmla="*/ 20 w 136"/>
                    <a:gd name="T35" fmla="*/ 27 h 88"/>
                    <a:gd name="T36" fmla="*/ 25 w 136"/>
                    <a:gd name="T37" fmla="*/ 25 h 88"/>
                    <a:gd name="T38" fmla="*/ 28 w 136"/>
                    <a:gd name="T39" fmla="*/ 25 h 88"/>
                    <a:gd name="T40" fmla="*/ 34 w 136"/>
                    <a:gd name="T41" fmla="*/ 25 h 88"/>
                    <a:gd name="T42" fmla="*/ 37 w 136"/>
                    <a:gd name="T43" fmla="*/ 17 h 88"/>
                    <a:gd name="T44" fmla="*/ 42 w 136"/>
                    <a:gd name="T45" fmla="*/ 8 h 88"/>
                    <a:gd name="T46" fmla="*/ 48 w 136"/>
                    <a:gd name="T47" fmla="*/ 6 h 88"/>
                    <a:gd name="T48" fmla="*/ 42 w 136"/>
                    <a:gd name="T49" fmla="*/ 0 h 8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36"/>
                    <a:gd name="T76" fmla="*/ 0 h 88"/>
                    <a:gd name="T77" fmla="*/ 136 w 136"/>
                    <a:gd name="T78" fmla="*/ 88 h 8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36" h="88">
                      <a:moveTo>
                        <a:pt x="120" y="0"/>
                      </a:moveTo>
                      <a:lnTo>
                        <a:pt x="112" y="0"/>
                      </a:lnTo>
                      <a:lnTo>
                        <a:pt x="104" y="0"/>
                      </a:lnTo>
                      <a:lnTo>
                        <a:pt x="80" y="0"/>
                      </a:lnTo>
                      <a:lnTo>
                        <a:pt x="64" y="16"/>
                      </a:lnTo>
                      <a:lnTo>
                        <a:pt x="48" y="16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0" y="48"/>
                      </a:lnTo>
                      <a:lnTo>
                        <a:pt x="0" y="56"/>
                      </a:lnTo>
                      <a:lnTo>
                        <a:pt x="8" y="64"/>
                      </a:lnTo>
                      <a:lnTo>
                        <a:pt x="24" y="80"/>
                      </a:lnTo>
                      <a:lnTo>
                        <a:pt x="48" y="88"/>
                      </a:lnTo>
                      <a:lnTo>
                        <a:pt x="56" y="80"/>
                      </a:lnTo>
                      <a:lnTo>
                        <a:pt x="72" y="72"/>
                      </a:lnTo>
                      <a:lnTo>
                        <a:pt x="80" y="72"/>
                      </a:lnTo>
                      <a:lnTo>
                        <a:pt x="96" y="72"/>
                      </a:lnTo>
                      <a:lnTo>
                        <a:pt x="104" y="48"/>
                      </a:lnTo>
                      <a:lnTo>
                        <a:pt x="120" y="24"/>
                      </a:lnTo>
                      <a:lnTo>
                        <a:pt x="136" y="16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38" name="Freeform 161">
                  <a:extLst>
                    <a:ext uri="{FF2B5EF4-FFF2-40B4-BE49-F238E27FC236}">
                      <a16:creationId xmlns:a16="http://schemas.microsoft.com/office/drawing/2014/main" id="{4A3A1CBB-AF08-E5EE-C734-45E784E75C45}"/>
                    </a:ext>
                  </a:extLst>
                </p:cNvPr>
                <p:cNvSpPr/>
                <p:nvPr/>
              </p:nvSpPr>
              <p:spPr bwMode="gray">
                <a:xfrm>
                  <a:off x="2935" y="2037"/>
                  <a:ext cx="102" cy="67"/>
                </a:xfrm>
                <a:custGeom>
                  <a:avLst/>
                  <a:gdLst>
                    <a:gd name="T0" fmla="*/ 37 w 144"/>
                    <a:gd name="T1" fmla="*/ 33 h 96"/>
                    <a:gd name="T2" fmla="*/ 34 w 144"/>
                    <a:gd name="T3" fmla="*/ 33 h 96"/>
                    <a:gd name="T4" fmla="*/ 31 w 144"/>
                    <a:gd name="T5" fmla="*/ 30 h 96"/>
                    <a:gd name="T6" fmla="*/ 28 w 144"/>
                    <a:gd name="T7" fmla="*/ 27 h 96"/>
                    <a:gd name="T8" fmla="*/ 23 w 144"/>
                    <a:gd name="T9" fmla="*/ 24 h 96"/>
                    <a:gd name="T10" fmla="*/ 11 w 144"/>
                    <a:gd name="T11" fmla="*/ 24 h 96"/>
                    <a:gd name="T12" fmla="*/ 3 w 144"/>
                    <a:gd name="T13" fmla="*/ 19 h 96"/>
                    <a:gd name="T14" fmla="*/ 0 w 144"/>
                    <a:gd name="T15" fmla="*/ 10 h 96"/>
                    <a:gd name="T16" fmla="*/ 11 w 144"/>
                    <a:gd name="T17" fmla="*/ 6 h 96"/>
                    <a:gd name="T18" fmla="*/ 14 w 144"/>
                    <a:gd name="T19" fmla="*/ 3 h 96"/>
                    <a:gd name="T20" fmla="*/ 23 w 144"/>
                    <a:gd name="T21" fmla="*/ 0 h 96"/>
                    <a:gd name="T22" fmla="*/ 26 w 144"/>
                    <a:gd name="T23" fmla="*/ 3 h 96"/>
                    <a:gd name="T24" fmla="*/ 31 w 144"/>
                    <a:gd name="T25" fmla="*/ 8 h 96"/>
                    <a:gd name="T26" fmla="*/ 34 w 144"/>
                    <a:gd name="T27" fmla="*/ 8 h 96"/>
                    <a:gd name="T28" fmla="*/ 45 w 144"/>
                    <a:gd name="T29" fmla="*/ 17 h 96"/>
                    <a:gd name="T30" fmla="*/ 51 w 144"/>
                    <a:gd name="T31" fmla="*/ 17 h 96"/>
                    <a:gd name="T32" fmla="*/ 48 w 144"/>
                    <a:gd name="T33" fmla="*/ 22 h 96"/>
                    <a:gd name="T34" fmla="*/ 45 w 144"/>
                    <a:gd name="T35" fmla="*/ 22 h 96"/>
                    <a:gd name="T36" fmla="*/ 42 w 144"/>
                    <a:gd name="T37" fmla="*/ 24 h 96"/>
                    <a:gd name="T38" fmla="*/ 37 w 144"/>
                    <a:gd name="T39" fmla="*/ 27 h 96"/>
                    <a:gd name="T40" fmla="*/ 37 w 144"/>
                    <a:gd name="T41" fmla="*/ 33 h 9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4"/>
                    <a:gd name="T64" fmla="*/ 0 h 96"/>
                    <a:gd name="T65" fmla="*/ 144 w 144"/>
                    <a:gd name="T66" fmla="*/ 96 h 9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4" h="96">
                      <a:moveTo>
                        <a:pt x="104" y="96"/>
                      </a:moveTo>
                      <a:lnTo>
                        <a:pt x="96" y="96"/>
                      </a:lnTo>
                      <a:lnTo>
                        <a:pt x="88" y="88"/>
                      </a:lnTo>
                      <a:lnTo>
                        <a:pt x="80" y="80"/>
                      </a:lnTo>
                      <a:lnTo>
                        <a:pt x="64" y="72"/>
                      </a:lnTo>
                      <a:lnTo>
                        <a:pt x="32" y="72"/>
                      </a:lnTo>
                      <a:lnTo>
                        <a:pt x="8" y="56"/>
                      </a:lnTo>
                      <a:lnTo>
                        <a:pt x="0" y="32"/>
                      </a:lnTo>
                      <a:lnTo>
                        <a:pt x="32" y="16"/>
                      </a:lnTo>
                      <a:lnTo>
                        <a:pt x="40" y="8"/>
                      </a:lnTo>
                      <a:lnTo>
                        <a:pt x="64" y="0"/>
                      </a:lnTo>
                      <a:lnTo>
                        <a:pt x="72" y="8"/>
                      </a:lnTo>
                      <a:lnTo>
                        <a:pt x="88" y="24"/>
                      </a:lnTo>
                      <a:lnTo>
                        <a:pt x="96" y="24"/>
                      </a:lnTo>
                      <a:lnTo>
                        <a:pt x="128" y="48"/>
                      </a:lnTo>
                      <a:lnTo>
                        <a:pt x="144" y="48"/>
                      </a:lnTo>
                      <a:lnTo>
                        <a:pt x="136" y="64"/>
                      </a:lnTo>
                      <a:lnTo>
                        <a:pt x="128" y="64"/>
                      </a:lnTo>
                      <a:lnTo>
                        <a:pt x="120" y="72"/>
                      </a:lnTo>
                      <a:lnTo>
                        <a:pt x="104" y="80"/>
                      </a:lnTo>
                      <a:lnTo>
                        <a:pt x="104" y="9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39" name="Freeform 162">
                  <a:extLst>
                    <a:ext uri="{FF2B5EF4-FFF2-40B4-BE49-F238E27FC236}">
                      <a16:creationId xmlns:a16="http://schemas.microsoft.com/office/drawing/2014/main" id="{966F64DF-B6A0-7DDB-18DD-8637A7AD8CC3}"/>
                    </a:ext>
                  </a:extLst>
                </p:cNvPr>
                <p:cNvSpPr/>
                <p:nvPr/>
              </p:nvSpPr>
              <p:spPr bwMode="gray">
                <a:xfrm>
                  <a:off x="2958" y="2132"/>
                  <a:ext cx="39" cy="23"/>
                </a:xfrm>
                <a:custGeom>
                  <a:avLst/>
                  <a:gdLst>
                    <a:gd name="T0" fmla="*/ 19 w 56"/>
                    <a:gd name="T1" fmla="*/ 0 h 32"/>
                    <a:gd name="T2" fmla="*/ 16 w 56"/>
                    <a:gd name="T3" fmla="*/ 3 h 32"/>
                    <a:gd name="T4" fmla="*/ 16 w 56"/>
                    <a:gd name="T5" fmla="*/ 6 h 32"/>
                    <a:gd name="T6" fmla="*/ 14 w 56"/>
                    <a:gd name="T7" fmla="*/ 12 h 32"/>
                    <a:gd name="T8" fmla="*/ 3 w 56"/>
                    <a:gd name="T9" fmla="*/ 12 h 32"/>
                    <a:gd name="T10" fmla="*/ 3 w 56"/>
                    <a:gd name="T11" fmla="*/ 9 h 32"/>
                    <a:gd name="T12" fmla="*/ 0 w 56"/>
                    <a:gd name="T13" fmla="*/ 6 h 32"/>
                    <a:gd name="T14" fmla="*/ 0 w 56"/>
                    <a:gd name="T15" fmla="*/ 3 h 32"/>
                    <a:gd name="T16" fmla="*/ 6 w 56"/>
                    <a:gd name="T17" fmla="*/ 6 h 32"/>
                    <a:gd name="T18" fmla="*/ 10 w 56"/>
                    <a:gd name="T19" fmla="*/ 0 h 32"/>
                    <a:gd name="T20" fmla="*/ 19 w 56"/>
                    <a:gd name="T21" fmla="*/ 0 h 3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6"/>
                    <a:gd name="T34" fmla="*/ 0 h 32"/>
                    <a:gd name="T35" fmla="*/ 56 w 56"/>
                    <a:gd name="T36" fmla="*/ 32 h 3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6" h="32">
                      <a:moveTo>
                        <a:pt x="56" y="0"/>
                      </a:moveTo>
                      <a:lnTo>
                        <a:pt x="48" y="8"/>
                      </a:lnTo>
                      <a:lnTo>
                        <a:pt x="48" y="16"/>
                      </a:lnTo>
                      <a:lnTo>
                        <a:pt x="40" y="32"/>
                      </a:lnTo>
                      <a:lnTo>
                        <a:pt x="8" y="32"/>
                      </a:lnTo>
                      <a:lnTo>
                        <a:pt x="8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16" y="16"/>
                      </a:lnTo>
                      <a:lnTo>
                        <a:pt x="32" y="0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40" name="Freeform 163">
                  <a:extLst>
                    <a:ext uri="{FF2B5EF4-FFF2-40B4-BE49-F238E27FC236}">
                      <a16:creationId xmlns:a16="http://schemas.microsoft.com/office/drawing/2014/main" id="{67E50738-566A-D7D9-1CAC-C3B70593BFB0}"/>
                    </a:ext>
                  </a:extLst>
                </p:cNvPr>
                <p:cNvSpPr/>
                <p:nvPr/>
              </p:nvSpPr>
              <p:spPr bwMode="gray">
                <a:xfrm>
                  <a:off x="3025" y="2144"/>
                  <a:ext cx="68" cy="84"/>
                </a:xfrm>
                <a:custGeom>
                  <a:avLst/>
                  <a:gdLst>
                    <a:gd name="T0" fmla="*/ 14 w 96"/>
                    <a:gd name="T1" fmla="*/ 0 h 120"/>
                    <a:gd name="T2" fmla="*/ 11 w 96"/>
                    <a:gd name="T3" fmla="*/ 0 h 120"/>
                    <a:gd name="T4" fmla="*/ 6 w 96"/>
                    <a:gd name="T5" fmla="*/ 3 h 120"/>
                    <a:gd name="T6" fmla="*/ 3 w 96"/>
                    <a:gd name="T7" fmla="*/ 6 h 120"/>
                    <a:gd name="T8" fmla="*/ 6 w 96"/>
                    <a:gd name="T9" fmla="*/ 11 h 120"/>
                    <a:gd name="T10" fmla="*/ 6 w 96"/>
                    <a:gd name="T11" fmla="*/ 17 h 120"/>
                    <a:gd name="T12" fmla="*/ 9 w 96"/>
                    <a:gd name="T13" fmla="*/ 25 h 120"/>
                    <a:gd name="T14" fmla="*/ 3 w 96"/>
                    <a:gd name="T15" fmla="*/ 33 h 120"/>
                    <a:gd name="T16" fmla="*/ 0 w 96"/>
                    <a:gd name="T17" fmla="*/ 36 h 120"/>
                    <a:gd name="T18" fmla="*/ 0 w 96"/>
                    <a:gd name="T19" fmla="*/ 39 h 120"/>
                    <a:gd name="T20" fmla="*/ 6 w 96"/>
                    <a:gd name="T21" fmla="*/ 41 h 120"/>
                    <a:gd name="T22" fmla="*/ 9 w 96"/>
                    <a:gd name="T23" fmla="*/ 39 h 120"/>
                    <a:gd name="T24" fmla="*/ 11 w 96"/>
                    <a:gd name="T25" fmla="*/ 36 h 120"/>
                    <a:gd name="T26" fmla="*/ 14 w 96"/>
                    <a:gd name="T27" fmla="*/ 36 h 120"/>
                    <a:gd name="T28" fmla="*/ 17 w 96"/>
                    <a:gd name="T29" fmla="*/ 41 h 120"/>
                    <a:gd name="T30" fmla="*/ 23 w 96"/>
                    <a:gd name="T31" fmla="*/ 39 h 120"/>
                    <a:gd name="T32" fmla="*/ 31 w 96"/>
                    <a:gd name="T33" fmla="*/ 36 h 120"/>
                    <a:gd name="T34" fmla="*/ 34 w 96"/>
                    <a:gd name="T35" fmla="*/ 30 h 120"/>
                    <a:gd name="T36" fmla="*/ 31 w 96"/>
                    <a:gd name="T37" fmla="*/ 25 h 120"/>
                    <a:gd name="T38" fmla="*/ 34 w 96"/>
                    <a:gd name="T39" fmla="*/ 19 h 120"/>
                    <a:gd name="T40" fmla="*/ 28 w 96"/>
                    <a:gd name="T41" fmla="*/ 17 h 120"/>
                    <a:gd name="T42" fmla="*/ 20 w 96"/>
                    <a:gd name="T43" fmla="*/ 14 h 120"/>
                    <a:gd name="T44" fmla="*/ 17 w 96"/>
                    <a:gd name="T45" fmla="*/ 6 h 120"/>
                    <a:gd name="T46" fmla="*/ 14 w 96"/>
                    <a:gd name="T47" fmla="*/ 0 h 12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96"/>
                    <a:gd name="T73" fmla="*/ 0 h 120"/>
                    <a:gd name="T74" fmla="*/ 96 w 96"/>
                    <a:gd name="T75" fmla="*/ 120 h 12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96" h="120">
                      <a:moveTo>
                        <a:pt x="40" y="0"/>
                      </a:moveTo>
                      <a:lnTo>
                        <a:pt x="32" y="0"/>
                      </a:lnTo>
                      <a:lnTo>
                        <a:pt x="16" y="8"/>
                      </a:lnTo>
                      <a:lnTo>
                        <a:pt x="8" y="16"/>
                      </a:lnTo>
                      <a:lnTo>
                        <a:pt x="16" y="32"/>
                      </a:lnTo>
                      <a:lnTo>
                        <a:pt x="16" y="48"/>
                      </a:lnTo>
                      <a:lnTo>
                        <a:pt x="24" y="72"/>
                      </a:lnTo>
                      <a:lnTo>
                        <a:pt x="8" y="96"/>
                      </a:lnTo>
                      <a:lnTo>
                        <a:pt x="0" y="104"/>
                      </a:lnTo>
                      <a:lnTo>
                        <a:pt x="0" y="112"/>
                      </a:lnTo>
                      <a:lnTo>
                        <a:pt x="16" y="120"/>
                      </a:lnTo>
                      <a:lnTo>
                        <a:pt x="24" y="112"/>
                      </a:lnTo>
                      <a:lnTo>
                        <a:pt x="32" y="104"/>
                      </a:lnTo>
                      <a:lnTo>
                        <a:pt x="40" y="104"/>
                      </a:lnTo>
                      <a:lnTo>
                        <a:pt x="48" y="120"/>
                      </a:lnTo>
                      <a:lnTo>
                        <a:pt x="64" y="112"/>
                      </a:lnTo>
                      <a:lnTo>
                        <a:pt x="88" y="104"/>
                      </a:lnTo>
                      <a:lnTo>
                        <a:pt x="96" y="88"/>
                      </a:lnTo>
                      <a:lnTo>
                        <a:pt x="88" y="72"/>
                      </a:lnTo>
                      <a:lnTo>
                        <a:pt x="96" y="56"/>
                      </a:lnTo>
                      <a:lnTo>
                        <a:pt x="80" y="48"/>
                      </a:lnTo>
                      <a:lnTo>
                        <a:pt x="56" y="40"/>
                      </a:lnTo>
                      <a:lnTo>
                        <a:pt x="48" y="16"/>
                      </a:lnTo>
                      <a:lnTo>
                        <a:pt x="40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41" name="Freeform 164">
                  <a:extLst>
                    <a:ext uri="{FF2B5EF4-FFF2-40B4-BE49-F238E27FC236}">
                      <a16:creationId xmlns:a16="http://schemas.microsoft.com/office/drawing/2014/main" id="{BF7035B6-5240-BF0E-0D97-8D06385BFC1C}"/>
                    </a:ext>
                  </a:extLst>
                </p:cNvPr>
                <p:cNvSpPr/>
                <p:nvPr/>
              </p:nvSpPr>
              <p:spPr bwMode="gray">
                <a:xfrm>
                  <a:off x="3037" y="2217"/>
                  <a:ext cx="28" cy="56"/>
                </a:xfrm>
                <a:custGeom>
                  <a:avLst/>
                  <a:gdLst>
                    <a:gd name="T0" fmla="*/ 10 w 40"/>
                    <a:gd name="T1" fmla="*/ 6 h 80"/>
                    <a:gd name="T2" fmla="*/ 8 w 40"/>
                    <a:gd name="T3" fmla="*/ 0 h 80"/>
                    <a:gd name="T4" fmla="*/ 6 w 40"/>
                    <a:gd name="T5" fmla="*/ 0 h 80"/>
                    <a:gd name="T6" fmla="*/ 3 w 40"/>
                    <a:gd name="T7" fmla="*/ 3 h 80"/>
                    <a:gd name="T8" fmla="*/ 0 w 40"/>
                    <a:gd name="T9" fmla="*/ 6 h 80"/>
                    <a:gd name="T10" fmla="*/ 3 w 40"/>
                    <a:gd name="T11" fmla="*/ 8 h 80"/>
                    <a:gd name="T12" fmla="*/ 3 w 40"/>
                    <a:gd name="T13" fmla="*/ 10 h 80"/>
                    <a:gd name="T14" fmla="*/ 3 w 40"/>
                    <a:gd name="T15" fmla="*/ 17 h 80"/>
                    <a:gd name="T16" fmla="*/ 3 w 40"/>
                    <a:gd name="T17" fmla="*/ 22 h 80"/>
                    <a:gd name="T18" fmla="*/ 8 w 40"/>
                    <a:gd name="T19" fmla="*/ 27 h 80"/>
                    <a:gd name="T20" fmla="*/ 10 w 40"/>
                    <a:gd name="T21" fmla="*/ 25 h 80"/>
                    <a:gd name="T22" fmla="*/ 14 w 40"/>
                    <a:gd name="T23" fmla="*/ 19 h 80"/>
                    <a:gd name="T24" fmla="*/ 14 w 40"/>
                    <a:gd name="T25" fmla="*/ 17 h 80"/>
                    <a:gd name="T26" fmla="*/ 10 w 40"/>
                    <a:gd name="T27" fmla="*/ 10 h 80"/>
                    <a:gd name="T28" fmla="*/ 10 w 40"/>
                    <a:gd name="T29" fmla="*/ 6 h 8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0"/>
                    <a:gd name="T46" fmla="*/ 0 h 80"/>
                    <a:gd name="T47" fmla="*/ 40 w 40"/>
                    <a:gd name="T48" fmla="*/ 80 h 8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0" h="80">
                      <a:moveTo>
                        <a:pt x="32" y="16"/>
                      </a:move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8" y="32"/>
                      </a:lnTo>
                      <a:lnTo>
                        <a:pt x="8" y="48"/>
                      </a:lnTo>
                      <a:lnTo>
                        <a:pt x="8" y="64"/>
                      </a:lnTo>
                      <a:lnTo>
                        <a:pt x="24" y="80"/>
                      </a:lnTo>
                      <a:lnTo>
                        <a:pt x="32" y="72"/>
                      </a:lnTo>
                      <a:lnTo>
                        <a:pt x="40" y="56"/>
                      </a:lnTo>
                      <a:lnTo>
                        <a:pt x="40" y="48"/>
                      </a:lnTo>
                      <a:lnTo>
                        <a:pt x="32" y="32"/>
                      </a:lnTo>
                      <a:lnTo>
                        <a:pt x="32" y="16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42" name="Freeform 165">
                  <a:extLst>
                    <a:ext uri="{FF2B5EF4-FFF2-40B4-BE49-F238E27FC236}">
                      <a16:creationId xmlns:a16="http://schemas.microsoft.com/office/drawing/2014/main" id="{AFBAC194-8ED2-19FF-2200-11858F774846}"/>
                    </a:ext>
                  </a:extLst>
                </p:cNvPr>
                <p:cNvSpPr/>
                <p:nvPr/>
              </p:nvSpPr>
              <p:spPr bwMode="gray">
                <a:xfrm>
                  <a:off x="3059" y="2217"/>
                  <a:ext cx="34" cy="34"/>
                </a:xfrm>
                <a:custGeom>
                  <a:avLst/>
                  <a:gdLst>
                    <a:gd name="T0" fmla="*/ 0 w 48"/>
                    <a:gd name="T1" fmla="*/ 6 h 48"/>
                    <a:gd name="T2" fmla="*/ 0 w 48"/>
                    <a:gd name="T3" fmla="*/ 11 h 48"/>
                    <a:gd name="T4" fmla="*/ 3 w 48"/>
                    <a:gd name="T5" fmla="*/ 17 h 48"/>
                    <a:gd name="T6" fmla="*/ 11 w 48"/>
                    <a:gd name="T7" fmla="*/ 17 h 48"/>
                    <a:gd name="T8" fmla="*/ 14 w 48"/>
                    <a:gd name="T9" fmla="*/ 11 h 48"/>
                    <a:gd name="T10" fmla="*/ 17 w 48"/>
                    <a:gd name="T11" fmla="*/ 11 h 48"/>
                    <a:gd name="T12" fmla="*/ 17 w 48"/>
                    <a:gd name="T13" fmla="*/ 6 h 48"/>
                    <a:gd name="T14" fmla="*/ 14 w 48"/>
                    <a:gd name="T15" fmla="*/ 0 h 48"/>
                    <a:gd name="T16" fmla="*/ 6 w 48"/>
                    <a:gd name="T17" fmla="*/ 3 h 48"/>
                    <a:gd name="T18" fmla="*/ 0 w 48"/>
                    <a:gd name="T19" fmla="*/ 6 h 4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8"/>
                    <a:gd name="T31" fmla="*/ 0 h 48"/>
                    <a:gd name="T32" fmla="*/ 48 w 48"/>
                    <a:gd name="T33" fmla="*/ 48 h 4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8" h="48">
                      <a:moveTo>
                        <a:pt x="0" y="16"/>
                      </a:moveTo>
                      <a:lnTo>
                        <a:pt x="0" y="32"/>
                      </a:lnTo>
                      <a:lnTo>
                        <a:pt x="8" y="48"/>
                      </a:lnTo>
                      <a:lnTo>
                        <a:pt x="32" y="48"/>
                      </a:lnTo>
                      <a:lnTo>
                        <a:pt x="40" y="32"/>
                      </a:lnTo>
                      <a:lnTo>
                        <a:pt x="48" y="32"/>
                      </a:lnTo>
                      <a:lnTo>
                        <a:pt x="48" y="16"/>
                      </a:lnTo>
                      <a:lnTo>
                        <a:pt x="40" y="0"/>
                      </a:lnTo>
                      <a:lnTo>
                        <a:pt x="16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43" name="Freeform 166">
                  <a:extLst>
                    <a:ext uri="{FF2B5EF4-FFF2-40B4-BE49-F238E27FC236}">
                      <a16:creationId xmlns:a16="http://schemas.microsoft.com/office/drawing/2014/main" id="{3222C4FB-5DB1-EBF7-C44D-9674527585C2}"/>
                    </a:ext>
                  </a:extLst>
                </p:cNvPr>
                <p:cNvSpPr/>
                <p:nvPr/>
              </p:nvSpPr>
              <p:spPr bwMode="gray">
                <a:xfrm>
                  <a:off x="3087" y="2183"/>
                  <a:ext cx="79" cy="56"/>
                </a:xfrm>
                <a:custGeom>
                  <a:avLst/>
                  <a:gdLst>
                    <a:gd name="T0" fmla="*/ 3 w 112"/>
                    <a:gd name="T1" fmla="*/ 27 h 80"/>
                    <a:gd name="T2" fmla="*/ 8 w 112"/>
                    <a:gd name="T3" fmla="*/ 27 h 80"/>
                    <a:gd name="T4" fmla="*/ 11 w 112"/>
                    <a:gd name="T5" fmla="*/ 25 h 80"/>
                    <a:gd name="T6" fmla="*/ 17 w 112"/>
                    <a:gd name="T7" fmla="*/ 27 h 80"/>
                    <a:gd name="T8" fmla="*/ 20 w 112"/>
                    <a:gd name="T9" fmla="*/ 27 h 80"/>
                    <a:gd name="T10" fmla="*/ 23 w 112"/>
                    <a:gd name="T11" fmla="*/ 27 h 80"/>
                    <a:gd name="T12" fmla="*/ 25 w 112"/>
                    <a:gd name="T13" fmla="*/ 22 h 80"/>
                    <a:gd name="T14" fmla="*/ 31 w 112"/>
                    <a:gd name="T15" fmla="*/ 22 h 80"/>
                    <a:gd name="T16" fmla="*/ 34 w 112"/>
                    <a:gd name="T17" fmla="*/ 22 h 80"/>
                    <a:gd name="T18" fmla="*/ 36 w 112"/>
                    <a:gd name="T19" fmla="*/ 19 h 80"/>
                    <a:gd name="T20" fmla="*/ 36 w 112"/>
                    <a:gd name="T21" fmla="*/ 10 h 80"/>
                    <a:gd name="T22" fmla="*/ 40 w 112"/>
                    <a:gd name="T23" fmla="*/ 8 h 80"/>
                    <a:gd name="T24" fmla="*/ 40 w 112"/>
                    <a:gd name="T25" fmla="*/ 6 h 80"/>
                    <a:gd name="T26" fmla="*/ 31 w 112"/>
                    <a:gd name="T27" fmla="*/ 0 h 80"/>
                    <a:gd name="T28" fmla="*/ 28 w 112"/>
                    <a:gd name="T29" fmla="*/ 0 h 80"/>
                    <a:gd name="T30" fmla="*/ 23 w 112"/>
                    <a:gd name="T31" fmla="*/ 6 h 80"/>
                    <a:gd name="T32" fmla="*/ 14 w 112"/>
                    <a:gd name="T33" fmla="*/ 6 h 80"/>
                    <a:gd name="T34" fmla="*/ 6 w 112"/>
                    <a:gd name="T35" fmla="*/ 3 h 80"/>
                    <a:gd name="T36" fmla="*/ 3 w 112"/>
                    <a:gd name="T37" fmla="*/ 0 h 80"/>
                    <a:gd name="T38" fmla="*/ 0 w 112"/>
                    <a:gd name="T39" fmla="*/ 6 h 80"/>
                    <a:gd name="T40" fmla="*/ 3 w 112"/>
                    <a:gd name="T41" fmla="*/ 10 h 80"/>
                    <a:gd name="T42" fmla="*/ 0 w 112"/>
                    <a:gd name="T43" fmla="*/ 17 h 80"/>
                    <a:gd name="T44" fmla="*/ 3 w 112"/>
                    <a:gd name="T45" fmla="*/ 22 h 80"/>
                    <a:gd name="T46" fmla="*/ 3 w 112"/>
                    <a:gd name="T47" fmla="*/ 27 h 8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12"/>
                    <a:gd name="T73" fmla="*/ 0 h 80"/>
                    <a:gd name="T74" fmla="*/ 112 w 112"/>
                    <a:gd name="T75" fmla="*/ 80 h 8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12" h="80">
                      <a:moveTo>
                        <a:pt x="8" y="80"/>
                      </a:moveTo>
                      <a:lnTo>
                        <a:pt x="24" y="80"/>
                      </a:lnTo>
                      <a:lnTo>
                        <a:pt x="32" y="72"/>
                      </a:lnTo>
                      <a:lnTo>
                        <a:pt x="48" y="80"/>
                      </a:lnTo>
                      <a:lnTo>
                        <a:pt x="56" y="80"/>
                      </a:lnTo>
                      <a:lnTo>
                        <a:pt x="64" y="80"/>
                      </a:lnTo>
                      <a:lnTo>
                        <a:pt x="72" y="64"/>
                      </a:lnTo>
                      <a:lnTo>
                        <a:pt x="88" y="64"/>
                      </a:lnTo>
                      <a:lnTo>
                        <a:pt x="96" y="64"/>
                      </a:lnTo>
                      <a:lnTo>
                        <a:pt x="104" y="56"/>
                      </a:lnTo>
                      <a:lnTo>
                        <a:pt x="104" y="32"/>
                      </a:lnTo>
                      <a:lnTo>
                        <a:pt x="112" y="24"/>
                      </a:lnTo>
                      <a:lnTo>
                        <a:pt x="112" y="16"/>
                      </a:lnTo>
                      <a:lnTo>
                        <a:pt x="88" y="0"/>
                      </a:lnTo>
                      <a:lnTo>
                        <a:pt x="80" y="0"/>
                      </a:lnTo>
                      <a:lnTo>
                        <a:pt x="64" y="16"/>
                      </a:lnTo>
                      <a:lnTo>
                        <a:pt x="40" y="16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8" y="32"/>
                      </a:lnTo>
                      <a:lnTo>
                        <a:pt x="0" y="48"/>
                      </a:lnTo>
                      <a:lnTo>
                        <a:pt x="8" y="64"/>
                      </a:lnTo>
                      <a:lnTo>
                        <a:pt x="8" y="8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44" name="Freeform 167">
                  <a:extLst>
                    <a:ext uri="{FF2B5EF4-FFF2-40B4-BE49-F238E27FC236}">
                      <a16:creationId xmlns:a16="http://schemas.microsoft.com/office/drawing/2014/main" id="{84C8F318-834E-7881-D111-368849227C70}"/>
                    </a:ext>
                  </a:extLst>
                </p:cNvPr>
                <p:cNvSpPr/>
                <p:nvPr/>
              </p:nvSpPr>
              <p:spPr bwMode="gray">
                <a:xfrm>
                  <a:off x="3053" y="2104"/>
                  <a:ext cx="130" cy="90"/>
                </a:xfrm>
                <a:custGeom>
                  <a:avLst/>
                  <a:gdLst>
                    <a:gd name="T0" fmla="*/ 20 w 184"/>
                    <a:gd name="T1" fmla="*/ 39 h 128"/>
                    <a:gd name="T2" fmla="*/ 23 w 184"/>
                    <a:gd name="T3" fmla="*/ 41 h 128"/>
                    <a:gd name="T4" fmla="*/ 31 w 184"/>
                    <a:gd name="T5" fmla="*/ 44 h 128"/>
                    <a:gd name="T6" fmla="*/ 40 w 184"/>
                    <a:gd name="T7" fmla="*/ 44 h 128"/>
                    <a:gd name="T8" fmla="*/ 45 w 184"/>
                    <a:gd name="T9" fmla="*/ 39 h 128"/>
                    <a:gd name="T10" fmla="*/ 48 w 184"/>
                    <a:gd name="T11" fmla="*/ 39 h 128"/>
                    <a:gd name="T12" fmla="*/ 57 w 184"/>
                    <a:gd name="T13" fmla="*/ 44 h 128"/>
                    <a:gd name="T14" fmla="*/ 59 w 184"/>
                    <a:gd name="T15" fmla="*/ 36 h 128"/>
                    <a:gd name="T16" fmla="*/ 65 w 184"/>
                    <a:gd name="T17" fmla="*/ 31 h 128"/>
                    <a:gd name="T18" fmla="*/ 65 w 184"/>
                    <a:gd name="T19" fmla="*/ 27 h 128"/>
                    <a:gd name="T20" fmla="*/ 62 w 184"/>
                    <a:gd name="T21" fmla="*/ 27 h 128"/>
                    <a:gd name="T22" fmla="*/ 57 w 184"/>
                    <a:gd name="T23" fmla="*/ 25 h 128"/>
                    <a:gd name="T24" fmla="*/ 57 w 184"/>
                    <a:gd name="T25" fmla="*/ 23 h 128"/>
                    <a:gd name="T26" fmla="*/ 57 w 184"/>
                    <a:gd name="T27" fmla="*/ 19 h 128"/>
                    <a:gd name="T28" fmla="*/ 51 w 184"/>
                    <a:gd name="T29" fmla="*/ 8 h 128"/>
                    <a:gd name="T30" fmla="*/ 48 w 184"/>
                    <a:gd name="T31" fmla="*/ 0 h 128"/>
                    <a:gd name="T32" fmla="*/ 42 w 184"/>
                    <a:gd name="T33" fmla="*/ 0 h 128"/>
                    <a:gd name="T34" fmla="*/ 40 w 184"/>
                    <a:gd name="T35" fmla="*/ 3 h 128"/>
                    <a:gd name="T36" fmla="*/ 31 w 184"/>
                    <a:gd name="T37" fmla="*/ 3 h 128"/>
                    <a:gd name="T38" fmla="*/ 25 w 184"/>
                    <a:gd name="T39" fmla="*/ 0 h 128"/>
                    <a:gd name="T40" fmla="*/ 20 w 184"/>
                    <a:gd name="T41" fmla="*/ 0 h 128"/>
                    <a:gd name="T42" fmla="*/ 14 w 184"/>
                    <a:gd name="T43" fmla="*/ 3 h 128"/>
                    <a:gd name="T44" fmla="*/ 8 w 184"/>
                    <a:gd name="T45" fmla="*/ 11 h 128"/>
                    <a:gd name="T46" fmla="*/ 6 w 184"/>
                    <a:gd name="T47" fmla="*/ 19 h 128"/>
                    <a:gd name="T48" fmla="*/ 0 w 184"/>
                    <a:gd name="T49" fmla="*/ 19 h 128"/>
                    <a:gd name="T50" fmla="*/ 3 w 184"/>
                    <a:gd name="T51" fmla="*/ 25 h 128"/>
                    <a:gd name="T52" fmla="*/ 6 w 184"/>
                    <a:gd name="T53" fmla="*/ 34 h 128"/>
                    <a:gd name="T54" fmla="*/ 14 w 184"/>
                    <a:gd name="T55" fmla="*/ 36 h 128"/>
                    <a:gd name="T56" fmla="*/ 20 w 184"/>
                    <a:gd name="T57" fmla="*/ 39 h 12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84"/>
                    <a:gd name="T88" fmla="*/ 0 h 128"/>
                    <a:gd name="T89" fmla="*/ 184 w 184"/>
                    <a:gd name="T90" fmla="*/ 128 h 12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84" h="128">
                      <a:moveTo>
                        <a:pt x="56" y="112"/>
                      </a:moveTo>
                      <a:lnTo>
                        <a:pt x="64" y="120"/>
                      </a:lnTo>
                      <a:lnTo>
                        <a:pt x="88" y="128"/>
                      </a:lnTo>
                      <a:lnTo>
                        <a:pt x="112" y="128"/>
                      </a:lnTo>
                      <a:lnTo>
                        <a:pt x="128" y="112"/>
                      </a:lnTo>
                      <a:lnTo>
                        <a:pt x="136" y="112"/>
                      </a:lnTo>
                      <a:lnTo>
                        <a:pt x="160" y="128"/>
                      </a:lnTo>
                      <a:lnTo>
                        <a:pt x="168" y="104"/>
                      </a:lnTo>
                      <a:lnTo>
                        <a:pt x="184" y="88"/>
                      </a:lnTo>
                      <a:lnTo>
                        <a:pt x="184" y="80"/>
                      </a:lnTo>
                      <a:lnTo>
                        <a:pt x="176" y="80"/>
                      </a:lnTo>
                      <a:lnTo>
                        <a:pt x="160" y="72"/>
                      </a:lnTo>
                      <a:lnTo>
                        <a:pt x="160" y="64"/>
                      </a:lnTo>
                      <a:lnTo>
                        <a:pt x="160" y="56"/>
                      </a:lnTo>
                      <a:lnTo>
                        <a:pt x="144" y="24"/>
                      </a:lnTo>
                      <a:lnTo>
                        <a:pt x="136" y="0"/>
                      </a:lnTo>
                      <a:lnTo>
                        <a:pt x="120" y="0"/>
                      </a:lnTo>
                      <a:lnTo>
                        <a:pt x="112" y="8"/>
                      </a:lnTo>
                      <a:lnTo>
                        <a:pt x="88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40" y="8"/>
                      </a:lnTo>
                      <a:lnTo>
                        <a:pt x="24" y="32"/>
                      </a:lnTo>
                      <a:lnTo>
                        <a:pt x="16" y="56"/>
                      </a:lnTo>
                      <a:lnTo>
                        <a:pt x="0" y="56"/>
                      </a:lnTo>
                      <a:lnTo>
                        <a:pt x="8" y="72"/>
                      </a:lnTo>
                      <a:lnTo>
                        <a:pt x="16" y="96"/>
                      </a:lnTo>
                      <a:lnTo>
                        <a:pt x="40" y="104"/>
                      </a:lnTo>
                      <a:lnTo>
                        <a:pt x="56" y="11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45" name="Freeform 168">
                  <a:extLst>
                    <a:ext uri="{FF2B5EF4-FFF2-40B4-BE49-F238E27FC236}">
                      <a16:creationId xmlns:a16="http://schemas.microsoft.com/office/drawing/2014/main" id="{E555FB4D-B98F-D459-E1CF-EDC9517D1A30}"/>
                    </a:ext>
                  </a:extLst>
                </p:cNvPr>
                <p:cNvSpPr/>
                <p:nvPr/>
              </p:nvSpPr>
              <p:spPr bwMode="gray">
                <a:xfrm>
                  <a:off x="3138" y="2099"/>
                  <a:ext cx="51" cy="61"/>
                </a:xfrm>
                <a:custGeom>
                  <a:avLst/>
                  <a:gdLst>
                    <a:gd name="T0" fmla="*/ 0 w 72"/>
                    <a:gd name="T1" fmla="*/ 3 h 88"/>
                    <a:gd name="T2" fmla="*/ 6 w 72"/>
                    <a:gd name="T3" fmla="*/ 3 h 88"/>
                    <a:gd name="T4" fmla="*/ 8 w 72"/>
                    <a:gd name="T5" fmla="*/ 10 h 88"/>
                    <a:gd name="T6" fmla="*/ 14 w 72"/>
                    <a:gd name="T7" fmla="*/ 21 h 88"/>
                    <a:gd name="T8" fmla="*/ 14 w 72"/>
                    <a:gd name="T9" fmla="*/ 24 h 88"/>
                    <a:gd name="T10" fmla="*/ 14 w 72"/>
                    <a:gd name="T11" fmla="*/ 26 h 88"/>
                    <a:gd name="T12" fmla="*/ 20 w 72"/>
                    <a:gd name="T13" fmla="*/ 29 h 88"/>
                    <a:gd name="T14" fmla="*/ 20 w 72"/>
                    <a:gd name="T15" fmla="*/ 24 h 88"/>
                    <a:gd name="T16" fmla="*/ 23 w 72"/>
                    <a:gd name="T17" fmla="*/ 19 h 88"/>
                    <a:gd name="T18" fmla="*/ 26 w 72"/>
                    <a:gd name="T19" fmla="*/ 19 h 88"/>
                    <a:gd name="T20" fmla="*/ 26 w 72"/>
                    <a:gd name="T21" fmla="*/ 16 h 88"/>
                    <a:gd name="T22" fmla="*/ 23 w 72"/>
                    <a:gd name="T23" fmla="*/ 13 h 88"/>
                    <a:gd name="T24" fmla="*/ 20 w 72"/>
                    <a:gd name="T25" fmla="*/ 6 h 88"/>
                    <a:gd name="T26" fmla="*/ 17 w 72"/>
                    <a:gd name="T27" fmla="*/ 0 h 88"/>
                    <a:gd name="T28" fmla="*/ 6 w 72"/>
                    <a:gd name="T29" fmla="*/ 0 h 88"/>
                    <a:gd name="T30" fmla="*/ 0 w 72"/>
                    <a:gd name="T31" fmla="*/ 3 h 8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72"/>
                    <a:gd name="T49" fmla="*/ 0 h 88"/>
                    <a:gd name="T50" fmla="*/ 72 w 72"/>
                    <a:gd name="T51" fmla="*/ 88 h 8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72" h="88">
                      <a:moveTo>
                        <a:pt x="0" y="8"/>
                      </a:moveTo>
                      <a:lnTo>
                        <a:pt x="16" y="8"/>
                      </a:lnTo>
                      <a:lnTo>
                        <a:pt x="24" y="32"/>
                      </a:lnTo>
                      <a:lnTo>
                        <a:pt x="40" y="64"/>
                      </a:lnTo>
                      <a:lnTo>
                        <a:pt x="40" y="72"/>
                      </a:lnTo>
                      <a:lnTo>
                        <a:pt x="40" y="80"/>
                      </a:lnTo>
                      <a:lnTo>
                        <a:pt x="56" y="88"/>
                      </a:lnTo>
                      <a:lnTo>
                        <a:pt x="56" y="72"/>
                      </a:lnTo>
                      <a:lnTo>
                        <a:pt x="64" y="56"/>
                      </a:lnTo>
                      <a:lnTo>
                        <a:pt x="72" y="56"/>
                      </a:lnTo>
                      <a:lnTo>
                        <a:pt x="72" y="48"/>
                      </a:lnTo>
                      <a:lnTo>
                        <a:pt x="64" y="40"/>
                      </a:lnTo>
                      <a:lnTo>
                        <a:pt x="56" y="16"/>
                      </a:lnTo>
                      <a:lnTo>
                        <a:pt x="48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46" name="Freeform 169">
                  <a:extLst>
                    <a:ext uri="{FF2B5EF4-FFF2-40B4-BE49-F238E27FC236}">
                      <a16:creationId xmlns:a16="http://schemas.microsoft.com/office/drawing/2014/main" id="{2B4F3AB1-C42F-6A4D-F3AA-0FEF9E76A1D1}"/>
                    </a:ext>
                  </a:extLst>
                </p:cNvPr>
                <p:cNvSpPr/>
                <p:nvPr/>
              </p:nvSpPr>
              <p:spPr bwMode="gray">
                <a:xfrm>
                  <a:off x="3082" y="2009"/>
                  <a:ext cx="247" cy="168"/>
                </a:xfrm>
                <a:custGeom>
                  <a:avLst/>
                  <a:gdLst>
                    <a:gd name="T0" fmla="*/ 0 w 352"/>
                    <a:gd name="T1" fmla="*/ 41 h 240"/>
                    <a:gd name="T2" fmla="*/ 6 w 352"/>
                    <a:gd name="T3" fmla="*/ 33 h 240"/>
                    <a:gd name="T4" fmla="*/ 14 w 352"/>
                    <a:gd name="T5" fmla="*/ 19 h 240"/>
                    <a:gd name="T6" fmla="*/ 19 w 352"/>
                    <a:gd name="T7" fmla="*/ 3 h 240"/>
                    <a:gd name="T8" fmla="*/ 31 w 352"/>
                    <a:gd name="T9" fmla="*/ 6 h 240"/>
                    <a:gd name="T10" fmla="*/ 39 w 352"/>
                    <a:gd name="T11" fmla="*/ 6 h 240"/>
                    <a:gd name="T12" fmla="*/ 53 w 352"/>
                    <a:gd name="T13" fmla="*/ 8 h 240"/>
                    <a:gd name="T14" fmla="*/ 58 w 352"/>
                    <a:gd name="T15" fmla="*/ 3 h 240"/>
                    <a:gd name="T16" fmla="*/ 69 w 352"/>
                    <a:gd name="T17" fmla="*/ 0 h 240"/>
                    <a:gd name="T18" fmla="*/ 83 w 352"/>
                    <a:gd name="T19" fmla="*/ 11 h 240"/>
                    <a:gd name="T20" fmla="*/ 88 w 352"/>
                    <a:gd name="T21" fmla="*/ 17 h 240"/>
                    <a:gd name="T22" fmla="*/ 102 w 352"/>
                    <a:gd name="T23" fmla="*/ 19 h 240"/>
                    <a:gd name="T24" fmla="*/ 113 w 352"/>
                    <a:gd name="T25" fmla="*/ 25 h 240"/>
                    <a:gd name="T26" fmla="*/ 121 w 352"/>
                    <a:gd name="T27" fmla="*/ 33 h 240"/>
                    <a:gd name="T28" fmla="*/ 119 w 352"/>
                    <a:gd name="T29" fmla="*/ 47 h 240"/>
                    <a:gd name="T30" fmla="*/ 111 w 352"/>
                    <a:gd name="T31" fmla="*/ 52 h 240"/>
                    <a:gd name="T32" fmla="*/ 100 w 352"/>
                    <a:gd name="T33" fmla="*/ 60 h 240"/>
                    <a:gd name="T34" fmla="*/ 88 w 352"/>
                    <a:gd name="T35" fmla="*/ 63 h 240"/>
                    <a:gd name="T36" fmla="*/ 80 w 352"/>
                    <a:gd name="T37" fmla="*/ 69 h 240"/>
                    <a:gd name="T38" fmla="*/ 88 w 352"/>
                    <a:gd name="T39" fmla="*/ 74 h 240"/>
                    <a:gd name="T40" fmla="*/ 97 w 352"/>
                    <a:gd name="T41" fmla="*/ 74 h 240"/>
                    <a:gd name="T42" fmla="*/ 91 w 352"/>
                    <a:gd name="T43" fmla="*/ 77 h 240"/>
                    <a:gd name="T44" fmla="*/ 83 w 352"/>
                    <a:gd name="T45" fmla="*/ 83 h 240"/>
                    <a:gd name="T46" fmla="*/ 77 w 352"/>
                    <a:gd name="T47" fmla="*/ 79 h 240"/>
                    <a:gd name="T48" fmla="*/ 72 w 352"/>
                    <a:gd name="T49" fmla="*/ 74 h 240"/>
                    <a:gd name="T50" fmla="*/ 77 w 352"/>
                    <a:gd name="T51" fmla="*/ 69 h 240"/>
                    <a:gd name="T52" fmla="*/ 69 w 352"/>
                    <a:gd name="T53" fmla="*/ 66 h 240"/>
                    <a:gd name="T54" fmla="*/ 64 w 352"/>
                    <a:gd name="T55" fmla="*/ 63 h 240"/>
                    <a:gd name="T56" fmla="*/ 55 w 352"/>
                    <a:gd name="T57" fmla="*/ 66 h 240"/>
                    <a:gd name="T58" fmla="*/ 50 w 352"/>
                    <a:gd name="T59" fmla="*/ 74 h 240"/>
                    <a:gd name="T60" fmla="*/ 47 w 352"/>
                    <a:gd name="T61" fmla="*/ 69 h 240"/>
                    <a:gd name="T62" fmla="*/ 53 w 352"/>
                    <a:gd name="T63" fmla="*/ 63 h 240"/>
                    <a:gd name="T64" fmla="*/ 50 w 352"/>
                    <a:gd name="T65" fmla="*/ 58 h 240"/>
                    <a:gd name="T66" fmla="*/ 44 w 352"/>
                    <a:gd name="T67" fmla="*/ 44 h 240"/>
                    <a:gd name="T68" fmla="*/ 27 w 352"/>
                    <a:gd name="T69" fmla="*/ 47 h 240"/>
                    <a:gd name="T70" fmla="*/ 17 w 352"/>
                    <a:gd name="T71" fmla="*/ 50 h 240"/>
                    <a:gd name="T72" fmla="*/ 6 w 352"/>
                    <a:gd name="T73" fmla="*/ 47 h 24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2"/>
                    <a:gd name="T112" fmla="*/ 0 h 240"/>
                    <a:gd name="T113" fmla="*/ 352 w 352"/>
                    <a:gd name="T114" fmla="*/ 240 h 24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2" h="240">
                      <a:moveTo>
                        <a:pt x="16" y="136"/>
                      </a:moveTo>
                      <a:lnTo>
                        <a:pt x="0" y="120"/>
                      </a:lnTo>
                      <a:lnTo>
                        <a:pt x="0" y="104"/>
                      </a:lnTo>
                      <a:lnTo>
                        <a:pt x="16" y="96"/>
                      </a:lnTo>
                      <a:lnTo>
                        <a:pt x="8" y="88"/>
                      </a:lnTo>
                      <a:lnTo>
                        <a:pt x="40" y="56"/>
                      </a:lnTo>
                      <a:lnTo>
                        <a:pt x="40" y="32"/>
                      </a:lnTo>
                      <a:lnTo>
                        <a:pt x="56" y="8"/>
                      </a:lnTo>
                      <a:lnTo>
                        <a:pt x="72" y="8"/>
                      </a:lnTo>
                      <a:lnTo>
                        <a:pt x="88" y="16"/>
                      </a:lnTo>
                      <a:lnTo>
                        <a:pt x="96" y="16"/>
                      </a:lnTo>
                      <a:lnTo>
                        <a:pt x="112" y="16"/>
                      </a:lnTo>
                      <a:lnTo>
                        <a:pt x="120" y="16"/>
                      </a:lnTo>
                      <a:lnTo>
                        <a:pt x="152" y="24"/>
                      </a:lnTo>
                      <a:lnTo>
                        <a:pt x="160" y="24"/>
                      </a:lnTo>
                      <a:lnTo>
                        <a:pt x="168" y="8"/>
                      </a:lnTo>
                      <a:lnTo>
                        <a:pt x="184" y="8"/>
                      </a:lnTo>
                      <a:lnTo>
                        <a:pt x="200" y="0"/>
                      </a:lnTo>
                      <a:lnTo>
                        <a:pt x="232" y="0"/>
                      </a:lnTo>
                      <a:lnTo>
                        <a:pt x="240" y="32"/>
                      </a:lnTo>
                      <a:lnTo>
                        <a:pt x="256" y="40"/>
                      </a:lnTo>
                      <a:lnTo>
                        <a:pt x="256" y="48"/>
                      </a:lnTo>
                      <a:lnTo>
                        <a:pt x="264" y="64"/>
                      </a:lnTo>
                      <a:lnTo>
                        <a:pt x="296" y="56"/>
                      </a:lnTo>
                      <a:lnTo>
                        <a:pt x="312" y="72"/>
                      </a:lnTo>
                      <a:lnTo>
                        <a:pt x="328" y="72"/>
                      </a:lnTo>
                      <a:lnTo>
                        <a:pt x="336" y="80"/>
                      </a:lnTo>
                      <a:lnTo>
                        <a:pt x="352" y="96"/>
                      </a:lnTo>
                      <a:lnTo>
                        <a:pt x="344" y="112"/>
                      </a:lnTo>
                      <a:lnTo>
                        <a:pt x="344" y="136"/>
                      </a:lnTo>
                      <a:lnTo>
                        <a:pt x="336" y="136"/>
                      </a:lnTo>
                      <a:lnTo>
                        <a:pt x="320" y="152"/>
                      </a:lnTo>
                      <a:lnTo>
                        <a:pt x="304" y="176"/>
                      </a:lnTo>
                      <a:lnTo>
                        <a:pt x="288" y="176"/>
                      </a:lnTo>
                      <a:lnTo>
                        <a:pt x="280" y="184"/>
                      </a:lnTo>
                      <a:lnTo>
                        <a:pt x="256" y="184"/>
                      </a:lnTo>
                      <a:lnTo>
                        <a:pt x="256" y="192"/>
                      </a:lnTo>
                      <a:lnTo>
                        <a:pt x="232" y="200"/>
                      </a:lnTo>
                      <a:lnTo>
                        <a:pt x="248" y="208"/>
                      </a:lnTo>
                      <a:lnTo>
                        <a:pt x="256" y="216"/>
                      </a:lnTo>
                      <a:lnTo>
                        <a:pt x="272" y="216"/>
                      </a:lnTo>
                      <a:lnTo>
                        <a:pt x="280" y="216"/>
                      </a:lnTo>
                      <a:lnTo>
                        <a:pt x="280" y="224"/>
                      </a:lnTo>
                      <a:lnTo>
                        <a:pt x="264" y="224"/>
                      </a:lnTo>
                      <a:lnTo>
                        <a:pt x="256" y="232"/>
                      </a:lnTo>
                      <a:lnTo>
                        <a:pt x="240" y="240"/>
                      </a:lnTo>
                      <a:lnTo>
                        <a:pt x="224" y="240"/>
                      </a:lnTo>
                      <a:lnTo>
                        <a:pt x="224" y="232"/>
                      </a:lnTo>
                      <a:lnTo>
                        <a:pt x="224" y="224"/>
                      </a:lnTo>
                      <a:lnTo>
                        <a:pt x="208" y="216"/>
                      </a:lnTo>
                      <a:lnTo>
                        <a:pt x="208" y="208"/>
                      </a:lnTo>
                      <a:lnTo>
                        <a:pt x="224" y="200"/>
                      </a:lnTo>
                      <a:lnTo>
                        <a:pt x="216" y="192"/>
                      </a:lnTo>
                      <a:lnTo>
                        <a:pt x="200" y="192"/>
                      </a:lnTo>
                      <a:lnTo>
                        <a:pt x="192" y="192"/>
                      </a:lnTo>
                      <a:lnTo>
                        <a:pt x="184" y="184"/>
                      </a:lnTo>
                      <a:lnTo>
                        <a:pt x="176" y="184"/>
                      </a:lnTo>
                      <a:lnTo>
                        <a:pt x="160" y="192"/>
                      </a:lnTo>
                      <a:lnTo>
                        <a:pt x="160" y="200"/>
                      </a:lnTo>
                      <a:lnTo>
                        <a:pt x="144" y="216"/>
                      </a:lnTo>
                      <a:lnTo>
                        <a:pt x="136" y="216"/>
                      </a:lnTo>
                      <a:lnTo>
                        <a:pt x="136" y="200"/>
                      </a:lnTo>
                      <a:lnTo>
                        <a:pt x="144" y="184"/>
                      </a:lnTo>
                      <a:lnTo>
                        <a:pt x="152" y="184"/>
                      </a:lnTo>
                      <a:lnTo>
                        <a:pt x="152" y="176"/>
                      </a:lnTo>
                      <a:lnTo>
                        <a:pt x="144" y="168"/>
                      </a:lnTo>
                      <a:lnTo>
                        <a:pt x="136" y="144"/>
                      </a:lnTo>
                      <a:lnTo>
                        <a:pt x="128" y="128"/>
                      </a:lnTo>
                      <a:lnTo>
                        <a:pt x="96" y="128"/>
                      </a:lnTo>
                      <a:lnTo>
                        <a:pt x="80" y="136"/>
                      </a:lnTo>
                      <a:lnTo>
                        <a:pt x="72" y="144"/>
                      </a:lnTo>
                      <a:lnTo>
                        <a:pt x="48" y="144"/>
                      </a:lnTo>
                      <a:lnTo>
                        <a:pt x="32" y="136"/>
                      </a:lnTo>
                      <a:lnTo>
                        <a:pt x="16" y="13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</p:grpSp>
          <p:grpSp>
            <p:nvGrpSpPr>
              <p:cNvPr id="1114" name="Group 170">
                <a:extLst>
                  <a:ext uri="{FF2B5EF4-FFF2-40B4-BE49-F238E27FC236}">
                    <a16:creationId xmlns:a16="http://schemas.microsoft.com/office/drawing/2014/main" id="{86E8AED0-0978-48C8-E9FF-F011D086C28A}"/>
                  </a:ext>
                </a:extLst>
              </p:cNvPr>
              <p:cNvGrpSpPr/>
              <p:nvPr/>
            </p:nvGrpSpPr>
            <p:grpSpPr bwMode="gray">
              <a:xfrm>
                <a:off x="8032671" y="2782031"/>
                <a:ext cx="2374370" cy="1164524"/>
                <a:chOff x="3819" y="1965"/>
                <a:chExt cx="1142" cy="619"/>
              </a:xfrm>
              <a:solidFill>
                <a:srgbClr val="B3B3B3"/>
              </a:solidFill>
            </p:grpSpPr>
            <p:sp>
              <p:nvSpPr>
                <p:cNvPr id="1314" name="Freeform 171">
                  <a:extLst>
                    <a:ext uri="{FF2B5EF4-FFF2-40B4-BE49-F238E27FC236}">
                      <a16:creationId xmlns:a16="http://schemas.microsoft.com/office/drawing/2014/main" id="{723DC8AC-FBB6-CDE1-A342-AAE604A6AE17}"/>
                    </a:ext>
                  </a:extLst>
                </p:cNvPr>
                <p:cNvSpPr/>
                <p:nvPr/>
              </p:nvSpPr>
              <p:spPr bwMode="gray">
                <a:xfrm>
                  <a:off x="4770" y="2155"/>
                  <a:ext cx="90" cy="73"/>
                </a:xfrm>
                <a:custGeom>
                  <a:avLst/>
                  <a:gdLst>
                    <a:gd name="T0" fmla="*/ 17 w 128"/>
                    <a:gd name="T1" fmla="*/ 3 h 104"/>
                    <a:gd name="T2" fmla="*/ 17 w 128"/>
                    <a:gd name="T3" fmla="*/ 0 h 104"/>
                    <a:gd name="T4" fmla="*/ 23 w 128"/>
                    <a:gd name="T5" fmla="*/ 0 h 104"/>
                    <a:gd name="T6" fmla="*/ 23 w 128"/>
                    <a:gd name="T7" fmla="*/ 3 h 104"/>
                    <a:gd name="T8" fmla="*/ 25 w 128"/>
                    <a:gd name="T9" fmla="*/ 8 h 104"/>
                    <a:gd name="T10" fmla="*/ 27 w 128"/>
                    <a:gd name="T11" fmla="*/ 11 h 104"/>
                    <a:gd name="T12" fmla="*/ 31 w 128"/>
                    <a:gd name="T13" fmla="*/ 11 h 104"/>
                    <a:gd name="T14" fmla="*/ 34 w 128"/>
                    <a:gd name="T15" fmla="*/ 14 h 104"/>
                    <a:gd name="T16" fmla="*/ 36 w 128"/>
                    <a:gd name="T17" fmla="*/ 14 h 104"/>
                    <a:gd name="T18" fmla="*/ 39 w 128"/>
                    <a:gd name="T19" fmla="*/ 14 h 104"/>
                    <a:gd name="T20" fmla="*/ 41 w 128"/>
                    <a:gd name="T21" fmla="*/ 11 h 104"/>
                    <a:gd name="T22" fmla="*/ 41 w 128"/>
                    <a:gd name="T23" fmla="*/ 14 h 104"/>
                    <a:gd name="T24" fmla="*/ 41 w 128"/>
                    <a:gd name="T25" fmla="*/ 17 h 104"/>
                    <a:gd name="T26" fmla="*/ 44 w 128"/>
                    <a:gd name="T27" fmla="*/ 17 h 104"/>
                    <a:gd name="T28" fmla="*/ 44 w 128"/>
                    <a:gd name="T29" fmla="*/ 19 h 104"/>
                    <a:gd name="T30" fmla="*/ 41 w 128"/>
                    <a:gd name="T31" fmla="*/ 25 h 104"/>
                    <a:gd name="T32" fmla="*/ 39 w 128"/>
                    <a:gd name="T33" fmla="*/ 25 h 104"/>
                    <a:gd name="T34" fmla="*/ 34 w 128"/>
                    <a:gd name="T35" fmla="*/ 25 h 104"/>
                    <a:gd name="T36" fmla="*/ 31 w 128"/>
                    <a:gd name="T37" fmla="*/ 31 h 104"/>
                    <a:gd name="T38" fmla="*/ 31 w 128"/>
                    <a:gd name="T39" fmla="*/ 33 h 104"/>
                    <a:gd name="T40" fmla="*/ 27 w 128"/>
                    <a:gd name="T41" fmla="*/ 33 h 104"/>
                    <a:gd name="T42" fmla="*/ 25 w 128"/>
                    <a:gd name="T43" fmla="*/ 31 h 104"/>
                    <a:gd name="T44" fmla="*/ 19 w 128"/>
                    <a:gd name="T45" fmla="*/ 27 h 104"/>
                    <a:gd name="T46" fmla="*/ 17 w 128"/>
                    <a:gd name="T47" fmla="*/ 31 h 104"/>
                    <a:gd name="T48" fmla="*/ 11 w 128"/>
                    <a:gd name="T49" fmla="*/ 27 h 104"/>
                    <a:gd name="T50" fmla="*/ 8 w 128"/>
                    <a:gd name="T51" fmla="*/ 27 h 104"/>
                    <a:gd name="T52" fmla="*/ 6 w 128"/>
                    <a:gd name="T53" fmla="*/ 31 h 104"/>
                    <a:gd name="T54" fmla="*/ 8 w 128"/>
                    <a:gd name="T55" fmla="*/ 33 h 104"/>
                    <a:gd name="T56" fmla="*/ 8 w 128"/>
                    <a:gd name="T57" fmla="*/ 36 h 104"/>
                    <a:gd name="T58" fmla="*/ 6 w 128"/>
                    <a:gd name="T59" fmla="*/ 36 h 104"/>
                    <a:gd name="T60" fmla="*/ 3 w 128"/>
                    <a:gd name="T61" fmla="*/ 33 h 104"/>
                    <a:gd name="T62" fmla="*/ 0 w 128"/>
                    <a:gd name="T63" fmla="*/ 31 h 104"/>
                    <a:gd name="T64" fmla="*/ 3 w 128"/>
                    <a:gd name="T65" fmla="*/ 27 h 104"/>
                    <a:gd name="T66" fmla="*/ 8 w 128"/>
                    <a:gd name="T67" fmla="*/ 25 h 104"/>
                    <a:gd name="T68" fmla="*/ 8 w 128"/>
                    <a:gd name="T69" fmla="*/ 22 h 104"/>
                    <a:gd name="T70" fmla="*/ 8 w 128"/>
                    <a:gd name="T71" fmla="*/ 19 h 104"/>
                    <a:gd name="T72" fmla="*/ 11 w 128"/>
                    <a:gd name="T73" fmla="*/ 22 h 104"/>
                    <a:gd name="T74" fmla="*/ 14 w 128"/>
                    <a:gd name="T75" fmla="*/ 22 h 104"/>
                    <a:gd name="T76" fmla="*/ 14 w 128"/>
                    <a:gd name="T77" fmla="*/ 19 h 104"/>
                    <a:gd name="T78" fmla="*/ 17 w 128"/>
                    <a:gd name="T79" fmla="*/ 14 h 104"/>
                    <a:gd name="T80" fmla="*/ 17 w 128"/>
                    <a:gd name="T81" fmla="*/ 6 h 104"/>
                    <a:gd name="T82" fmla="*/ 17 w 128"/>
                    <a:gd name="T83" fmla="*/ 3 h 104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128"/>
                    <a:gd name="T127" fmla="*/ 0 h 104"/>
                    <a:gd name="T128" fmla="*/ 128 w 128"/>
                    <a:gd name="T129" fmla="*/ 104 h 104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128" h="104">
                      <a:moveTo>
                        <a:pt x="48" y="8"/>
                      </a:moveTo>
                      <a:lnTo>
                        <a:pt x="48" y="0"/>
                      </a:lnTo>
                      <a:lnTo>
                        <a:pt x="64" y="0"/>
                      </a:lnTo>
                      <a:lnTo>
                        <a:pt x="64" y="8"/>
                      </a:lnTo>
                      <a:lnTo>
                        <a:pt x="72" y="24"/>
                      </a:lnTo>
                      <a:lnTo>
                        <a:pt x="80" y="32"/>
                      </a:lnTo>
                      <a:lnTo>
                        <a:pt x="88" y="32"/>
                      </a:lnTo>
                      <a:lnTo>
                        <a:pt x="96" y="40"/>
                      </a:lnTo>
                      <a:lnTo>
                        <a:pt x="104" y="40"/>
                      </a:lnTo>
                      <a:lnTo>
                        <a:pt x="112" y="40"/>
                      </a:lnTo>
                      <a:lnTo>
                        <a:pt x="120" y="32"/>
                      </a:lnTo>
                      <a:lnTo>
                        <a:pt x="120" y="40"/>
                      </a:lnTo>
                      <a:lnTo>
                        <a:pt x="120" y="48"/>
                      </a:lnTo>
                      <a:lnTo>
                        <a:pt x="128" y="48"/>
                      </a:lnTo>
                      <a:lnTo>
                        <a:pt x="128" y="56"/>
                      </a:lnTo>
                      <a:lnTo>
                        <a:pt x="120" y="72"/>
                      </a:lnTo>
                      <a:lnTo>
                        <a:pt x="112" y="72"/>
                      </a:lnTo>
                      <a:lnTo>
                        <a:pt x="96" y="72"/>
                      </a:lnTo>
                      <a:lnTo>
                        <a:pt x="88" y="88"/>
                      </a:lnTo>
                      <a:lnTo>
                        <a:pt x="88" y="96"/>
                      </a:lnTo>
                      <a:lnTo>
                        <a:pt x="80" y="96"/>
                      </a:lnTo>
                      <a:lnTo>
                        <a:pt x="72" y="88"/>
                      </a:lnTo>
                      <a:lnTo>
                        <a:pt x="56" y="80"/>
                      </a:lnTo>
                      <a:lnTo>
                        <a:pt x="48" y="88"/>
                      </a:lnTo>
                      <a:lnTo>
                        <a:pt x="32" y="80"/>
                      </a:lnTo>
                      <a:lnTo>
                        <a:pt x="24" y="80"/>
                      </a:lnTo>
                      <a:lnTo>
                        <a:pt x="16" y="88"/>
                      </a:lnTo>
                      <a:lnTo>
                        <a:pt x="24" y="96"/>
                      </a:lnTo>
                      <a:lnTo>
                        <a:pt x="24" y="104"/>
                      </a:lnTo>
                      <a:lnTo>
                        <a:pt x="16" y="104"/>
                      </a:lnTo>
                      <a:lnTo>
                        <a:pt x="8" y="96"/>
                      </a:lnTo>
                      <a:lnTo>
                        <a:pt x="0" y="88"/>
                      </a:lnTo>
                      <a:lnTo>
                        <a:pt x="8" y="80"/>
                      </a:lnTo>
                      <a:lnTo>
                        <a:pt x="24" y="72"/>
                      </a:lnTo>
                      <a:lnTo>
                        <a:pt x="24" y="64"/>
                      </a:lnTo>
                      <a:lnTo>
                        <a:pt x="24" y="56"/>
                      </a:lnTo>
                      <a:lnTo>
                        <a:pt x="32" y="64"/>
                      </a:lnTo>
                      <a:lnTo>
                        <a:pt x="40" y="64"/>
                      </a:lnTo>
                      <a:lnTo>
                        <a:pt x="40" y="56"/>
                      </a:lnTo>
                      <a:lnTo>
                        <a:pt x="48" y="40"/>
                      </a:lnTo>
                      <a:lnTo>
                        <a:pt x="48" y="16"/>
                      </a:lnTo>
                      <a:lnTo>
                        <a:pt x="48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15" name="Freeform 172">
                  <a:extLst>
                    <a:ext uri="{FF2B5EF4-FFF2-40B4-BE49-F238E27FC236}">
                      <a16:creationId xmlns:a16="http://schemas.microsoft.com/office/drawing/2014/main" id="{1025F4C8-6AFD-9225-FDFB-AA9757AF922F}"/>
                    </a:ext>
                  </a:extLst>
                </p:cNvPr>
                <p:cNvSpPr/>
                <p:nvPr/>
              </p:nvSpPr>
              <p:spPr bwMode="gray">
                <a:xfrm>
                  <a:off x="4652" y="2234"/>
                  <a:ext cx="157" cy="146"/>
                </a:xfrm>
                <a:custGeom>
                  <a:avLst/>
                  <a:gdLst>
                    <a:gd name="T0" fmla="*/ 71 w 224"/>
                    <a:gd name="T1" fmla="*/ 0 h 208"/>
                    <a:gd name="T2" fmla="*/ 69 w 224"/>
                    <a:gd name="T3" fmla="*/ 3 h 208"/>
                    <a:gd name="T4" fmla="*/ 67 w 224"/>
                    <a:gd name="T5" fmla="*/ 3 h 208"/>
                    <a:gd name="T6" fmla="*/ 60 w 224"/>
                    <a:gd name="T7" fmla="*/ 8 h 208"/>
                    <a:gd name="T8" fmla="*/ 58 w 224"/>
                    <a:gd name="T9" fmla="*/ 27 h 208"/>
                    <a:gd name="T10" fmla="*/ 50 w 224"/>
                    <a:gd name="T11" fmla="*/ 39 h 208"/>
                    <a:gd name="T12" fmla="*/ 44 w 224"/>
                    <a:gd name="T13" fmla="*/ 41 h 208"/>
                    <a:gd name="T14" fmla="*/ 44 w 224"/>
                    <a:gd name="T15" fmla="*/ 36 h 208"/>
                    <a:gd name="T16" fmla="*/ 41 w 224"/>
                    <a:gd name="T17" fmla="*/ 39 h 208"/>
                    <a:gd name="T18" fmla="*/ 30 w 224"/>
                    <a:gd name="T19" fmla="*/ 53 h 208"/>
                    <a:gd name="T20" fmla="*/ 22 w 224"/>
                    <a:gd name="T21" fmla="*/ 53 h 208"/>
                    <a:gd name="T22" fmla="*/ 14 w 224"/>
                    <a:gd name="T23" fmla="*/ 53 h 208"/>
                    <a:gd name="T24" fmla="*/ 11 w 224"/>
                    <a:gd name="T25" fmla="*/ 55 h 208"/>
                    <a:gd name="T26" fmla="*/ 0 w 224"/>
                    <a:gd name="T27" fmla="*/ 61 h 208"/>
                    <a:gd name="T28" fmla="*/ 0 w 224"/>
                    <a:gd name="T29" fmla="*/ 67 h 208"/>
                    <a:gd name="T30" fmla="*/ 6 w 224"/>
                    <a:gd name="T31" fmla="*/ 67 h 208"/>
                    <a:gd name="T32" fmla="*/ 14 w 224"/>
                    <a:gd name="T33" fmla="*/ 64 h 208"/>
                    <a:gd name="T34" fmla="*/ 25 w 224"/>
                    <a:gd name="T35" fmla="*/ 58 h 208"/>
                    <a:gd name="T36" fmla="*/ 30 w 224"/>
                    <a:gd name="T37" fmla="*/ 64 h 208"/>
                    <a:gd name="T38" fmla="*/ 30 w 224"/>
                    <a:gd name="T39" fmla="*/ 69 h 208"/>
                    <a:gd name="T40" fmla="*/ 36 w 224"/>
                    <a:gd name="T41" fmla="*/ 69 h 208"/>
                    <a:gd name="T42" fmla="*/ 41 w 224"/>
                    <a:gd name="T43" fmla="*/ 67 h 208"/>
                    <a:gd name="T44" fmla="*/ 39 w 224"/>
                    <a:gd name="T45" fmla="*/ 61 h 208"/>
                    <a:gd name="T46" fmla="*/ 44 w 224"/>
                    <a:gd name="T47" fmla="*/ 58 h 208"/>
                    <a:gd name="T48" fmla="*/ 50 w 224"/>
                    <a:gd name="T49" fmla="*/ 61 h 208"/>
                    <a:gd name="T50" fmla="*/ 53 w 224"/>
                    <a:gd name="T51" fmla="*/ 61 h 208"/>
                    <a:gd name="T52" fmla="*/ 58 w 224"/>
                    <a:gd name="T53" fmla="*/ 55 h 208"/>
                    <a:gd name="T54" fmla="*/ 63 w 224"/>
                    <a:gd name="T55" fmla="*/ 53 h 208"/>
                    <a:gd name="T56" fmla="*/ 60 w 224"/>
                    <a:gd name="T57" fmla="*/ 58 h 208"/>
                    <a:gd name="T58" fmla="*/ 69 w 224"/>
                    <a:gd name="T59" fmla="*/ 53 h 208"/>
                    <a:gd name="T60" fmla="*/ 67 w 224"/>
                    <a:gd name="T61" fmla="*/ 47 h 208"/>
                    <a:gd name="T62" fmla="*/ 69 w 224"/>
                    <a:gd name="T63" fmla="*/ 36 h 208"/>
                    <a:gd name="T64" fmla="*/ 71 w 224"/>
                    <a:gd name="T65" fmla="*/ 31 h 208"/>
                    <a:gd name="T66" fmla="*/ 74 w 224"/>
                    <a:gd name="T67" fmla="*/ 25 h 208"/>
                    <a:gd name="T68" fmla="*/ 77 w 224"/>
                    <a:gd name="T69" fmla="*/ 14 h 208"/>
                    <a:gd name="T70" fmla="*/ 74 w 224"/>
                    <a:gd name="T71" fmla="*/ 8 h 208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24"/>
                    <a:gd name="T109" fmla="*/ 0 h 208"/>
                    <a:gd name="T110" fmla="*/ 224 w 224"/>
                    <a:gd name="T111" fmla="*/ 208 h 208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24" h="208">
                      <a:moveTo>
                        <a:pt x="208" y="16"/>
                      </a:moveTo>
                      <a:lnTo>
                        <a:pt x="208" y="0"/>
                      </a:lnTo>
                      <a:lnTo>
                        <a:pt x="200" y="0"/>
                      </a:lnTo>
                      <a:lnTo>
                        <a:pt x="200" y="8"/>
                      </a:lnTo>
                      <a:lnTo>
                        <a:pt x="200" y="16"/>
                      </a:lnTo>
                      <a:lnTo>
                        <a:pt x="192" y="8"/>
                      </a:lnTo>
                      <a:lnTo>
                        <a:pt x="184" y="8"/>
                      </a:lnTo>
                      <a:lnTo>
                        <a:pt x="176" y="24"/>
                      </a:lnTo>
                      <a:lnTo>
                        <a:pt x="176" y="64"/>
                      </a:lnTo>
                      <a:lnTo>
                        <a:pt x="168" y="80"/>
                      </a:lnTo>
                      <a:lnTo>
                        <a:pt x="152" y="104"/>
                      </a:lnTo>
                      <a:lnTo>
                        <a:pt x="144" y="112"/>
                      </a:lnTo>
                      <a:lnTo>
                        <a:pt x="144" y="120"/>
                      </a:lnTo>
                      <a:lnTo>
                        <a:pt x="128" y="120"/>
                      </a:lnTo>
                      <a:lnTo>
                        <a:pt x="120" y="120"/>
                      </a:lnTo>
                      <a:lnTo>
                        <a:pt x="128" y="104"/>
                      </a:lnTo>
                      <a:lnTo>
                        <a:pt x="120" y="104"/>
                      </a:lnTo>
                      <a:lnTo>
                        <a:pt x="120" y="112"/>
                      </a:lnTo>
                      <a:lnTo>
                        <a:pt x="120" y="120"/>
                      </a:lnTo>
                      <a:lnTo>
                        <a:pt x="88" y="152"/>
                      </a:lnTo>
                      <a:lnTo>
                        <a:pt x="80" y="152"/>
                      </a:lnTo>
                      <a:lnTo>
                        <a:pt x="64" y="152"/>
                      </a:lnTo>
                      <a:lnTo>
                        <a:pt x="56" y="160"/>
                      </a:lnTo>
                      <a:lnTo>
                        <a:pt x="40" y="152"/>
                      </a:lnTo>
                      <a:lnTo>
                        <a:pt x="32" y="152"/>
                      </a:lnTo>
                      <a:lnTo>
                        <a:pt x="32" y="160"/>
                      </a:lnTo>
                      <a:lnTo>
                        <a:pt x="8" y="176"/>
                      </a:lnTo>
                      <a:lnTo>
                        <a:pt x="0" y="176"/>
                      </a:lnTo>
                      <a:lnTo>
                        <a:pt x="0" y="184"/>
                      </a:lnTo>
                      <a:lnTo>
                        <a:pt x="0" y="192"/>
                      </a:lnTo>
                      <a:lnTo>
                        <a:pt x="8" y="192"/>
                      </a:lnTo>
                      <a:lnTo>
                        <a:pt x="16" y="192"/>
                      </a:lnTo>
                      <a:lnTo>
                        <a:pt x="24" y="192"/>
                      </a:lnTo>
                      <a:lnTo>
                        <a:pt x="40" y="184"/>
                      </a:lnTo>
                      <a:lnTo>
                        <a:pt x="48" y="176"/>
                      </a:lnTo>
                      <a:lnTo>
                        <a:pt x="72" y="168"/>
                      </a:lnTo>
                      <a:lnTo>
                        <a:pt x="88" y="176"/>
                      </a:lnTo>
                      <a:lnTo>
                        <a:pt x="88" y="184"/>
                      </a:lnTo>
                      <a:lnTo>
                        <a:pt x="88" y="192"/>
                      </a:lnTo>
                      <a:lnTo>
                        <a:pt x="88" y="200"/>
                      </a:lnTo>
                      <a:lnTo>
                        <a:pt x="96" y="208"/>
                      </a:lnTo>
                      <a:lnTo>
                        <a:pt x="104" y="200"/>
                      </a:lnTo>
                      <a:lnTo>
                        <a:pt x="104" y="192"/>
                      </a:lnTo>
                      <a:lnTo>
                        <a:pt x="120" y="192"/>
                      </a:lnTo>
                      <a:lnTo>
                        <a:pt x="112" y="184"/>
                      </a:lnTo>
                      <a:lnTo>
                        <a:pt x="112" y="176"/>
                      </a:lnTo>
                      <a:lnTo>
                        <a:pt x="112" y="168"/>
                      </a:lnTo>
                      <a:lnTo>
                        <a:pt x="128" y="168"/>
                      </a:lnTo>
                      <a:lnTo>
                        <a:pt x="128" y="176"/>
                      </a:lnTo>
                      <a:lnTo>
                        <a:pt x="144" y="176"/>
                      </a:lnTo>
                      <a:lnTo>
                        <a:pt x="152" y="168"/>
                      </a:lnTo>
                      <a:lnTo>
                        <a:pt x="152" y="176"/>
                      </a:lnTo>
                      <a:lnTo>
                        <a:pt x="160" y="176"/>
                      </a:lnTo>
                      <a:lnTo>
                        <a:pt x="168" y="160"/>
                      </a:lnTo>
                      <a:lnTo>
                        <a:pt x="176" y="152"/>
                      </a:lnTo>
                      <a:lnTo>
                        <a:pt x="184" y="152"/>
                      </a:lnTo>
                      <a:lnTo>
                        <a:pt x="184" y="160"/>
                      </a:lnTo>
                      <a:lnTo>
                        <a:pt x="176" y="168"/>
                      </a:lnTo>
                      <a:lnTo>
                        <a:pt x="184" y="168"/>
                      </a:lnTo>
                      <a:lnTo>
                        <a:pt x="200" y="152"/>
                      </a:lnTo>
                      <a:lnTo>
                        <a:pt x="192" y="144"/>
                      </a:lnTo>
                      <a:lnTo>
                        <a:pt x="192" y="136"/>
                      </a:lnTo>
                      <a:lnTo>
                        <a:pt x="208" y="112"/>
                      </a:lnTo>
                      <a:lnTo>
                        <a:pt x="200" y="104"/>
                      </a:lnTo>
                      <a:lnTo>
                        <a:pt x="200" y="88"/>
                      </a:lnTo>
                      <a:lnTo>
                        <a:pt x="208" y="88"/>
                      </a:lnTo>
                      <a:lnTo>
                        <a:pt x="216" y="88"/>
                      </a:lnTo>
                      <a:lnTo>
                        <a:pt x="216" y="72"/>
                      </a:lnTo>
                      <a:lnTo>
                        <a:pt x="224" y="56"/>
                      </a:lnTo>
                      <a:lnTo>
                        <a:pt x="224" y="40"/>
                      </a:lnTo>
                      <a:lnTo>
                        <a:pt x="224" y="32"/>
                      </a:lnTo>
                      <a:lnTo>
                        <a:pt x="216" y="24"/>
                      </a:lnTo>
                      <a:lnTo>
                        <a:pt x="208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16" name="Freeform 173">
                  <a:extLst>
                    <a:ext uri="{FF2B5EF4-FFF2-40B4-BE49-F238E27FC236}">
                      <a16:creationId xmlns:a16="http://schemas.microsoft.com/office/drawing/2014/main" id="{FB506EB9-215F-35B7-171F-F4CB87428565}"/>
                    </a:ext>
                  </a:extLst>
                </p:cNvPr>
                <p:cNvSpPr/>
                <p:nvPr/>
              </p:nvSpPr>
              <p:spPr bwMode="gray">
                <a:xfrm>
                  <a:off x="4668" y="2363"/>
                  <a:ext cx="34" cy="28"/>
                </a:xfrm>
                <a:custGeom>
                  <a:avLst/>
                  <a:gdLst>
                    <a:gd name="T0" fmla="*/ 17 w 48"/>
                    <a:gd name="T1" fmla="*/ 3 h 40"/>
                    <a:gd name="T2" fmla="*/ 14 w 48"/>
                    <a:gd name="T3" fmla="*/ 0 h 40"/>
                    <a:gd name="T4" fmla="*/ 11 w 48"/>
                    <a:gd name="T5" fmla="*/ 0 h 40"/>
                    <a:gd name="T6" fmla="*/ 9 w 48"/>
                    <a:gd name="T7" fmla="*/ 6 h 40"/>
                    <a:gd name="T8" fmla="*/ 3 w 48"/>
                    <a:gd name="T9" fmla="*/ 6 h 40"/>
                    <a:gd name="T10" fmla="*/ 0 w 48"/>
                    <a:gd name="T11" fmla="*/ 8 h 40"/>
                    <a:gd name="T12" fmla="*/ 3 w 48"/>
                    <a:gd name="T13" fmla="*/ 14 h 40"/>
                    <a:gd name="T14" fmla="*/ 6 w 48"/>
                    <a:gd name="T15" fmla="*/ 14 h 40"/>
                    <a:gd name="T16" fmla="*/ 6 w 48"/>
                    <a:gd name="T17" fmla="*/ 8 h 40"/>
                    <a:gd name="T18" fmla="*/ 9 w 48"/>
                    <a:gd name="T19" fmla="*/ 6 h 40"/>
                    <a:gd name="T20" fmla="*/ 11 w 48"/>
                    <a:gd name="T21" fmla="*/ 8 h 40"/>
                    <a:gd name="T22" fmla="*/ 14 w 48"/>
                    <a:gd name="T23" fmla="*/ 8 h 40"/>
                    <a:gd name="T24" fmla="*/ 17 w 48"/>
                    <a:gd name="T25" fmla="*/ 3 h 4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8"/>
                    <a:gd name="T40" fmla="*/ 0 h 40"/>
                    <a:gd name="T41" fmla="*/ 48 w 48"/>
                    <a:gd name="T42" fmla="*/ 40 h 4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8" h="40">
                      <a:moveTo>
                        <a:pt x="48" y="8"/>
                      </a:move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24" y="16"/>
                      </a:lnTo>
                      <a:lnTo>
                        <a:pt x="8" y="16"/>
                      </a:lnTo>
                      <a:lnTo>
                        <a:pt x="0" y="24"/>
                      </a:lnTo>
                      <a:lnTo>
                        <a:pt x="8" y="40"/>
                      </a:lnTo>
                      <a:lnTo>
                        <a:pt x="16" y="40"/>
                      </a:lnTo>
                      <a:lnTo>
                        <a:pt x="16" y="24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40" y="24"/>
                      </a:lnTo>
                      <a:lnTo>
                        <a:pt x="48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17" name="Freeform 174">
                  <a:extLst>
                    <a:ext uri="{FF2B5EF4-FFF2-40B4-BE49-F238E27FC236}">
                      <a16:creationId xmlns:a16="http://schemas.microsoft.com/office/drawing/2014/main" id="{7F2C44DD-3E3F-0AFC-E796-986FFCF06AD2}"/>
                    </a:ext>
                  </a:extLst>
                </p:cNvPr>
                <p:cNvSpPr/>
                <p:nvPr/>
              </p:nvSpPr>
              <p:spPr bwMode="gray">
                <a:xfrm>
                  <a:off x="4629" y="2369"/>
                  <a:ext cx="34" cy="50"/>
                </a:xfrm>
                <a:custGeom>
                  <a:avLst/>
                  <a:gdLst>
                    <a:gd name="T0" fmla="*/ 9 w 48"/>
                    <a:gd name="T1" fmla="*/ 0 h 72"/>
                    <a:gd name="T2" fmla="*/ 14 w 48"/>
                    <a:gd name="T3" fmla="*/ 6 h 72"/>
                    <a:gd name="T4" fmla="*/ 17 w 48"/>
                    <a:gd name="T5" fmla="*/ 10 h 72"/>
                    <a:gd name="T6" fmla="*/ 14 w 48"/>
                    <a:gd name="T7" fmla="*/ 16 h 72"/>
                    <a:gd name="T8" fmla="*/ 14 w 48"/>
                    <a:gd name="T9" fmla="*/ 22 h 72"/>
                    <a:gd name="T10" fmla="*/ 9 w 48"/>
                    <a:gd name="T11" fmla="*/ 24 h 72"/>
                    <a:gd name="T12" fmla="*/ 9 w 48"/>
                    <a:gd name="T13" fmla="*/ 19 h 72"/>
                    <a:gd name="T14" fmla="*/ 6 w 48"/>
                    <a:gd name="T15" fmla="*/ 19 h 72"/>
                    <a:gd name="T16" fmla="*/ 6 w 48"/>
                    <a:gd name="T17" fmla="*/ 22 h 72"/>
                    <a:gd name="T18" fmla="*/ 3 w 48"/>
                    <a:gd name="T19" fmla="*/ 22 h 72"/>
                    <a:gd name="T20" fmla="*/ 6 w 48"/>
                    <a:gd name="T21" fmla="*/ 16 h 72"/>
                    <a:gd name="T22" fmla="*/ 6 w 48"/>
                    <a:gd name="T23" fmla="*/ 13 h 72"/>
                    <a:gd name="T24" fmla="*/ 9 w 48"/>
                    <a:gd name="T25" fmla="*/ 10 h 72"/>
                    <a:gd name="T26" fmla="*/ 6 w 48"/>
                    <a:gd name="T27" fmla="*/ 8 h 72"/>
                    <a:gd name="T28" fmla="*/ 3 w 48"/>
                    <a:gd name="T29" fmla="*/ 10 h 72"/>
                    <a:gd name="T30" fmla="*/ 0 w 48"/>
                    <a:gd name="T31" fmla="*/ 8 h 72"/>
                    <a:gd name="T32" fmla="*/ 0 w 48"/>
                    <a:gd name="T33" fmla="*/ 6 h 72"/>
                    <a:gd name="T34" fmla="*/ 3 w 48"/>
                    <a:gd name="T35" fmla="*/ 3 h 72"/>
                    <a:gd name="T36" fmla="*/ 9 w 48"/>
                    <a:gd name="T37" fmla="*/ 0 h 7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48"/>
                    <a:gd name="T58" fmla="*/ 0 h 72"/>
                    <a:gd name="T59" fmla="*/ 48 w 48"/>
                    <a:gd name="T60" fmla="*/ 72 h 7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48" h="72">
                      <a:moveTo>
                        <a:pt x="24" y="0"/>
                      </a:moveTo>
                      <a:lnTo>
                        <a:pt x="40" y="16"/>
                      </a:lnTo>
                      <a:lnTo>
                        <a:pt x="48" y="32"/>
                      </a:lnTo>
                      <a:lnTo>
                        <a:pt x="40" y="48"/>
                      </a:lnTo>
                      <a:lnTo>
                        <a:pt x="40" y="64"/>
                      </a:lnTo>
                      <a:lnTo>
                        <a:pt x="24" y="72"/>
                      </a:lnTo>
                      <a:lnTo>
                        <a:pt x="24" y="56"/>
                      </a:lnTo>
                      <a:lnTo>
                        <a:pt x="16" y="56"/>
                      </a:lnTo>
                      <a:lnTo>
                        <a:pt x="16" y="64"/>
                      </a:lnTo>
                      <a:lnTo>
                        <a:pt x="8" y="64"/>
                      </a:lnTo>
                      <a:lnTo>
                        <a:pt x="16" y="48"/>
                      </a:lnTo>
                      <a:lnTo>
                        <a:pt x="16" y="40"/>
                      </a:lnTo>
                      <a:lnTo>
                        <a:pt x="24" y="32"/>
                      </a:lnTo>
                      <a:lnTo>
                        <a:pt x="16" y="24"/>
                      </a:lnTo>
                      <a:lnTo>
                        <a:pt x="8" y="32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18" name="Freeform 175">
                  <a:extLst>
                    <a:ext uri="{FF2B5EF4-FFF2-40B4-BE49-F238E27FC236}">
                      <a16:creationId xmlns:a16="http://schemas.microsoft.com/office/drawing/2014/main" id="{3017602F-8BE3-8948-721F-837169E60FFE}"/>
                    </a:ext>
                  </a:extLst>
                </p:cNvPr>
                <p:cNvSpPr/>
                <p:nvPr/>
              </p:nvSpPr>
              <p:spPr bwMode="gray">
                <a:xfrm>
                  <a:off x="4494" y="2515"/>
                  <a:ext cx="23" cy="45"/>
                </a:xfrm>
                <a:custGeom>
                  <a:avLst/>
                  <a:gdLst>
                    <a:gd name="T0" fmla="*/ 6 w 32"/>
                    <a:gd name="T1" fmla="*/ 0 h 64"/>
                    <a:gd name="T2" fmla="*/ 12 w 32"/>
                    <a:gd name="T3" fmla="*/ 0 h 64"/>
                    <a:gd name="T4" fmla="*/ 12 w 32"/>
                    <a:gd name="T5" fmla="*/ 11 h 64"/>
                    <a:gd name="T6" fmla="*/ 9 w 32"/>
                    <a:gd name="T7" fmla="*/ 14 h 64"/>
                    <a:gd name="T8" fmla="*/ 6 w 32"/>
                    <a:gd name="T9" fmla="*/ 23 h 64"/>
                    <a:gd name="T10" fmla="*/ 3 w 32"/>
                    <a:gd name="T11" fmla="*/ 23 h 64"/>
                    <a:gd name="T12" fmla="*/ 0 w 32"/>
                    <a:gd name="T13" fmla="*/ 19 h 64"/>
                    <a:gd name="T14" fmla="*/ 0 w 32"/>
                    <a:gd name="T15" fmla="*/ 11 h 64"/>
                    <a:gd name="T16" fmla="*/ 6 w 32"/>
                    <a:gd name="T17" fmla="*/ 6 h 64"/>
                    <a:gd name="T18" fmla="*/ 6 w 32"/>
                    <a:gd name="T19" fmla="*/ 0 h 6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2"/>
                    <a:gd name="T31" fmla="*/ 0 h 64"/>
                    <a:gd name="T32" fmla="*/ 32 w 32"/>
                    <a:gd name="T33" fmla="*/ 64 h 6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2" h="64">
                      <a:moveTo>
                        <a:pt x="16" y="0"/>
                      </a:moveTo>
                      <a:lnTo>
                        <a:pt x="32" y="0"/>
                      </a:lnTo>
                      <a:lnTo>
                        <a:pt x="32" y="32"/>
                      </a:lnTo>
                      <a:lnTo>
                        <a:pt x="24" y="40"/>
                      </a:lnTo>
                      <a:lnTo>
                        <a:pt x="16" y="64"/>
                      </a:lnTo>
                      <a:lnTo>
                        <a:pt x="8" y="64"/>
                      </a:lnTo>
                      <a:lnTo>
                        <a:pt x="0" y="56"/>
                      </a:lnTo>
                      <a:lnTo>
                        <a:pt x="0" y="32"/>
                      </a:lnTo>
                      <a:lnTo>
                        <a:pt x="16" y="16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19" name="Freeform 176">
                  <a:extLst>
                    <a:ext uri="{FF2B5EF4-FFF2-40B4-BE49-F238E27FC236}">
                      <a16:creationId xmlns:a16="http://schemas.microsoft.com/office/drawing/2014/main" id="{9747E501-1FBF-C285-6518-CF59DB50D158}"/>
                    </a:ext>
                  </a:extLst>
                </p:cNvPr>
                <p:cNvSpPr/>
                <p:nvPr/>
              </p:nvSpPr>
              <p:spPr bwMode="gray">
                <a:xfrm>
                  <a:off x="4550" y="2206"/>
                  <a:ext cx="96" cy="101"/>
                </a:xfrm>
                <a:custGeom>
                  <a:avLst/>
                  <a:gdLst>
                    <a:gd name="T0" fmla="*/ 48 w 136"/>
                    <a:gd name="T1" fmla="*/ 3 h 144"/>
                    <a:gd name="T2" fmla="*/ 45 w 136"/>
                    <a:gd name="T3" fmla="*/ 3 h 144"/>
                    <a:gd name="T4" fmla="*/ 42 w 136"/>
                    <a:gd name="T5" fmla="*/ 0 h 144"/>
                    <a:gd name="T6" fmla="*/ 34 w 136"/>
                    <a:gd name="T7" fmla="*/ 8 h 144"/>
                    <a:gd name="T8" fmla="*/ 28 w 136"/>
                    <a:gd name="T9" fmla="*/ 6 h 144"/>
                    <a:gd name="T10" fmla="*/ 31 w 136"/>
                    <a:gd name="T11" fmla="*/ 14 h 144"/>
                    <a:gd name="T12" fmla="*/ 28 w 136"/>
                    <a:gd name="T13" fmla="*/ 17 h 144"/>
                    <a:gd name="T14" fmla="*/ 23 w 136"/>
                    <a:gd name="T15" fmla="*/ 17 h 144"/>
                    <a:gd name="T16" fmla="*/ 23 w 136"/>
                    <a:gd name="T17" fmla="*/ 11 h 144"/>
                    <a:gd name="T18" fmla="*/ 20 w 136"/>
                    <a:gd name="T19" fmla="*/ 11 h 144"/>
                    <a:gd name="T20" fmla="*/ 14 w 136"/>
                    <a:gd name="T21" fmla="*/ 19 h 144"/>
                    <a:gd name="T22" fmla="*/ 3 w 136"/>
                    <a:gd name="T23" fmla="*/ 22 h 144"/>
                    <a:gd name="T24" fmla="*/ 0 w 136"/>
                    <a:gd name="T25" fmla="*/ 30 h 144"/>
                    <a:gd name="T26" fmla="*/ 3 w 136"/>
                    <a:gd name="T27" fmla="*/ 30 h 144"/>
                    <a:gd name="T28" fmla="*/ 6 w 136"/>
                    <a:gd name="T29" fmla="*/ 33 h 144"/>
                    <a:gd name="T30" fmla="*/ 8 w 136"/>
                    <a:gd name="T31" fmla="*/ 33 h 144"/>
                    <a:gd name="T32" fmla="*/ 8 w 136"/>
                    <a:gd name="T33" fmla="*/ 36 h 144"/>
                    <a:gd name="T34" fmla="*/ 8 w 136"/>
                    <a:gd name="T35" fmla="*/ 41 h 144"/>
                    <a:gd name="T36" fmla="*/ 3 w 136"/>
                    <a:gd name="T37" fmla="*/ 44 h 144"/>
                    <a:gd name="T38" fmla="*/ 6 w 136"/>
                    <a:gd name="T39" fmla="*/ 50 h 144"/>
                    <a:gd name="T40" fmla="*/ 11 w 136"/>
                    <a:gd name="T41" fmla="*/ 50 h 144"/>
                    <a:gd name="T42" fmla="*/ 14 w 136"/>
                    <a:gd name="T43" fmla="*/ 47 h 144"/>
                    <a:gd name="T44" fmla="*/ 20 w 136"/>
                    <a:gd name="T45" fmla="*/ 41 h 144"/>
                    <a:gd name="T46" fmla="*/ 31 w 136"/>
                    <a:gd name="T47" fmla="*/ 39 h 144"/>
                    <a:gd name="T48" fmla="*/ 25 w 136"/>
                    <a:gd name="T49" fmla="*/ 36 h 144"/>
                    <a:gd name="T50" fmla="*/ 23 w 136"/>
                    <a:gd name="T51" fmla="*/ 36 h 144"/>
                    <a:gd name="T52" fmla="*/ 23 w 136"/>
                    <a:gd name="T53" fmla="*/ 30 h 144"/>
                    <a:gd name="T54" fmla="*/ 25 w 136"/>
                    <a:gd name="T55" fmla="*/ 27 h 144"/>
                    <a:gd name="T56" fmla="*/ 31 w 136"/>
                    <a:gd name="T57" fmla="*/ 27 h 144"/>
                    <a:gd name="T58" fmla="*/ 37 w 136"/>
                    <a:gd name="T59" fmla="*/ 22 h 144"/>
                    <a:gd name="T60" fmla="*/ 42 w 136"/>
                    <a:gd name="T61" fmla="*/ 17 h 144"/>
                    <a:gd name="T62" fmla="*/ 42 w 136"/>
                    <a:gd name="T63" fmla="*/ 14 h 144"/>
                    <a:gd name="T64" fmla="*/ 42 w 136"/>
                    <a:gd name="T65" fmla="*/ 8 h 144"/>
                    <a:gd name="T66" fmla="*/ 45 w 136"/>
                    <a:gd name="T67" fmla="*/ 3 h 144"/>
                    <a:gd name="T68" fmla="*/ 48 w 136"/>
                    <a:gd name="T69" fmla="*/ 3 h 144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36"/>
                    <a:gd name="T106" fmla="*/ 0 h 144"/>
                    <a:gd name="T107" fmla="*/ 136 w 136"/>
                    <a:gd name="T108" fmla="*/ 144 h 144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36" h="144">
                      <a:moveTo>
                        <a:pt x="136" y="8"/>
                      </a:moveTo>
                      <a:lnTo>
                        <a:pt x="128" y="8"/>
                      </a:lnTo>
                      <a:lnTo>
                        <a:pt x="120" y="0"/>
                      </a:lnTo>
                      <a:lnTo>
                        <a:pt x="96" y="24"/>
                      </a:lnTo>
                      <a:lnTo>
                        <a:pt x="80" y="16"/>
                      </a:lnTo>
                      <a:lnTo>
                        <a:pt x="88" y="40"/>
                      </a:lnTo>
                      <a:lnTo>
                        <a:pt x="80" y="48"/>
                      </a:lnTo>
                      <a:lnTo>
                        <a:pt x="64" y="48"/>
                      </a:lnTo>
                      <a:lnTo>
                        <a:pt x="64" y="32"/>
                      </a:lnTo>
                      <a:lnTo>
                        <a:pt x="56" y="32"/>
                      </a:lnTo>
                      <a:lnTo>
                        <a:pt x="40" y="56"/>
                      </a:lnTo>
                      <a:lnTo>
                        <a:pt x="8" y="64"/>
                      </a:lnTo>
                      <a:lnTo>
                        <a:pt x="0" y="88"/>
                      </a:lnTo>
                      <a:lnTo>
                        <a:pt x="8" y="88"/>
                      </a:lnTo>
                      <a:lnTo>
                        <a:pt x="16" y="96"/>
                      </a:lnTo>
                      <a:lnTo>
                        <a:pt x="24" y="96"/>
                      </a:lnTo>
                      <a:lnTo>
                        <a:pt x="24" y="104"/>
                      </a:lnTo>
                      <a:lnTo>
                        <a:pt x="24" y="120"/>
                      </a:lnTo>
                      <a:lnTo>
                        <a:pt x="8" y="128"/>
                      </a:lnTo>
                      <a:lnTo>
                        <a:pt x="16" y="144"/>
                      </a:lnTo>
                      <a:lnTo>
                        <a:pt x="32" y="144"/>
                      </a:lnTo>
                      <a:lnTo>
                        <a:pt x="40" y="136"/>
                      </a:lnTo>
                      <a:lnTo>
                        <a:pt x="56" y="120"/>
                      </a:lnTo>
                      <a:lnTo>
                        <a:pt x="88" y="112"/>
                      </a:lnTo>
                      <a:lnTo>
                        <a:pt x="72" y="104"/>
                      </a:lnTo>
                      <a:lnTo>
                        <a:pt x="64" y="104"/>
                      </a:lnTo>
                      <a:lnTo>
                        <a:pt x="64" y="88"/>
                      </a:lnTo>
                      <a:lnTo>
                        <a:pt x="72" y="80"/>
                      </a:lnTo>
                      <a:lnTo>
                        <a:pt x="88" y="80"/>
                      </a:lnTo>
                      <a:lnTo>
                        <a:pt x="104" y="64"/>
                      </a:lnTo>
                      <a:lnTo>
                        <a:pt x="120" y="48"/>
                      </a:lnTo>
                      <a:lnTo>
                        <a:pt x="120" y="40"/>
                      </a:lnTo>
                      <a:lnTo>
                        <a:pt x="120" y="24"/>
                      </a:lnTo>
                      <a:lnTo>
                        <a:pt x="128" y="8"/>
                      </a:lnTo>
                      <a:lnTo>
                        <a:pt x="136" y="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20" name="Freeform 177">
                  <a:extLst>
                    <a:ext uri="{FF2B5EF4-FFF2-40B4-BE49-F238E27FC236}">
                      <a16:creationId xmlns:a16="http://schemas.microsoft.com/office/drawing/2014/main" id="{97A75BC5-62E8-116E-B1E3-C7B9DEAF230E}"/>
                    </a:ext>
                  </a:extLst>
                </p:cNvPr>
                <p:cNvSpPr/>
                <p:nvPr/>
              </p:nvSpPr>
              <p:spPr bwMode="gray">
                <a:xfrm>
                  <a:off x="3819" y="1965"/>
                  <a:ext cx="889" cy="619"/>
                </a:xfrm>
                <a:custGeom>
                  <a:avLst/>
                  <a:gdLst>
                    <a:gd name="T0" fmla="*/ 384 w 1264"/>
                    <a:gd name="T1" fmla="*/ 128 h 880"/>
                    <a:gd name="T2" fmla="*/ 395 w 1264"/>
                    <a:gd name="T3" fmla="*/ 125 h 880"/>
                    <a:gd name="T4" fmla="*/ 418 w 1264"/>
                    <a:gd name="T5" fmla="*/ 94 h 880"/>
                    <a:gd name="T6" fmla="*/ 440 w 1264"/>
                    <a:gd name="T7" fmla="*/ 58 h 880"/>
                    <a:gd name="T8" fmla="*/ 412 w 1264"/>
                    <a:gd name="T9" fmla="*/ 67 h 880"/>
                    <a:gd name="T10" fmla="*/ 387 w 1264"/>
                    <a:gd name="T11" fmla="*/ 36 h 880"/>
                    <a:gd name="T12" fmla="*/ 356 w 1264"/>
                    <a:gd name="T13" fmla="*/ 0 h 880"/>
                    <a:gd name="T14" fmla="*/ 331 w 1264"/>
                    <a:gd name="T15" fmla="*/ 25 h 880"/>
                    <a:gd name="T16" fmla="*/ 309 w 1264"/>
                    <a:gd name="T17" fmla="*/ 44 h 880"/>
                    <a:gd name="T18" fmla="*/ 303 w 1264"/>
                    <a:gd name="T19" fmla="*/ 70 h 880"/>
                    <a:gd name="T20" fmla="*/ 331 w 1264"/>
                    <a:gd name="T21" fmla="*/ 78 h 880"/>
                    <a:gd name="T22" fmla="*/ 312 w 1264"/>
                    <a:gd name="T23" fmla="*/ 84 h 880"/>
                    <a:gd name="T24" fmla="*/ 295 w 1264"/>
                    <a:gd name="T25" fmla="*/ 89 h 880"/>
                    <a:gd name="T26" fmla="*/ 273 w 1264"/>
                    <a:gd name="T27" fmla="*/ 111 h 880"/>
                    <a:gd name="T28" fmla="*/ 239 w 1264"/>
                    <a:gd name="T29" fmla="*/ 122 h 880"/>
                    <a:gd name="T30" fmla="*/ 200 w 1264"/>
                    <a:gd name="T31" fmla="*/ 120 h 880"/>
                    <a:gd name="T32" fmla="*/ 172 w 1264"/>
                    <a:gd name="T33" fmla="*/ 122 h 880"/>
                    <a:gd name="T34" fmla="*/ 128 w 1264"/>
                    <a:gd name="T35" fmla="*/ 94 h 880"/>
                    <a:gd name="T36" fmla="*/ 101 w 1264"/>
                    <a:gd name="T37" fmla="*/ 53 h 880"/>
                    <a:gd name="T38" fmla="*/ 78 w 1264"/>
                    <a:gd name="T39" fmla="*/ 75 h 880"/>
                    <a:gd name="T40" fmla="*/ 56 w 1264"/>
                    <a:gd name="T41" fmla="*/ 92 h 880"/>
                    <a:gd name="T42" fmla="*/ 48 w 1264"/>
                    <a:gd name="T43" fmla="*/ 122 h 880"/>
                    <a:gd name="T44" fmla="*/ 23 w 1264"/>
                    <a:gd name="T45" fmla="*/ 142 h 880"/>
                    <a:gd name="T46" fmla="*/ 3 w 1264"/>
                    <a:gd name="T47" fmla="*/ 156 h 880"/>
                    <a:gd name="T48" fmla="*/ 11 w 1264"/>
                    <a:gd name="T49" fmla="*/ 172 h 880"/>
                    <a:gd name="T50" fmla="*/ 31 w 1264"/>
                    <a:gd name="T51" fmla="*/ 186 h 880"/>
                    <a:gd name="T52" fmla="*/ 39 w 1264"/>
                    <a:gd name="T53" fmla="*/ 200 h 880"/>
                    <a:gd name="T54" fmla="*/ 34 w 1264"/>
                    <a:gd name="T55" fmla="*/ 209 h 880"/>
                    <a:gd name="T56" fmla="*/ 44 w 1264"/>
                    <a:gd name="T57" fmla="*/ 223 h 880"/>
                    <a:gd name="T58" fmla="*/ 86 w 1264"/>
                    <a:gd name="T59" fmla="*/ 245 h 880"/>
                    <a:gd name="T60" fmla="*/ 120 w 1264"/>
                    <a:gd name="T61" fmla="*/ 245 h 880"/>
                    <a:gd name="T62" fmla="*/ 161 w 1264"/>
                    <a:gd name="T63" fmla="*/ 234 h 880"/>
                    <a:gd name="T64" fmla="*/ 178 w 1264"/>
                    <a:gd name="T65" fmla="*/ 253 h 880"/>
                    <a:gd name="T66" fmla="*/ 184 w 1264"/>
                    <a:gd name="T67" fmla="*/ 287 h 880"/>
                    <a:gd name="T68" fmla="*/ 198 w 1264"/>
                    <a:gd name="T69" fmla="*/ 301 h 880"/>
                    <a:gd name="T70" fmla="*/ 209 w 1264"/>
                    <a:gd name="T71" fmla="*/ 287 h 880"/>
                    <a:gd name="T72" fmla="*/ 236 w 1264"/>
                    <a:gd name="T73" fmla="*/ 287 h 880"/>
                    <a:gd name="T74" fmla="*/ 248 w 1264"/>
                    <a:gd name="T75" fmla="*/ 298 h 880"/>
                    <a:gd name="T76" fmla="*/ 262 w 1264"/>
                    <a:gd name="T77" fmla="*/ 306 h 880"/>
                    <a:gd name="T78" fmla="*/ 276 w 1264"/>
                    <a:gd name="T79" fmla="*/ 298 h 880"/>
                    <a:gd name="T80" fmla="*/ 289 w 1264"/>
                    <a:gd name="T81" fmla="*/ 289 h 880"/>
                    <a:gd name="T82" fmla="*/ 306 w 1264"/>
                    <a:gd name="T83" fmla="*/ 287 h 880"/>
                    <a:gd name="T84" fmla="*/ 323 w 1264"/>
                    <a:gd name="T85" fmla="*/ 273 h 880"/>
                    <a:gd name="T86" fmla="*/ 334 w 1264"/>
                    <a:gd name="T87" fmla="*/ 259 h 880"/>
                    <a:gd name="T88" fmla="*/ 343 w 1264"/>
                    <a:gd name="T89" fmla="*/ 243 h 880"/>
                    <a:gd name="T90" fmla="*/ 339 w 1264"/>
                    <a:gd name="T91" fmla="*/ 231 h 880"/>
                    <a:gd name="T92" fmla="*/ 345 w 1264"/>
                    <a:gd name="T93" fmla="*/ 220 h 880"/>
                    <a:gd name="T94" fmla="*/ 339 w 1264"/>
                    <a:gd name="T95" fmla="*/ 209 h 880"/>
                    <a:gd name="T96" fmla="*/ 326 w 1264"/>
                    <a:gd name="T97" fmla="*/ 189 h 880"/>
                    <a:gd name="T98" fmla="*/ 339 w 1264"/>
                    <a:gd name="T99" fmla="*/ 178 h 880"/>
                    <a:gd name="T100" fmla="*/ 351 w 1264"/>
                    <a:gd name="T101" fmla="*/ 167 h 880"/>
                    <a:gd name="T102" fmla="*/ 326 w 1264"/>
                    <a:gd name="T103" fmla="*/ 165 h 880"/>
                    <a:gd name="T104" fmla="*/ 326 w 1264"/>
                    <a:gd name="T105" fmla="*/ 153 h 880"/>
                    <a:gd name="T106" fmla="*/ 339 w 1264"/>
                    <a:gd name="T107" fmla="*/ 139 h 880"/>
                    <a:gd name="T108" fmla="*/ 345 w 1264"/>
                    <a:gd name="T109" fmla="*/ 156 h 88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264"/>
                    <a:gd name="T166" fmla="*/ 0 h 880"/>
                    <a:gd name="T167" fmla="*/ 1264 w 1264"/>
                    <a:gd name="T168" fmla="*/ 880 h 88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264" h="880">
                      <a:moveTo>
                        <a:pt x="1040" y="424"/>
                      </a:moveTo>
                      <a:lnTo>
                        <a:pt x="1048" y="400"/>
                      </a:lnTo>
                      <a:lnTo>
                        <a:pt x="1080" y="392"/>
                      </a:lnTo>
                      <a:lnTo>
                        <a:pt x="1096" y="368"/>
                      </a:lnTo>
                      <a:lnTo>
                        <a:pt x="1104" y="368"/>
                      </a:lnTo>
                      <a:lnTo>
                        <a:pt x="1104" y="384"/>
                      </a:lnTo>
                      <a:lnTo>
                        <a:pt x="1120" y="384"/>
                      </a:lnTo>
                      <a:lnTo>
                        <a:pt x="1128" y="376"/>
                      </a:lnTo>
                      <a:lnTo>
                        <a:pt x="1120" y="352"/>
                      </a:lnTo>
                      <a:lnTo>
                        <a:pt x="1136" y="360"/>
                      </a:lnTo>
                      <a:lnTo>
                        <a:pt x="1168" y="344"/>
                      </a:lnTo>
                      <a:lnTo>
                        <a:pt x="1184" y="328"/>
                      </a:lnTo>
                      <a:lnTo>
                        <a:pt x="1192" y="304"/>
                      </a:lnTo>
                      <a:lnTo>
                        <a:pt x="1176" y="280"/>
                      </a:lnTo>
                      <a:lnTo>
                        <a:pt x="1200" y="272"/>
                      </a:lnTo>
                      <a:lnTo>
                        <a:pt x="1216" y="272"/>
                      </a:lnTo>
                      <a:lnTo>
                        <a:pt x="1232" y="264"/>
                      </a:lnTo>
                      <a:lnTo>
                        <a:pt x="1240" y="224"/>
                      </a:lnTo>
                      <a:lnTo>
                        <a:pt x="1256" y="208"/>
                      </a:lnTo>
                      <a:lnTo>
                        <a:pt x="1264" y="168"/>
                      </a:lnTo>
                      <a:lnTo>
                        <a:pt x="1256" y="168"/>
                      </a:lnTo>
                      <a:lnTo>
                        <a:pt x="1232" y="184"/>
                      </a:lnTo>
                      <a:lnTo>
                        <a:pt x="1208" y="184"/>
                      </a:lnTo>
                      <a:lnTo>
                        <a:pt x="1200" y="192"/>
                      </a:lnTo>
                      <a:lnTo>
                        <a:pt x="1184" y="192"/>
                      </a:lnTo>
                      <a:lnTo>
                        <a:pt x="1176" y="160"/>
                      </a:lnTo>
                      <a:lnTo>
                        <a:pt x="1152" y="136"/>
                      </a:lnTo>
                      <a:lnTo>
                        <a:pt x="1136" y="128"/>
                      </a:lnTo>
                      <a:lnTo>
                        <a:pt x="1112" y="128"/>
                      </a:lnTo>
                      <a:lnTo>
                        <a:pt x="1112" y="104"/>
                      </a:lnTo>
                      <a:lnTo>
                        <a:pt x="1096" y="72"/>
                      </a:lnTo>
                      <a:lnTo>
                        <a:pt x="1096" y="56"/>
                      </a:lnTo>
                      <a:lnTo>
                        <a:pt x="1072" y="16"/>
                      </a:lnTo>
                      <a:lnTo>
                        <a:pt x="1056" y="16"/>
                      </a:lnTo>
                      <a:lnTo>
                        <a:pt x="1024" y="0"/>
                      </a:lnTo>
                      <a:lnTo>
                        <a:pt x="976" y="8"/>
                      </a:lnTo>
                      <a:lnTo>
                        <a:pt x="952" y="40"/>
                      </a:lnTo>
                      <a:lnTo>
                        <a:pt x="968" y="40"/>
                      </a:lnTo>
                      <a:lnTo>
                        <a:pt x="968" y="56"/>
                      </a:lnTo>
                      <a:lnTo>
                        <a:pt x="952" y="72"/>
                      </a:lnTo>
                      <a:lnTo>
                        <a:pt x="944" y="96"/>
                      </a:lnTo>
                      <a:lnTo>
                        <a:pt x="936" y="104"/>
                      </a:lnTo>
                      <a:lnTo>
                        <a:pt x="936" y="120"/>
                      </a:lnTo>
                      <a:lnTo>
                        <a:pt x="904" y="144"/>
                      </a:lnTo>
                      <a:lnTo>
                        <a:pt x="888" y="128"/>
                      </a:lnTo>
                      <a:lnTo>
                        <a:pt x="888" y="136"/>
                      </a:lnTo>
                      <a:lnTo>
                        <a:pt x="872" y="168"/>
                      </a:lnTo>
                      <a:lnTo>
                        <a:pt x="864" y="184"/>
                      </a:lnTo>
                      <a:lnTo>
                        <a:pt x="864" y="192"/>
                      </a:lnTo>
                      <a:lnTo>
                        <a:pt x="872" y="200"/>
                      </a:lnTo>
                      <a:lnTo>
                        <a:pt x="880" y="192"/>
                      </a:lnTo>
                      <a:lnTo>
                        <a:pt x="896" y="200"/>
                      </a:lnTo>
                      <a:lnTo>
                        <a:pt x="904" y="184"/>
                      </a:lnTo>
                      <a:lnTo>
                        <a:pt x="944" y="200"/>
                      </a:lnTo>
                      <a:lnTo>
                        <a:pt x="952" y="224"/>
                      </a:lnTo>
                      <a:lnTo>
                        <a:pt x="944" y="224"/>
                      </a:lnTo>
                      <a:lnTo>
                        <a:pt x="928" y="224"/>
                      </a:lnTo>
                      <a:lnTo>
                        <a:pt x="912" y="224"/>
                      </a:lnTo>
                      <a:lnTo>
                        <a:pt x="912" y="232"/>
                      </a:lnTo>
                      <a:lnTo>
                        <a:pt x="896" y="240"/>
                      </a:lnTo>
                      <a:lnTo>
                        <a:pt x="888" y="232"/>
                      </a:lnTo>
                      <a:lnTo>
                        <a:pt x="880" y="232"/>
                      </a:lnTo>
                      <a:lnTo>
                        <a:pt x="872" y="264"/>
                      </a:lnTo>
                      <a:lnTo>
                        <a:pt x="856" y="264"/>
                      </a:lnTo>
                      <a:lnTo>
                        <a:pt x="848" y="256"/>
                      </a:lnTo>
                      <a:lnTo>
                        <a:pt x="824" y="280"/>
                      </a:lnTo>
                      <a:lnTo>
                        <a:pt x="792" y="272"/>
                      </a:lnTo>
                      <a:lnTo>
                        <a:pt x="776" y="296"/>
                      </a:lnTo>
                      <a:lnTo>
                        <a:pt x="792" y="304"/>
                      </a:lnTo>
                      <a:lnTo>
                        <a:pt x="784" y="320"/>
                      </a:lnTo>
                      <a:lnTo>
                        <a:pt x="768" y="320"/>
                      </a:lnTo>
                      <a:lnTo>
                        <a:pt x="752" y="344"/>
                      </a:lnTo>
                      <a:lnTo>
                        <a:pt x="720" y="352"/>
                      </a:lnTo>
                      <a:lnTo>
                        <a:pt x="704" y="360"/>
                      </a:lnTo>
                      <a:lnTo>
                        <a:pt x="688" y="352"/>
                      </a:lnTo>
                      <a:lnTo>
                        <a:pt x="656" y="368"/>
                      </a:lnTo>
                      <a:lnTo>
                        <a:pt x="640" y="368"/>
                      </a:lnTo>
                      <a:lnTo>
                        <a:pt x="624" y="360"/>
                      </a:lnTo>
                      <a:lnTo>
                        <a:pt x="600" y="360"/>
                      </a:lnTo>
                      <a:lnTo>
                        <a:pt x="576" y="344"/>
                      </a:lnTo>
                      <a:lnTo>
                        <a:pt x="544" y="336"/>
                      </a:lnTo>
                      <a:lnTo>
                        <a:pt x="520" y="344"/>
                      </a:lnTo>
                      <a:lnTo>
                        <a:pt x="504" y="336"/>
                      </a:lnTo>
                      <a:lnTo>
                        <a:pt x="504" y="344"/>
                      </a:lnTo>
                      <a:lnTo>
                        <a:pt x="496" y="352"/>
                      </a:lnTo>
                      <a:lnTo>
                        <a:pt x="472" y="352"/>
                      </a:lnTo>
                      <a:lnTo>
                        <a:pt x="456" y="328"/>
                      </a:lnTo>
                      <a:lnTo>
                        <a:pt x="464" y="304"/>
                      </a:lnTo>
                      <a:lnTo>
                        <a:pt x="392" y="280"/>
                      </a:lnTo>
                      <a:lnTo>
                        <a:pt x="368" y="272"/>
                      </a:lnTo>
                      <a:lnTo>
                        <a:pt x="352" y="248"/>
                      </a:lnTo>
                      <a:lnTo>
                        <a:pt x="368" y="232"/>
                      </a:lnTo>
                      <a:lnTo>
                        <a:pt x="336" y="192"/>
                      </a:lnTo>
                      <a:lnTo>
                        <a:pt x="312" y="192"/>
                      </a:lnTo>
                      <a:lnTo>
                        <a:pt x="288" y="152"/>
                      </a:lnTo>
                      <a:lnTo>
                        <a:pt x="280" y="152"/>
                      </a:lnTo>
                      <a:lnTo>
                        <a:pt x="240" y="184"/>
                      </a:lnTo>
                      <a:lnTo>
                        <a:pt x="248" y="216"/>
                      </a:lnTo>
                      <a:lnTo>
                        <a:pt x="240" y="224"/>
                      </a:lnTo>
                      <a:lnTo>
                        <a:pt x="224" y="216"/>
                      </a:lnTo>
                      <a:lnTo>
                        <a:pt x="200" y="216"/>
                      </a:lnTo>
                      <a:lnTo>
                        <a:pt x="184" y="256"/>
                      </a:lnTo>
                      <a:lnTo>
                        <a:pt x="184" y="272"/>
                      </a:lnTo>
                      <a:lnTo>
                        <a:pt x="176" y="280"/>
                      </a:lnTo>
                      <a:lnTo>
                        <a:pt x="160" y="264"/>
                      </a:lnTo>
                      <a:lnTo>
                        <a:pt x="120" y="280"/>
                      </a:lnTo>
                      <a:lnTo>
                        <a:pt x="136" y="296"/>
                      </a:lnTo>
                      <a:lnTo>
                        <a:pt x="136" y="320"/>
                      </a:lnTo>
                      <a:lnTo>
                        <a:pt x="144" y="328"/>
                      </a:lnTo>
                      <a:lnTo>
                        <a:pt x="136" y="352"/>
                      </a:lnTo>
                      <a:lnTo>
                        <a:pt x="120" y="368"/>
                      </a:lnTo>
                      <a:lnTo>
                        <a:pt x="96" y="376"/>
                      </a:lnTo>
                      <a:lnTo>
                        <a:pt x="80" y="384"/>
                      </a:lnTo>
                      <a:lnTo>
                        <a:pt x="64" y="392"/>
                      </a:lnTo>
                      <a:lnTo>
                        <a:pt x="64" y="408"/>
                      </a:lnTo>
                      <a:lnTo>
                        <a:pt x="48" y="408"/>
                      </a:lnTo>
                      <a:lnTo>
                        <a:pt x="40" y="400"/>
                      </a:lnTo>
                      <a:lnTo>
                        <a:pt x="8" y="416"/>
                      </a:lnTo>
                      <a:lnTo>
                        <a:pt x="0" y="432"/>
                      </a:lnTo>
                      <a:lnTo>
                        <a:pt x="8" y="448"/>
                      </a:lnTo>
                      <a:lnTo>
                        <a:pt x="24" y="448"/>
                      </a:lnTo>
                      <a:lnTo>
                        <a:pt x="24" y="464"/>
                      </a:lnTo>
                      <a:lnTo>
                        <a:pt x="16" y="488"/>
                      </a:lnTo>
                      <a:lnTo>
                        <a:pt x="24" y="496"/>
                      </a:lnTo>
                      <a:lnTo>
                        <a:pt x="32" y="496"/>
                      </a:lnTo>
                      <a:lnTo>
                        <a:pt x="40" y="512"/>
                      </a:lnTo>
                      <a:lnTo>
                        <a:pt x="48" y="528"/>
                      </a:lnTo>
                      <a:lnTo>
                        <a:pt x="64" y="536"/>
                      </a:lnTo>
                      <a:lnTo>
                        <a:pt x="72" y="552"/>
                      </a:lnTo>
                      <a:lnTo>
                        <a:pt x="88" y="536"/>
                      </a:lnTo>
                      <a:lnTo>
                        <a:pt x="104" y="536"/>
                      </a:lnTo>
                      <a:lnTo>
                        <a:pt x="112" y="544"/>
                      </a:lnTo>
                      <a:lnTo>
                        <a:pt x="112" y="560"/>
                      </a:lnTo>
                      <a:lnTo>
                        <a:pt x="112" y="568"/>
                      </a:lnTo>
                      <a:lnTo>
                        <a:pt x="112" y="576"/>
                      </a:lnTo>
                      <a:lnTo>
                        <a:pt x="112" y="592"/>
                      </a:lnTo>
                      <a:lnTo>
                        <a:pt x="120" y="600"/>
                      </a:lnTo>
                      <a:lnTo>
                        <a:pt x="112" y="600"/>
                      </a:lnTo>
                      <a:lnTo>
                        <a:pt x="104" y="608"/>
                      </a:lnTo>
                      <a:lnTo>
                        <a:pt x="96" y="600"/>
                      </a:lnTo>
                      <a:lnTo>
                        <a:pt x="96" y="608"/>
                      </a:lnTo>
                      <a:lnTo>
                        <a:pt x="104" y="616"/>
                      </a:lnTo>
                      <a:lnTo>
                        <a:pt x="104" y="640"/>
                      </a:lnTo>
                      <a:lnTo>
                        <a:pt x="112" y="640"/>
                      </a:lnTo>
                      <a:lnTo>
                        <a:pt x="128" y="640"/>
                      </a:lnTo>
                      <a:lnTo>
                        <a:pt x="144" y="656"/>
                      </a:lnTo>
                      <a:lnTo>
                        <a:pt x="168" y="656"/>
                      </a:lnTo>
                      <a:lnTo>
                        <a:pt x="200" y="672"/>
                      </a:lnTo>
                      <a:lnTo>
                        <a:pt x="224" y="688"/>
                      </a:lnTo>
                      <a:lnTo>
                        <a:pt x="248" y="704"/>
                      </a:lnTo>
                      <a:lnTo>
                        <a:pt x="296" y="712"/>
                      </a:lnTo>
                      <a:lnTo>
                        <a:pt x="304" y="712"/>
                      </a:lnTo>
                      <a:lnTo>
                        <a:pt x="320" y="720"/>
                      </a:lnTo>
                      <a:lnTo>
                        <a:pt x="336" y="704"/>
                      </a:lnTo>
                      <a:lnTo>
                        <a:pt x="344" y="704"/>
                      </a:lnTo>
                      <a:lnTo>
                        <a:pt x="352" y="712"/>
                      </a:lnTo>
                      <a:lnTo>
                        <a:pt x="368" y="712"/>
                      </a:lnTo>
                      <a:lnTo>
                        <a:pt x="384" y="712"/>
                      </a:lnTo>
                      <a:lnTo>
                        <a:pt x="416" y="688"/>
                      </a:lnTo>
                      <a:lnTo>
                        <a:pt x="464" y="672"/>
                      </a:lnTo>
                      <a:lnTo>
                        <a:pt x="472" y="680"/>
                      </a:lnTo>
                      <a:lnTo>
                        <a:pt x="472" y="688"/>
                      </a:lnTo>
                      <a:lnTo>
                        <a:pt x="488" y="704"/>
                      </a:lnTo>
                      <a:lnTo>
                        <a:pt x="504" y="704"/>
                      </a:lnTo>
                      <a:lnTo>
                        <a:pt x="512" y="728"/>
                      </a:lnTo>
                      <a:lnTo>
                        <a:pt x="520" y="760"/>
                      </a:lnTo>
                      <a:lnTo>
                        <a:pt x="496" y="776"/>
                      </a:lnTo>
                      <a:lnTo>
                        <a:pt x="496" y="800"/>
                      </a:lnTo>
                      <a:lnTo>
                        <a:pt x="512" y="800"/>
                      </a:lnTo>
                      <a:lnTo>
                        <a:pt x="528" y="824"/>
                      </a:lnTo>
                      <a:lnTo>
                        <a:pt x="528" y="840"/>
                      </a:lnTo>
                      <a:lnTo>
                        <a:pt x="544" y="840"/>
                      </a:lnTo>
                      <a:lnTo>
                        <a:pt x="544" y="848"/>
                      </a:lnTo>
                      <a:lnTo>
                        <a:pt x="560" y="856"/>
                      </a:lnTo>
                      <a:lnTo>
                        <a:pt x="568" y="864"/>
                      </a:lnTo>
                      <a:lnTo>
                        <a:pt x="584" y="864"/>
                      </a:lnTo>
                      <a:lnTo>
                        <a:pt x="576" y="840"/>
                      </a:lnTo>
                      <a:lnTo>
                        <a:pt x="584" y="832"/>
                      </a:lnTo>
                      <a:lnTo>
                        <a:pt x="592" y="832"/>
                      </a:lnTo>
                      <a:lnTo>
                        <a:pt x="600" y="824"/>
                      </a:lnTo>
                      <a:lnTo>
                        <a:pt x="616" y="832"/>
                      </a:lnTo>
                      <a:lnTo>
                        <a:pt x="640" y="832"/>
                      </a:lnTo>
                      <a:lnTo>
                        <a:pt x="648" y="816"/>
                      </a:lnTo>
                      <a:lnTo>
                        <a:pt x="664" y="824"/>
                      </a:lnTo>
                      <a:lnTo>
                        <a:pt x="680" y="824"/>
                      </a:lnTo>
                      <a:lnTo>
                        <a:pt x="688" y="832"/>
                      </a:lnTo>
                      <a:lnTo>
                        <a:pt x="680" y="840"/>
                      </a:lnTo>
                      <a:lnTo>
                        <a:pt x="696" y="856"/>
                      </a:lnTo>
                      <a:lnTo>
                        <a:pt x="704" y="856"/>
                      </a:lnTo>
                      <a:lnTo>
                        <a:pt x="712" y="856"/>
                      </a:lnTo>
                      <a:lnTo>
                        <a:pt x="728" y="856"/>
                      </a:lnTo>
                      <a:lnTo>
                        <a:pt x="744" y="864"/>
                      </a:lnTo>
                      <a:lnTo>
                        <a:pt x="744" y="872"/>
                      </a:lnTo>
                      <a:lnTo>
                        <a:pt x="744" y="880"/>
                      </a:lnTo>
                      <a:lnTo>
                        <a:pt x="752" y="880"/>
                      </a:lnTo>
                      <a:lnTo>
                        <a:pt x="752" y="872"/>
                      </a:lnTo>
                      <a:lnTo>
                        <a:pt x="768" y="864"/>
                      </a:lnTo>
                      <a:lnTo>
                        <a:pt x="776" y="864"/>
                      </a:lnTo>
                      <a:lnTo>
                        <a:pt x="784" y="864"/>
                      </a:lnTo>
                      <a:lnTo>
                        <a:pt x="792" y="856"/>
                      </a:lnTo>
                      <a:lnTo>
                        <a:pt x="800" y="856"/>
                      </a:lnTo>
                      <a:lnTo>
                        <a:pt x="816" y="848"/>
                      </a:lnTo>
                      <a:lnTo>
                        <a:pt x="816" y="832"/>
                      </a:lnTo>
                      <a:lnTo>
                        <a:pt x="824" y="824"/>
                      </a:lnTo>
                      <a:lnTo>
                        <a:pt x="832" y="832"/>
                      </a:lnTo>
                      <a:lnTo>
                        <a:pt x="832" y="840"/>
                      </a:lnTo>
                      <a:lnTo>
                        <a:pt x="840" y="840"/>
                      </a:lnTo>
                      <a:lnTo>
                        <a:pt x="856" y="832"/>
                      </a:lnTo>
                      <a:lnTo>
                        <a:pt x="864" y="832"/>
                      </a:lnTo>
                      <a:lnTo>
                        <a:pt x="880" y="824"/>
                      </a:lnTo>
                      <a:lnTo>
                        <a:pt x="888" y="824"/>
                      </a:lnTo>
                      <a:lnTo>
                        <a:pt x="888" y="816"/>
                      </a:lnTo>
                      <a:lnTo>
                        <a:pt x="912" y="800"/>
                      </a:lnTo>
                      <a:lnTo>
                        <a:pt x="912" y="792"/>
                      </a:lnTo>
                      <a:lnTo>
                        <a:pt x="928" y="784"/>
                      </a:lnTo>
                      <a:lnTo>
                        <a:pt x="936" y="784"/>
                      </a:lnTo>
                      <a:lnTo>
                        <a:pt x="936" y="776"/>
                      </a:lnTo>
                      <a:lnTo>
                        <a:pt x="952" y="768"/>
                      </a:lnTo>
                      <a:lnTo>
                        <a:pt x="952" y="744"/>
                      </a:lnTo>
                      <a:lnTo>
                        <a:pt x="960" y="744"/>
                      </a:lnTo>
                      <a:lnTo>
                        <a:pt x="960" y="736"/>
                      </a:lnTo>
                      <a:lnTo>
                        <a:pt x="968" y="720"/>
                      </a:lnTo>
                      <a:lnTo>
                        <a:pt x="976" y="712"/>
                      </a:lnTo>
                      <a:lnTo>
                        <a:pt x="984" y="704"/>
                      </a:lnTo>
                      <a:lnTo>
                        <a:pt x="984" y="696"/>
                      </a:lnTo>
                      <a:lnTo>
                        <a:pt x="984" y="688"/>
                      </a:lnTo>
                      <a:lnTo>
                        <a:pt x="992" y="680"/>
                      </a:lnTo>
                      <a:lnTo>
                        <a:pt x="992" y="664"/>
                      </a:lnTo>
                      <a:lnTo>
                        <a:pt x="984" y="656"/>
                      </a:lnTo>
                      <a:lnTo>
                        <a:pt x="976" y="664"/>
                      </a:lnTo>
                      <a:lnTo>
                        <a:pt x="968" y="664"/>
                      </a:lnTo>
                      <a:lnTo>
                        <a:pt x="968" y="656"/>
                      </a:lnTo>
                      <a:lnTo>
                        <a:pt x="984" y="648"/>
                      </a:lnTo>
                      <a:lnTo>
                        <a:pt x="992" y="640"/>
                      </a:lnTo>
                      <a:lnTo>
                        <a:pt x="992" y="632"/>
                      </a:lnTo>
                      <a:lnTo>
                        <a:pt x="984" y="624"/>
                      </a:lnTo>
                      <a:lnTo>
                        <a:pt x="992" y="624"/>
                      </a:lnTo>
                      <a:lnTo>
                        <a:pt x="992" y="616"/>
                      </a:lnTo>
                      <a:lnTo>
                        <a:pt x="984" y="608"/>
                      </a:lnTo>
                      <a:lnTo>
                        <a:pt x="976" y="600"/>
                      </a:lnTo>
                      <a:lnTo>
                        <a:pt x="976" y="584"/>
                      </a:lnTo>
                      <a:lnTo>
                        <a:pt x="968" y="576"/>
                      </a:lnTo>
                      <a:lnTo>
                        <a:pt x="960" y="560"/>
                      </a:lnTo>
                      <a:lnTo>
                        <a:pt x="952" y="552"/>
                      </a:lnTo>
                      <a:lnTo>
                        <a:pt x="936" y="544"/>
                      </a:lnTo>
                      <a:lnTo>
                        <a:pt x="944" y="536"/>
                      </a:lnTo>
                      <a:lnTo>
                        <a:pt x="952" y="520"/>
                      </a:lnTo>
                      <a:lnTo>
                        <a:pt x="960" y="512"/>
                      </a:lnTo>
                      <a:lnTo>
                        <a:pt x="968" y="512"/>
                      </a:lnTo>
                      <a:lnTo>
                        <a:pt x="976" y="512"/>
                      </a:lnTo>
                      <a:lnTo>
                        <a:pt x="984" y="504"/>
                      </a:lnTo>
                      <a:lnTo>
                        <a:pt x="992" y="496"/>
                      </a:lnTo>
                      <a:lnTo>
                        <a:pt x="1000" y="496"/>
                      </a:lnTo>
                      <a:lnTo>
                        <a:pt x="1008" y="496"/>
                      </a:lnTo>
                      <a:lnTo>
                        <a:pt x="1008" y="480"/>
                      </a:lnTo>
                      <a:lnTo>
                        <a:pt x="976" y="480"/>
                      </a:lnTo>
                      <a:lnTo>
                        <a:pt x="968" y="480"/>
                      </a:lnTo>
                      <a:lnTo>
                        <a:pt x="944" y="488"/>
                      </a:lnTo>
                      <a:lnTo>
                        <a:pt x="928" y="488"/>
                      </a:lnTo>
                      <a:lnTo>
                        <a:pt x="936" y="472"/>
                      </a:lnTo>
                      <a:lnTo>
                        <a:pt x="920" y="472"/>
                      </a:lnTo>
                      <a:lnTo>
                        <a:pt x="904" y="456"/>
                      </a:lnTo>
                      <a:lnTo>
                        <a:pt x="912" y="448"/>
                      </a:lnTo>
                      <a:lnTo>
                        <a:pt x="928" y="440"/>
                      </a:lnTo>
                      <a:lnTo>
                        <a:pt x="936" y="440"/>
                      </a:lnTo>
                      <a:lnTo>
                        <a:pt x="936" y="432"/>
                      </a:lnTo>
                      <a:lnTo>
                        <a:pt x="944" y="424"/>
                      </a:lnTo>
                      <a:lnTo>
                        <a:pt x="944" y="416"/>
                      </a:lnTo>
                      <a:lnTo>
                        <a:pt x="960" y="408"/>
                      </a:lnTo>
                      <a:lnTo>
                        <a:pt x="976" y="400"/>
                      </a:lnTo>
                      <a:lnTo>
                        <a:pt x="992" y="400"/>
                      </a:lnTo>
                      <a:lnTo>
                        <a:pt x="992" y="408"/>
                      </a:lnTo>
                      <a:lnTo>
                        <a:pt x="976" y="432"/>
                      </a:lnTo>
                      <a:lnTo>
                        <a:pt x="992" y="432"/>
                      </a:lnTo>
                      <a:lnTo>
                        <a:pt x="992" y="448"/>
                      </a:lnTo>
                      <a:lnTo>
                        <a:pt x="1000" y="440"/>
                      </a:lnTo>
                      <a:lnTo>
                        <a:pt x="1024" y="424"/>
                      </a:lnTo>
                      <a:lnTo>
                        <a:pt x="1040" y="4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21" name="Freeform 178">
                  <a:extLst>
                    <a:ext uri="{FF2B5EF4-FFF2-40B4-BE49-F238E27FC236}">
                      <a16:creationId xmlns:a16="http://schemas.microsoft.com/office/drawing/2014/main" id="{52247251-2C44-17F8-E846-06126F70E6D7}"/>
                    </a:ext>
                  </a:extLst>
                </p:cNvPr>
                <p:cNvSpPr/>
                <p:nvPr/>
              </p:nvSpPr>
              <p:spPr bwMode="gray">
                <a:xfrm>
                  <a:off x="4021" y="2005"/>
                  <a:ext cx="467" cy="219"/>
                </a:xfrm>
                <a:custGeom>
                  <a:avLst/>
                  <a:gdLst>
                    <a:gd name="T0" fmla="*/ 8 w 664"/>
                    <a:gd name="T1" fmla="*/ 47 h 312"/>
                    <a:gd name="T2" fmla="*/ 27 w 664"/>
                    <a:gd name="T3" fmla="*/ 61 h 312"/>
                    <a:gd name="T4" fmla="*/ 27 w 664"/>
                    <a:gd name="T5" fmla="*/ 75 h 312"/>
                    <a:gd name="T6" fmla="*/ 61 w 664"/>
                    <a:gd name="T7" fmla="*/ 86 h 312"/>
                    <a:gd name="T8" fmla="*/ 64 w 664"/>
                    <a:gd name="T9" fmla="*/ 102 h 312"/>
                    <a:gd name="T10" fmla="*/ 75 w 664"/>
                    <a:gd name="T11" fmla="*/ 100 h 312"/>
                    <a:gd name="T12" fmla="*/ 81 w 664"/>
                    <a:gd name="T13" fmla="*/ 100 h 312"/>
                    <a:gd name="T14" fmla="*/ 101 w 664"/>
                    <a:gd name="T15" fmla="*/ 100 h 312"/>
                    <a:gd name="T16" fmla="*/ 117 w 664"/>
                    <a:gd name="T17" fmla="*/ 105 h 312"/>
                    <a:gd name="T18" fmla="*/ 128 w 664"/>
                    <a:gd name="T19" fmla="*/ 108 h 312"/>
                    <a:gd name="T20" fmla="*/ 145 w 664"/>
                    <a:gd name="T21" fmla="*/ 105 h 312"/>
                    <a:gd name="T22" fmla="*/ 161 w 664"/>
                    <a:gd name="T23" fmla="*/ 100 h 312"/>
                    <a:gd name="T24" fmla="*/ 172 w 664"/>
                    <a:gd name="T25" fmla="*/ 91 h 312"/>
                    <a:gd name="T26" fmla="*/ 169 w 664"/>
                    <a:gd name="T27" fmla="*/ 83 h 312"/>
                    <a:gd name="T28" fmla="*/ 186 w 664"/>
                    <a:gd name="T29" fmla="*/ 77 h 312"/>
                    <a:gd name="T30" fmla="*/ 198 w 664"/>
                    <a:gd name="T31" fmla="*/ 72 h 312"/>
                    <a:gd name="T32" fmla="*/ 206 w 664"/>
                    <a:gd name="T33" fmla="*/ 61 h 312"/>
                    <a:gd name="T34" fmla="*/ 212 w 664"/>
                    <a:gd name="T35" fmla="*/ 64 h 312"/>
                    <a:gd name="T36" fmla="*/ 217 w 664"/>
                    <a:gd name="T37" fmla="*/ 58 h 312"/>
                    <a:gd name="T38" fmla="*/ 228 w 664"/>
                    <a:gd name="T39" fmla="*/ 58 h 312"/>
                    <a:gd name="T40" fmla="*/ 228 w 664"/>
                    <a:gd name="T41" fmla="*/ 50 h 312"/>
                    <a:gd name="T42" fmla="*/ 212 w 664"/>
                    <a:gd name="T43" fmla="*/ 50 h 312"/>
                    <a:gd name="T44" fmla="*/ 203 w 664"/>
                    <a:gd name="T45" fmla="*/ 50 h 312"/>
                    <a:gd name="T46" fmla="*/ 200 w 664"/>
                    <a:gd name="T47" fmla="*/ 44 h 312"/>
                    <a:gd name="T48" fmla="*/ 209 w 664"/>
                    <a:gd name="T49" fmla="*/ 27 h 312"/>
                    <a:gd name="T50" fmla="*/ 200 w 664"/>
                    <a:gd name="T51" fmla="*/ 27 h 312"/>
                    <a:gd name="T52" fmla="*/ 189 w 664"/>
                    <a:gd name="T53" fmla="*/ 19 h 312"/>
                    <a:gd name="T54" fmla="*/ 175 w 664"/>
                    <a:gd name="T55" fmla="*/ 31 h 312"/>
                    <a:gd name="T56" fmla="*/ 159 w 664"/>
                    <a:gd name="T57" fmla="*/ 33 h 312"/>
                    <a:gd name="T58" fmla="*/ 145 w 664"/>
                    <a:gd name="T59" fmla="*/ 27 h 312"/>
                    <a:gd name="T60" fmla="*/ 125 w 664"/>
                    <a:gd name="T61" fmla="*/ 17 h 312"/>
                    <a:gd name="T62" fmla="*/ 101 w 664"/>
                    <a:gd name="T63" fmla="*/ 6 h 312"/>
                    <a:gd name="T64" fmla="*/ 78 w 664"/>
                    <a:gd name="T65" fmla="*/ 6 h 312"/>
                    <a:gd name="T66" fmla="*/ 75 w 664"/>
                    <a:gd name="T67" fmla="*/ 17 h 312"/>
                    <a:gd name="T68" fmla="*/ 64 w 664"/>
                    <a:gd name="T69" fmla="*/ 27 h 312"/>
                    <a:gd name="T70" fmla="*/ 58 w 664"/>
                    <a:gd name="T71" fmla="*/ 22 h 312"/>
                    <a:gd name="T72" fmla="*/ 56 w 664"/>
                    <a:gd name="T73" fmla="*/ 27 h 312"/>
                    <a:gd name="T74" fmla="*/ 39 w 664"/>
                    <a:gd name="T75" fmla="*/ 19 h 312"/>
                    <a:gd name="T76" fmla="*/ 27 w 664"/>
                    <a:gd name="T77" fmla="*/ 14 h 312"/>
                    <a:gd name="T78" fmla="*/ 19 w 664"/>
                    <a:gd name="T79" fmla="*/ 19 h 312"/>
                    <a:gd name="T80" fmla="*/ 3 w 664"/>
                    <a:gd name="T81" fmla="*/ 31 h 312"/>
                    <a:gd name="T82" fmla="*/ 0 w 664"/>
                    <a:gd name="T83" fmla="*/ 33 h 312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664"/>
                    <a:gd name="T127" fmla="*/ 0 h 312"/>
                    <a:gd name="T128" fmla="*/ 664 w 664"/>
                    <a:gd name="T129" fmla="*/ 312 h 312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664" h="312">
                      <a:moveTo>
                        <a:pt x="0" y="96"/>
                      </a:moveTo>
                      <a:lnTo>
                        <a:pt x="24" y="136"/>
                      </a:lnTo>
                      <a:lnTo>
                        <a:pt x="48" y="136"/>
                      </a:lnTo>
                      <a:lnTo>
                        <a:pt x="80" y="176"/>
                      </a:lnTo>
                      <a:lnTo>
                        <a:pt x="64" y="192"/>
                      </a:lnTo>
                      <a:lnTo>
                        <a:pt x="80" y="216"/>
                      </a:lnTo>
                      <a:lnTo>
                        <a:pt x="104" y="224"/>
                      </a:lnTo>
                      <a:lnTo>
                        <a:pt x="176" y="248"/>
                      </a:lnTo>
                      <a:lnTo>
                        <a:pt x="168" y="272"/>
                      </a:lnTo>
                      <a:lnTo>
                        <a:pt x="184" y="296"/>
                      </a:lnTo>
                      <a:lnTo>
                        <a:pt x="208" y="296"/>
                      </a:lnTo>
                      <a:lnTo>
                        <a:pt x="216" y="288"/>
                      </a:lnTo>
                      <a:lnTo>
                        <a:pt x="216" y="280"/>
                      </a:lnTo>
                      <a:lnTo>
                        <a:pt x="232" y="288"/>
                      </a:lnTo>
                      <a:lnTo>
                        <a:pt x="256" y="280"/>
                      </a:lnTo>
                      <a:lnTo>
                        <a:pt x="288" y="288"/>
                      </a:lnTo>
                      <a:lnTo>
                        <a:pt x="312" y="304"/>
                      </a:lnTo>
                      <a:lnTo>
                        <a:pt x="336" y="304"/>
                      </a:lnTo>
                      <a:lnTo>
                        <a:pt x="352" y="312"/>
                      </a:lnTo>
                      <a:lnTo>
                        <a:pt x="368" y="312"/>
                      </a:lnTo>
                      <a:lnTo>
                        <a:pt x="400" y="296"/>
                      </a:lnTo>
                      <a:lnTo>
                        <a:pt x="416" y="304"/>
                      </a:lnTo>
                      <a:lnTo>
                        <a:pt x="432" y="296"/>
                      </a:lnTo>
                      <a:lnTo>
                        <a:pt x="464" y="288"/>
                      </a:lnTo>
                      <a:lnTo>
                        <a:pt x="480" y="264"/>
                      </a:lnTo>
                      <a:lnTo>
                        <a:pt x="496" y="264"/>
                      </a:lnTo>
                      <a:lnTo>
                        <a:pt x="504" y="248"/>
                      </a:lnTo>
                      <a:lnTo>
                        <a:pt x="488" y="240"/>
                      </a:lnTo>
                      <a:lnTo>
                        <a:pt x="504" y="216"/>
                      </a:lnTo>
                      <a:lnTo>
                        <a:pt x="536" y="224"/>
                      </a:lnTo>
                      <a:lnTo>
                        <a:pt x="560" y="200"/>
                      </a:lnTo>
                      <a:lnTo>
                        <a:pt x="568" y="208"/>
                      </a:lnTo>
                      <a:lnTo>
                        <a:pt x="584" y="208"/>
                      </a:lnTo>
                      <a:lnTo>
                        <a:pt x="592" y="176"/>
                      </a:lnTo>
                      <a:lnTo>
                        <a:pt x="600" y="176"/>
                      </a:lnTo>
                      <a:lnTo>
                        <a:pt x="608" y="184"/>
                      </a:lnTo>
                      <a:lnTo>
                        <a:pt x="624" y="176"/>
                      </a:lnTo>
                      <a:lnTo>
                        <a:pt x="624" y="168"/>
                      </a:lnTo>
                      <a:lnTo>
                        <a:pt x="640" y="168"/>
                      </a:lnTo>
                      <a:lnTo>
                        <a:pt x="656" y="168"/>
                      </a:lnTo>
                      <a:lnTo>
                        <a:pt x="664" y="168"/>
                      </a:lnTo>
                      <a:lnTo>
                        <a:pt x="656" y="144"/>
                      </a:lnTo>
                      <a:lnTo>
                        <a:pt x="616" y="128"/>
                      </a:lnTo>
                      <a:lnTo>
                        <a:pt x="608" y="144"/>
                      </a:lnTo>
                      <a:lnTo>
                        <a:pt x="592" y="136"/>
                      </a:lnTo>
                      <a:lnTo>
                        <a:pt x="584" y="144"/>
                      </a:lnTo>
                      <a:lnTo>
                        <a:pt x="576" y="136"/>
                      </a:lnTo>
                      <a:lnTo>
                        <a:pt x="576" y="128"/>
                      </a:lnTo>
                      <a:lnTo>
                        <a:pt x="584" y="112"/>
                      </a:lnTo>
                      <a:lnTo>
                        <a:pt x="600" y="80"/>
                      </a:lnTo>
                      <a:lnTo>
                        <a:pt x="600" y="72"/>
                      </a:lnTo>
                      <a:lnTo>
                        <a:pt x="576" y="80"/>
                      </a:lnTo>
                      <a:lnTo>
                        <a:pt x="560" y="64"/>
                      </a:lnTo>
                      <a:lnTo>
                        <a:pt x="544" y="56"/>
                      </a:lnTo>
                      <a:lnTo>
                        <a:pt x="528" y="72"/>
                      </a:lnTo>
                      <a:lnTo>
                        <a:pt x="504" y="88"/>
                      </a:lnTo>
                      <a:lnTo>
                        <a:pt x="480" y="88"/>
                      </a:lnTo>
                      <a:lnTo>
                        <a:pt x="456" y="96"/>
                      </a:lnTo>
                      <a:lnTo>
                        <a:pt x="448" y="88"/>
                      </a:lnTo>
                      <a:lnTo>
                        <a:pt x="416" y="80"/>
                      </a:lnTo>
                      <a:lnTo>
                        <a:pt x="416" y="64"/>
                      </a:lnTo>
                      <a:lnTo>
                        <a:pt x="360" y="48"/>
                      </a:lnTo>
                      <a:lnTo>
                        <a:pt x="320" y="64"/>
                      </a:lnTo>
                      <a:lnTo>
                        <a:pt x="288" y="16"/>
                      </a:lnTo>
                      <a:lnTo>
                        <a:pt x="232" y="0"/>
                      </a:lnTo>
                      <a:lnTo>
                        <a:pt x="224" y="16"/>
                      </a:lnTo>
                      <a:lnTo>
                        <a:pt x="208" y="32"/>
                      </a:lnTo>
                      <a:lnTo>
                        <a:pt x="216" y="48"/>
                      </a:lnTo>
                      <a:lnTo>
                        <a:pt x="216" y="72"/>
                      </a:lnTo>
                      <a:lnTo>
                        <a:pt x="184" y="80"/>
                      </a:lnTo>
                      <a:lnTo>
                        <a:pt x="184" y="64"/>
                      </a:lnTo>
                      <a:lnTo>
                        <a:pt x="168" y="64"/>
                      </a:lnTo>
                      <a:lnTo>
                        <a:pt x="168" y="80"/>
                      </a:lnTo>
                      <a:lnTo>
                        <a:pt x="160" y="80"/>
                      </a:lnTo>
                      <a:lnTo>
                        <a:pt x="128" y="56"/>
                      </a:lnTo>
                      <a:lnTo>
                        <a:pt x="112" y="56"/>
                      </a:lnTo>
                      <a:lnTo>
                        <a:pt x="96" y="40"/>
                      </a:lnTo>
                      <a:lnTo>
                        <a:pt x="80" y="40"/>
                      </a:lnTo>
                      <a:lnTo>
                        <a:pt x="64" y="56"/>
                      </a:lnTo>
                      <a:lnTo>
                        <a:pt x="56" y="56"/>
                      </a:lnTo>
                      <a:lnTo>
                        <a:pt x="40" y="80"/>
                      </a:lnTo>
                      <a:lnTo>
                        <a:pt x="8" y="88"/>
                      </a:lnTo>
                      <a:lnTo>
                        <a:pt x="8" y="96"/>
                      </a:lnTo>
                      <a:lnTo>
                        <a:pt x="0" y="96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22" name="Freeform 179">
                  <a:extLst>
                    <a:ext uri="{FF2B5EF4-FFF2-40B4-BE49-F238E27FC236}">
                      <a16:creationId xmlns:a16="http://schemas.microsoft.com/office/drawing/2014/main" id="{AEF5989D-B371-8DDC-6784-E32DF58C886B}"/>
                    </a:ext>
                  </a:extLst>
                </p:cNvPr>
                <p:cNvSpPr/>
                <p:nvPr/>
              </p:nvSpPr>
              <p:spPr bwMode="gray">
                <a:xfrm>
                  <a:off x="4578" y="2284"/>
                  <a:ext cx="51" cy="79"/>
                </a:xfrm>
                <a:custGeom>
                  <a:avLst/>
                  <a:gdLst>
                    <a:gd name="T0" fmla="*/ 0 w 72"/>
                    <a:gd name="T1" fmla="*/ 8 h 112"/>
                    <a:gd name="T2" fmla="*/ 6 w 72"/>
                    <a:gd name="T3" fmla="*/ 3 h 112"/>
                    <a:gd name="T4" fmla="*/ 17 w 72"/>
                    <a:gd name="T5" fmla="*/ 0 h 112"/>
                    <a:gd name="T6" fmla="*/ 20 w 72"/>
                    <a:gd name="T7" fmla="*/ 6 h 112"/>
                    <a:gd name="T8" fmla="*/ 23 w 72"/>
                    <a:gd name="T9" fmla="*/ 11 h 112"/>
                    <a:gd name="T10" fmla="*/ 23 w 72"/>
                    <a:gd name="T11" fmla="*/ 17 h 112"/>
                    <a:gd name="T12" fmla="*/ 26 w 72"/>
                    <a:gd name="T13" fmla="*/ 25 h 112"/>
                    <a:gd name="T14" fmla="*/ 23 w 72"/>
                    <a:gd name="T15" fmla="*/ 28 h 112"/>
                    <a:gd name="T16" fmla="*/ 23 w 72"/>
                    <a:gd name="T17" fmla="*/ 31 h 112"/>
                    <a:gd name="T18" fmla="*/ 20 w 72"/>
                    <a:gd name="T19" fmla="*/ 34 h 112"/>
                    <a:gd name="T20" fmla="*/ 17 w 72"/>
                    <a:gd name="T21" fmla="*/ 36 h 112"/>
                    <a:gd name="T22" fmla="*/ 14 w 72"/>
                    <a:gd name="T23" fmla="*/ 36 h 112"/>
                    <a:gd name="T24" fmla="*/ 8 w 72"/>
                    <a:gd name="T25" fmla="*/ 40 h 112"/>
                    <a:gd name="T26" fmla="*/ 6 w 72"/>
                    <a:gd name="T27" fmla="*/ 40 h 112"/>
                    <a:gd name="T28" fmla="*/ 3 w 72"/>
                    <a:gd name="T29" fmla="*/ 40 h 112"/>
                    <a:gd name="T30" fmla="*/ 0 w 72"/>
                    <a:gd name="T31" fmla="*/ 34 h 112"/>
                    <a:gd name="T32" fmla="*/ 3 w 72"/>
                    <a:gd name="T33" fmla="*/ 34 h 112"/>
                    <a:gd name="T34" fmla="*/ 3 w 72"/>
                    <a:gd name="T35" fmla="*/ 31 h 112"/>
                    <a:gd name="T36" fmla="*/ 3 w 72"/>
                    <a:gd name="T37" fmla="*/ 25 h 112"/>
                    <a:gd name="T38" fmla="*/ 3 w 72"/>
                    <a:gd name="T39" fmla="*/ 20 h 112"/>
                    <a:gd name="T40" fmla="*/ 0 w 72"/>
                    <a:gd name="T41" fmla="*/ 17 h 112"/>
                    <a:gd name="T42" fmla="*/ 3 w 72"/>
                    <a:gd name="T43" fmla="*/ 17 h 112"/>
                    <a:gd name="T44" fmla="*/ 3 w 72"/>
                    <a:gd name="T45" fmla="*/ 11 h 112"/>
                    <a:gd name="T46" fmla="*/ 3 w 72"/>
                    <a:gd name="T47" fmla="*/ 8 h 112"/>
                    <a:gd name="T48" fmla="*/ 0 w 72"/>
                    <a:gd name="T49" fmla="*/ 8 h 11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2"/>
                    <a:gd name="T76" fmla="*/ 0 h 112"/>
                    <a:gd name="T77" fmla="*/ 72 w 72"/>
                    <a:gd name="T78" fmla="*/ 112 h 11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2" h="112">
                      <a:moveTo>
                        <a:pt x="0" y="24"/>
                      </a:moveTo>
                      <a:lnTo>
                        <a:pt x="16" y="8"/>
                      </a:lnTo>
                      <a:lnTo>
                        <a:pt x="48" y="0"/>
                      </a:lnTo>
                      <a:lnTo>
                        <a:pt x="56" y="16"/>
                      </a:lnTo>
                      <a:lnTo>
                        <a:pt x="64" y="32"/>
                      </a:lnTo>
                      <a:lnTo>
                        <a:pt x="64" y="48"/>
                      </a:lnTo>
                      <a:lnTo>
                        <a:pt x="72" y="72"/>
                      </a:lnTo>
                      <a:lnTo>
                        <a:pt x="64" y="80"/>
                      </a:lnTo>
                      <a:lnTo>
                        <a:pt x="64" y="88"/>
                      </a:lnTo>
                      <a:lnTo>
                        <a:pt x="56" y="96"/>
                      </a:lnTo>
                      <a:lnTo>
                        <a:pt x="48" y="104"/>
                      </a:lnTo>
                      <a:lnTo>
                        <a:pt x="40" y="104"/>
                      </a:lnTo>
                      <a:lnTo>
                        <a:pt x="24" y="112"/>
                      </a:lnTo>
                      <a:lnTo>
                        <a:pt x="16" y="112"/>
                      </a:lnTo>
                      <a:lnTo>
                        <a:pt x="8" y="112"/>
                      </a:lnTo>
                      <a:lnTo>
                        <a:pt x="0" y="96"/>
                      </a:lnTo>
                      <a:lnTo>
                        <a:pt x="8" y="96"/>
                      </a:lnTo>
                      <a:lnTo>
                        <a:pt x="8" y="88"/>
                      </a:lnTo>
                      <a:lnTo>
                        <a:pt x="8" y="72"/>
                      </a:lnTo>
                      <a:lnTo>
                        <a:pt x="8" y="56"/>
                      </a:lnTo>
                      <a:lnTo>
                        <a:pt x="0" y="48"/>
                      </a:lnTo>
                      <a:lnTo>
                        <a:pt x="8" y="48"/>
                      </a:lnTo>
                      <a:lnTo>
                        <a:pt x="8" y="32"/>
                      </a:lnTo>
                      <a:lnTo>
                        <a:pt x="8" y="24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23" name="Freeform 180">
                  <a:extLst>
                    <a:ext uri="{FF2B5EF4-FFF2-40B4-BE49-F238E27FC236}">
                      <a16:creationId xmlns:a16="http://schemas.microsoft.com/office/drawing/2014/main" id="{C15DEE05-E360-33B2-22A9-61CC75F0D63E}"/>
                    </a:ext>
                  </a:extLst>
                </p:cNvPr>
                <p:cNvSpPr/>
                <p:nvPr/>
              </p:nvSpPr>
              <p:spPr bwMode="gray">
                <a:xfrm>
                  <a:off x="3869" y="2346"/>
                  <a:ext cx="34" cy="45"/>
                </a:xfrm>
                <a:custGeom>
                  <a:avLst/>
                  <a:gdLst>
                    <a:gd name="T0" fmla="*/ 14 w 48"/>
                    <a:gd name="T1" fmla="*/ 23 h 64"/>
                    <a:gd name="T2" fmla="*/ 17 w 48"/>
                    <a:gd name="T3" fmla="*/ 23 h 64"/>
                    <a:gd name="T4" fmla="*/ 14 w 48"/>
                    <a:gd name="T5" fmla="*/ 19 h 64"/>
                    <a:gd name="T6" fmla="*/ 14 w 48"/>
                    <a:gd name="T7" fmla="*/ 14 h 64"/>
                    <a:gd name="T8" fmla="*/ 14 w 48"/>
                    <a:gd name="T9" fmla="*/ 11 h 64"/>
                    <a:gd name="T10" fmla="*/ 14 w 48"/>
                    <a:gd name="T11" fmla="*/ 8 h 64"/>
                    <a:gd name="T12" fmla="*/ 14 w 48"/>
                    <a:gd name="T13" fmla="*/ 3 h 64"/>
                    <a:gd name="T14" fmla="*/ 11 w 48"/>
                    <a:gd name="T15" fmla="*/ 0 h 64"/>
                    <a:gd name="T16" fmla="*/ 6 w 48"/>
                    <a:gd name="T17" fmla="*/ 0 h 64"/>
                    <a:gd name="T18" fmla="*/ 0 w 48"/>
                    <a:gd name="T19" fmla="*/ 6 h 64"/>
                    <a:gd name="T20" fmla="*/ 3 w 48"/>
                    <a:gd name="T21" fmla="*/ 6 h 64"/>
                    <a:gd name="T22" fmla="*/ 6 w 48"/>
                    <a:gd name="T23" fmla="*/ 8 h 64"/>
                    <a:gd name="T24" fmla="*/ 9 w 48"/>
                    <a:gd name="T25" fmla="*/ 11 h 64"/>
                    <a:gd name="T26" fmla="*/ 9 w 48"/>
                    <a:gd name="T27" fmla="*/ 17 h 64"/>
                    <a:gd name="T28" fmla="*/ 14 w 48"/>
                    <a:gd name="T29" fmla="*/ 19 h 64"/>
                    <a:gd name="T30" fmla="*/ 14 w 48"/>
                    <a:gd name="T31" fmla="*/ 23 h 6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48"/>
                    <a:gd name="T49" fmla="*/ 0 h 64"/>
                    <a:gd name="T50" fmla="*/ 48 w 48"/>
                    <a:gd name="T51" fmla="*/ 64 h 6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48" h="64">
                      <a:moveTo>
                        <a:pt x="40" y="64"/>
                      </a:moveTo>
                      <a:lnTo>
                        <a:pt x="48" y="64"/>
                      </a:lnTo>
                      <a:lnTo>
                        <a:pt x="40" y="56"/>
                      </a:lnTo>
                      <a:lnTo>
                        <a:pt x="40" y="40"/>
                      </a:lnTo>
                      <a:lnTo>
                        <a:pt x="40" y="32"/>
                      </a:lnTo>
                      <a:lnTo>
                        <a:pt x="40" y="24"/>
                      </a:lnTo>
                      <a:lnTo>
                        <a:pt x="40" y="8"/>
                      </a:ln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24" y="48"/>
                      </a:lnTo>
                      <a:lnTo>
                        <a:pt x="40" y="56"/>
                      </a:lnTo>
                      <a:lnTo>
                        <a:pt x="40" y="6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24" name="Freeform 181">
                  <a:extLst>
                    <a:ext uri="{FF2B5EF4-FFF2-40B4-BE49-F238E27FC236}">
                      <a16:creationId xmlns:a16="http://schemas.microsoft.com/office/drawing/2014/main" id="{48E50D9A-DD40-EE91-63E4-331525FAA65C}"/>
                    </a:ext>
                  </a:extLst>
                </p:cNvPr>
                <p:cNvSpPr/>
                <p:nvPr/>
              </p:nvSpPr>
              <p:spPr bwMode="gray">
                <a:xfrm>
                  <a:off x="4860" y="2172"/>
                  <a:ext cx="17" cy="11"/>
                </a:xfrm>
                <a:custGeom>
                  <a:avLst/>
                  <a:gdLst>
                    <a:gd name="T0" fmla="*/ 0 w 24"/>
                    <a:gd name="T1" fmla="*/ 6 h 16"/>
                    <a:gd name="T2" fmla="*/ 3 w 24"/>
                    <a:gd name="T3" fmla="*/ 6 h 16"/>
                    <a:gd name="T4" fmla="*/ 6 w 24"/>
                    <a:gd name="T5" fmla="*/ 3 h 16"/>
                    <a:gd name="T6" fmla="*/ 9 w 24"/>
                    <a:gd name="T7" fmla="*/ 3 h 16"/>
                    <a:gd name="T8" fmla="*/ 9 w 24"/>
                    <a:gd name="T9" fmla="*/ 0 h 16"/>
                    <a:gd name="T10" fmla="*/ 6 w 24"/>
                    <a:gd name="T11" fmla="*/ 0 h 16"/>
                    <a:gd name="T12" fmla="*/ 0 w 24"/>
                    <a:gd name="T13" fmla="*/ 6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16"/>
                    <a:gd name="T23" fmla="*/ 24 w 24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16">
                      <a:moveTo>
                        <a:pt x="0" y="16"/>
                      </a:move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25" name="Freeform 182">
                  <a:extLst>
                    <a:ext uri="{FF2B5EF4-FFF2-40B4-BE49-F238E27FC236}">
                      <a16:creationId xmlns:a16="http://schemas.microsoft.com/office/drawing/2014/main" id="{13FC9055-C446-7CF6-B40A-B23E6B120A1D}"/>
                    </a:ext>
                  </a:extLst>
                </p:cNvPr>
                <p:cNvSpPr/>
                <p:nvPr/>
              </p:nvSpPr>
              <p:spPr bwMode="gray">
                <a:xfrm>
                  <a:off x="4877" y="2155"/>
                  <a:ext cx="33" cy="22"/>
                </a:xfrm>
                <a:custGeom>
                  <a:avLst/>
                  <a:gdLst>
                    <a:gd name="T0" fmla="*/ 8 w 48"/>
                    <a:gd name="T1" fmla="*/ 3 h 32"/>
                    <a:gd name="T2" fmla="*/ 8 w 48"/>
                    <a:gd name="T3" fmla="*/ 0 h 32"/>
                    <a:gd name="T4" fmla="*/ 3 w 48"/>
                    <a:gd name="T5" fmla="*/ 8 h 32"/>
                    <a:gd name="T6" fmla="*/ 0 w 48"/>
                    <a:gd name="T7" fmla="*/ 10 h 32"/>
                    <a:gd name="T8" fmla="*/ 3 w 48"/>
                    <a:gd name="T9" fmla="*/ 10 h 32"/>
                    <a:gd name="T10" fmla="*/ 6 w 48"/>
                    <a:gd name="T11" fmla="*/ 6 h 32"/>
                    <a:gd name="T12" fmla="*/ 10 w 48"/>
                    <a:gd name="T13" fmla="*/ 3 h 32"/>
                    <a:gd name="T14" fmla="*/ 16 w 48"/>
                    <a:gd name="T15" fmla="*/ 0 h 32"/>
                    <a:gd name="T16" fmla="*/ 10 w 48"/>
                    <a:gd name="T17" fmla="*/ 0 h 32"/>
                    <a:gd name="T18" fmla="*/ 8 w 48"/>
                    <a:gd name="T19" fmla="*/ 3 h 3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8"/>
                    <a:gd name="T31" fmla="*/ 0 h 32"/>
                    <a:gd name="T32" fmla="*/ 48 w 48"/>
                    <a:gd name="T33" fmla="*/ 32 h 3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8" h="32">
                      <a:moveTo>
                        <a:pt x="24" y="8"/>
                      </a:moveTo>
                      <a:lnTo>
                        <a:pt x="24" y="0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8" y="32"/>
                      </a:lnTo>
                      <a:lnTo>
                        <a:pt x="16" y="16"/>
                      </a:lnTo>
                      <a:lnTo>
                        <a:pt x="32" y="8"/>
                      </a:lnTo>
                      <a:lnTo>
                        <a:pt x="48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26" name="Freeform 183">
                  <a:extLst>
                    <a:ext uri="{FF2B5EF4-FFF2-40B4-BE49-F238E27FC236}">
                      <a16:creationId xmlns:a16="http://schemas.microsoft.com/office/drawing/2014/main" id="{034786D6-9DF0-7937-A898-7139C8F5F0D3}"/>
                    </a:ext>
                  </a:extLst>
                </p:cNvPr>
                <p:cNvSpPr/>
                <p:nvPr/>
              </p:nvSpPr>
              <p:spPr bwMode="gray">
                <a:xfrm>
                  <a:off x="4916" y="2138"/>
                  <a:ext cx="17" cy="11"/>
                </a:xfrm>
                <a:custGeom>
                  <a:avLst/>
                  <a:gdLst>
                    <a:gd name="T0" fmla="*/ 0 w 24"/>
                    <a:gd name="T1" fmla="*/ 6 h 16"/>
                    <a:gd name="T2" fmla="*/ 3 w 24"/>
                    <a:gd name="T3" fmla="*/ 6 h 16"/>
                    <a:gd name="T4" fmla="*/ 9 w 24"/>
                    <a:gd name="T5" fmla="*/ 0 h 16"/>
                    <a:gd name="T6" fmla="*/ 6 w 24"/>
                    <a:gd name="T7" fmla="*/ 0 h 16"/>
                    <a:gd name="T8" fmla="*/ 0 w 24"/>
                    <a:gd name="T9" fmla="*/ 6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"/>
                    <a:gd name="T16" fmla="*/ 0 h 16"/>
                    <a:gd name="T17" fmla="*/ 24 w 24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" h="16">
                      <a:moveTo>
                        <a:pt x="0" y="16"/>
                      </a:moveTo>
                      <a:lnTo>
                        <a:pt x="8" y="16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27" name="Freeform 184">
                  <a:extLst>
                    <a:ext uri="{FF2B5EF4-FFF2-40B4-BE49-F238E27FC236}">
                      <a16:creationId xmlns:a16="http://schemas.microsoft.com/office/drawing/2014/main" id="{D13FA5DE-A55E-35B6-157C-F5985BE92FD0}"/>
                    </a:ext>
                  </a:extLst>
                </p:cNvPr>
                <p:cNvSpPr/>
                <p:nvPr/>
              </p:nvSpPr>
              <p:spPr bwMode="gray">
                <a:xfrm>
                  <a:off x="4950" y="2115"/>
                  <a:ext cx="11" cy="12"/>
                </a:xfrm>
                <a:custGeom>
                  <a:avLst/>
                  <a:gdLst>
                    <a:gd name="T0" fmla="*/ 6 w 16"/>
                    <a:gd name="T1" fmla="*/ 4 h 16"/>
                    <a:gd name="T2" fmla="*/ 6 w 16"/>
                    <a:gd name="T3" fmla="*/ 0 h 16"/>
                    <a:gd name="T4" fmla="*/ 3 w 16"/>
                    <a:gd name="T5" fmla="*/ 0 h 16"/>
                    <a:gd name="T6" fmla="*/ 0 w 16"/>
                    <a:gd name="T7" fmla="*/ 7 h 16"/>
                    <a:gd name="T8" fmla="*/ 3 w 16"/>
                    <a:gd name="T9" fmla="*/ 7 h 16"/>
                    <a:gd name="T10" fmla="*/ 6 w 16"/>
                    <a:gd name="T11" fmla="*/ 4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16" y="8"/>
                      </a:move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</p:grpSp>
          <p:grpSp>
            <p:nvGrpSpPr>
              <p:cNvPr id="1115" name="Group 185">
                <a:extLst>
                  <a:ext uri="{FF2B5EF4-FFF2-40B4-BE49-F238E27FC236}">
                    <a16:creationId xmlns:a16="http://schemas.microsoft.com/office/drawing/2014/main" id="{C72816CB-377D-39A7-F47C-2681C78E733C}"/>
                  </a:ext>
                </a:extLst>
              </p:cNvPr>
              <p:cNvGrpSpPr/>
              <p:nvPr/>
            </p:nvGrpSpPr>
            <p:grpSpPr bwMode="gray">
              <a:xfrm>
                <a:off x="3633231" y="1088858"/>
                <a:ext cx="7967242" cy="2413714"/>
                <a:chOff x="1703" y="1069"/>
                <a:chExt cx="3832" cy="1283"/>
              </a:xfrm>
              <a:solidFill>
                <a:srgbClr val="D9D9D9"/>
              </a:solidFill>
            </p:grpSpPr>
            <p:sp>
              <p:nvSpPr>
                <p:cNvPr id="1208" name="Freeform 186">
                  <a:extLst>
                    <a:ext uri="{FF2B5EF4-FFF2-40B4-BE49-F238E27FC236}">
                      <a16:creationId xmlns:a16="http://schemas.microsoft.com/office/drawing/2014/main" id="{88E64E27-559F-2C29-8819-71E3B4117E32}"/>
                    </a:ext>
                  </a:extLst>
                </p:cNvPr>
                <p:cNvSpPr/>
                <p:nvPr/>
              </p:nvSpPr>
              <p:spPr bwMode="gray">
                <a:xfrm>
                  <a:off x="2918" y="1924"/>
                  <a:ext cx="23" cy="23"/>
                </a:xfrm>
                <a:custGeom>
                  <a:avLst/>
                  <a:gdLst>
                    <a:gd name="T0" fmla="*/ 3 w 32"/>
                    <a:gd name="T1" fmla="*/ 0 h 32"/>
                    <a:gd name="T2" fmla="*/ 0 w 32"/>
                    <a:gd name="T3" fmla="*/ 3 h 32"/>
                    <a:gd name="T4" fmla="*/ 3 w 32"/>
                    <a:gd name="T5" fmla="*/ 6 h 32"/>
                    <a:gd name="T6" fmla="*/ 3 w 32"/>
                    <a:gd name="T7" fmla="*/ 9 h 32"/>
                    <a:gd name="T8" fmla="*/ 6 w 32"/>
                    <a:gd name="T9" fmla="*/ 9 h 32"/>
                    <a:gd name="T10" fmla="*/ 6 w 32"/>
                    <a:gd name="T11" fmla="*/ 12 h 32"/>
                    <a:gd name="T12" fmla="*/ 9 w 32"/>
                    <a:gd name="T13" fmla="*/ 9 h 32"/>
                    <a:gd name="T14" fmla="*/ 12 w 32"/>
                    <a:gd name="T15" fmla="*/ 6 h 32"/>
                    <a:gd name="T16" fmla="*/ 9 w 32"/>
                    <a:gd name="T17" fmla="*/ 3 h 32"/>
                    <a:gd name="T18" fmla="*/ 12 w 32"/>
                    <a:gd name="T19" fmla="*/ 0 h 32"/>
                    <a:gd name="T20" fmla="*/ 6 w 32"/>
                    <a:gd name="T21" fmla="*/ 0 h 32"/>
                    <a:gd name="T22" fmla="*/ 3 w 32"/>
                    <a:gd name="T23" fmla="*/ 0 h 3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2"/>
                    <a:gd name="T37" fmla="*/ 0 h 32"/>
                    <a:gd name="T38" fmla="*/ 32 w 32"/>
                    <a:gd name="T39" fmla="*/ 32 h 3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2" h="32">
                      <a:moveTo>
                        <a:pt x="8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16" y="32"/>
                      </a:lnTo>
                      <a:lnTo>
                        <a:pt x="24" y="24"/>
                      </a:lnTo>
                      <a:lnTo>
                        <a:pt x="32" y="16"/>
                      </a:lnTo>
                      <a:lnTo>
                        <a:pt x="24" y="8"/>
                      </a:ln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09" name="Freeform 187">
                  <a:extLst>
                    <a:ext uri="{FF2B5EF4-FFF2-40B4-BE49-F238E27FC236}">
                      <a16:creationId xmlns:a16="http://schemas.microsoft.com/office/drawing/2014/main" id="{4A8E735C-F1B1-CD02-47BB-27F48368FD6E}"/>
                    </a:ext>
                  </a:extLst>
                </p:cNvPr>
                <p:cNvSpPr/>
                <p:nvPr/>
              </p:nvSpPr>
              <p:spPr bwMode="gray">
                <a:xfrm>
                  <a:off x="3014" y="1210"/>
                  <a:ext cx="135" cy="45"/>
                </a:xfrm>
                <a:custGeom>
                  <a:avLst/>
                  <a:gdLst>
                    <a:gd name="T0" fmla="*/ 17 w 192"/>
                    <a:gd name="T1" fmla="*/ 3 h 64"/>
                    <a:gd name="T2" fmla="*/ 19 w 192"/>
                    <a:gd name="T3" fmla="*/ 3 h 64"/>
                    <a:gd name="T4" fmla="*/ 19 w 192"/>
                    <a:gd name="T5" fmla="*/ 6 h 64"/>
                    <a:gd name="T6" fmla="*/ 27 w 192"/>
                    <a:gd name="T7" fmla="*/ 6 h 64"/>
                    <a:gd name="T8" fmla="*/ 27 w 192"/>
                    <a:gd name="T9" fmla="*/ 8 h 64"/>
                    <a:gd name="T10" fmla="*/ 31 w 192"/>
                    <a:gd name="T11" fmla="*/ 8 h 64"/>
                    <a:gd name="T12" fmla="*/ 31 w 192"/>
                    <a:gd name="T13" fmla="*/ 11 h 64"/>
                    <a:gd name="T14" fmla="*/ 34 w 192"/>
                    <a:gd name="T15" fmla="*/ 8 h 64"/>
                    <a:gd name="T16" fmla="*/ 34 w 192"/>
                    <a:gd name="T17" fmla="*/ 6 h 64"/>
                    <a:gd name="T18" fmla="*/ 31 w 192"/>
                    <a:gd name="T19" fmla="*/ 3 h 64"/>
                    <a:gd name="T20" fmla="*/ 36 w 192"/>
                    <a:gd name="T21" fmla="*/ 0 h 64"/>
                    <a:gd name="T22" fmla="*/ 39 w 192"/>
                    <a:gd name="T23" fmla="*/ 3 h 64"/>
                    <a:gd name="T24" fmla="*/ 36 w 192"/>
                    <a:gd name="T25" fmla="*/ 6 h 64"/>
                    <a:gd name="T26" fmla="*/ 39 w 192"/>
                    <a:gd name="T27" fmla="*/ 6 h 64"/>
                    <a:gd name="T28" fmla="*/ 41 w 192"/>
                    <a:gd name="T29" fmla="*/ 8 h 64"/>
                    <a:gd name="T30" fmla="*/ 44 w 192"/>
                    <a:gd name="T31" fmla="*/ 6 h 64"/>
                    <a:gd name="T32" fmla="*/ 44 w 192"/>
                    <a:gd name="T33" fmla="*/ 3 h 64"/>
                    <a:gd name="T34" fmla="*/ 53 w 192"/>
                    <a:gd name="T35" fmla="*/ 6 h 64"/>
                    <a:gd name="T36" fmla="*/ 58 w 192"/>
                    <a:gd name="T37" fmla="*/ 6 h 64"/>
                    <a:gd name="T38" fmla="*/ 64 w 192"/>
                    <a:gd name="T39" fmla="*/ 6 h 64"/>
                    <a:gd name="T40" fmla="*/ 67 w 192"/>
                    <a:gd name="T41" fmla="*/ 8 h 64"/>
                    <a:gd name="T42" fmla="*/ 64 w 192"/>
                    <a:gd name="T43" fmla="*/ 8 h 64"/>
                    <a:gd name="T44" fmla="*/ 64 w 192"/>
                    <a:gd name="T45" fmla="*/ 14 h 64"/>
                    <a:gd name="T46" fmla="*/ 61 w 192"/>
                    <a:gd name="T47" fmla="*/ 14 h 64"/>
                    <a:gd name="T48" fmla="*/ 58 w 192"/>
                    <a:gd name="T49" fmla="*/ 17 h 64"/>
                    <a:gd name="T50" fmla="*/ 56 w 192"/>
                    <a:gd name="T51" fmla="*/ 19 h 64"/>
                    <a:gd name="T52" fmla="*/ 50 w 192"/>
                    <a:gd name="T53" fmla="*/ 23 h 64"/>
                    <a:gd name="T54" fmla="*/ 44 w 192"/>
                    <a:gd name="T55" fmla="*/ 19 h 64"/>
                    <a:gd name="T56" fmla="*/ 39 w 192"/>
                    <a:gd name="T57" fmla="*/ 19 h 64"/>
                    <a:gd name="T58" fmla="*/ 31 w 192"/>
                    <a:gd name="T59" fmla="*/ 19 h 64"/>
                    <a:gd name="T60" fmla="*/ 19 w 192"/>
                    <a:gd name="T61" fmla="*/ 19 h 64"/>
                    <a:gd name="T62" fmla="*/ 17 w 192"/>
                    <a:gd name="T63" fmla="*/ 19 h 64"/>
                    <a:gd name="T64" fmla="*/ 11 w 192"/>
                    <a:gd name="T65" fmla="*/ 17 h 64"/>
                    <a:gd name="T66" fmla="*/ 14 w 192"/>
                    <a:gd name="T67" fmla="*/ 17 h 64"/>
                    <a:gd name="T68" fmla="*/ 19 w 192"/>
                    <a:gd name="T69" fmla="*/ 17 h 64"/>
                    <a:gd name="T70" fmla="*/ 23 w 192"/>
                    <a:gd name="T71" fmla="*/ 17 h 64"/>
                    <a:gd name="T72" fmla="*/ 23 w 192"/>
                    <a:gd name="T73" fmla="*/ 14 h 64"/>
                    <a:gd name="T74" fmla="*/ 27 w 192"/>
                    <a:gd name="T75" fmla="*/ 14 h 64"/>
                    <a:gd name="T76" fmla="*/ 25 w 192"/>
                    <a:gd name="T77" fmla="*/ 11 h 64"/>
                    <a:gd name="T78" fmla="*/ 17 w 192"/>
                    <a:gd name="T79" fmla="*/ 14 h 64"/>
                    <a:gd name="T80" fmla="*/ 8 w 192"/>
                    <a:gd name="T81" fmla="*/ 14 h 64"/>
                    <a:gd name="T82" fmla="*/ 6 w 192"/>
                    <a:gd name="T83" fmla="*/ 14 h 64"/>
                    <a:gd name="T84" fmla="*/ 3 w 192"/>
                    <a:gd name="T85" fmla="*/ 11 h 64"/>
                    <a:gd name="T86" fmla="*/ 8 w 192"/>
                    <a:gd name="T87" fmla="*/ 8 h 64"/>
                    <a:gd name="T88" fmla="*/ 3 w 192"/>
                    <a:gd name="T89" fmla="*/ 8 h 64"/>
                    <a:gd name="T90" fmla="*/ 0 w 192"/>
                    <a:gd name="T91" fmla="*/ 6 h 64"/>
                    <a:gd name="T92" fmla="*/ 6 w 192"/>
                    <a:gd name="T93" fmla="*/ 6 h 64"/>
                    <a:gd name="T94" fmla="*/ 8 w 192"/>
                    <a:gd name="T95" fmla="*/ 6 h 64"/>
                    <a:gd name="T96" fmla="*/ 11 w 192"/>
                    <a:gd name="T97" fmla="*/ 8 h 64"/>
                    <a:gd name="T98" fmla="*/ 11 w 192"/>
                    <a:gd name="T99" fmla="*/ 6 h 64"/>
                    <a:gd name="T100" fmla="*/ 8 w 192"/>
                    <a:gd name="T101" fmla="*/ 6 h 64"/>
                    <a:gd name="T102" fmla="*/ 8 w 192"/>
                    <a:gd name="T103" fmla="*/ 3 h 64"/>
                    <a:gd name="T104" fmla="*/ 11 w 192"/>
                    <a:gd name="T105" fmla="*/ 3 h 64"/>
                    <a:gd name="T106" fmla="*/ 14 w 192"/>
                    <a:gd name="T107" fmla="*/ 6 h 64"/>
                    <a:gd name="T108" fmla="*/ 17 w 192"/>
                    <a:gd name="T109" fmla="*/ 3 h 6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92"/>
                    <a:gd name="T166" fmla="*/ 0 h 64"/>
                    <a:gd name="T167" fmla="*/ 192 w 192"/>
                    <a:gd name="T168" fmla="*/ 64 h 6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92" h="64">
                      <a:moveTo>
                        <a:pt x="48" y="8"/>
                      </a:moveTo>
                      <a:lnTo>
                        <a:pt x="56" y="8"/>
                      </a:lnTo>
                      <a:lnTo>
                        <a:pt x="56" y="16"/>
                      </a:lnTo>
                      <a:lnTo>
                        <a:pt x="80" y="16"/>
                      </a:lnTo>
                      <a:lnTo>
                        <a:pt x="80" y="24"/>
                      </a:lnTo>
                      <a:lnTo>
                        <a:pt x="88" y="24"/>
                      </a:lnTo>
                      <a:lnTo>
                        <a:pt x="88" y="32"/>
                      </a:lnTo>
                      <a:lnTo>
                        <a:pt x="96" y="24"/>
                      </a:lnTo>
                      <a:lnTo>
                        <a:pt x="96" y="16"/>
                      </a:lnTo>
                      <a:lnTo>
                        <a:pt x="88" y="8"/>
                      </a:lnTo>
                      <a:lnTo>
                        <a:pt x="104" y="0"/>
                      </a:lnTo>
                      <a:lnTo>
                        <a:pt x="112" y="8"/>
                      </a:lnTo>
                      <a:lnTo>
                        <a:pt x="104" y="16"/>
                      </a:lnTo>
                      <a:lnTo>
                        <a:pt x="112" y="16"/>
                      </a:lnTo>
                      <a:lnTo>
                        <a:pt x="120" y="24"/>
                      </a:lnTo>
                      <a:lnTo>
                        <a:pt x="128" y="16"/>
                      </a:lnTo>
                      <a:lnTo>
                        <a:pt x="128" y="8"/>
                      </a:lnTo>
                      <a:lnTo>
                        <a:pt x="152" y="16"/>
                      </a:lnTo>
                      <a:lnTo>
                        <a:pt x="168" y="16"/>
                      </a:lnTo>
                      <a:lnTo>
                        <a:pt x="184" y="16"/>
                      </a:lnTo>
                      <a:lnTo>
                        <a:pt x="192" y="24"/>
                      </a:lnTo>
                      <a:lnTo>
                        <a:pt x="184" y="24"/>
                      </a:lnTo>
                      <a:lnTo>
                        <a:pt x="184" y="40"/>
                      </a:lnTo>
                      <a:lnTo>
                        <a:pt x="176" y="40"/>
                      </a:lnTo>
                      <a:lnTo>
                        <a:pt x="168" y="48"/>
                      </a:lnTo>
                      <a:lnTo>
                        <a:pt x="160" y="56"/>
                      </a:lnTo>
                      <a:lnTo>
                        <a:pt x="144" y="64"/>
                      </a:lnTo>
                      <a:lnTo>
                        <a:pt x="128" y="56"/>
                      </a:lnTo>
                      <a:lnTo>
                        <a:pt x="112" y="56"/>
                      </a:lnTo>
                      <a:lnTo>
                        <a:pt x="88" y="56"/>
                      </a:lnTo>
                      <a:lnTo>
                        <a:pt x="56" y="56"/>
                      </a:lnTo>
                      <a:lnTo>
                        <a:pt x="48" y="56"/>
                      </a:lnTo>
                      <a:lnTo>
                        <a:pt x="32" y="48"/>
                      </a:lnTo>
                      <a:lnTo>
                        <a:pt x="40" y="48"/>
                      </a:lnTo>
                      <a:lnTo>
                        <a:pt x="56" y="48"/>
                      </a:lnTo>
                      <a:lnTo>
                        <a:pt x="64" y="48"/>
                      </a:lnTo>
                      <a:lnTo>
                        <a:pt x="64" y="40"/>
                      </a:lnTo>
                      <a:lnTo>
                        <a:pt x="80" y="40"/>
                      </a:lnTo>
                      <a:lnTo>
                        <a:pt x="72" y="32"/>
                      </a:lnTo>
                      <a:lnTo>
                        <a:pt x="48" y="40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8" y="32"/>
                      </a:lnTo>
                      <a:lnTo>
                        <a:pt x="24" y="24"/>
                      </a:lnTo>
                      <a:lnTo>
                        <a:pt x="8" y="24"/>
                      </a:lnTo>
                      <a:lnTo>
                        <a:pt x="0" y="16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40" y="16"/>
                      </a:lnTo>
                      <a:lnTo>
                        <a:pt x="48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10" name="Freeform 188">
                  <a:extLst>
                    <a:ext uri="{FF2B5EF4-FFF2-40B4-BE49-F238E27FC236}">
                      <a16:creationId xmlns:a16="http://schemas.microsoft.com/office/drawing/2014/main" id="{851F0475-BE73-6A3D-C4B6-A226EE40F216}"/>
                    </a:ext>
                  </a:extLst>
                </p:cNvPr>
                <p:cNvSpPr/>
                <p:nvPr/>
              </p:nvSpPr>
              <p:spPr bwMode="gray">
                <a:xfrm>
                  <a:off x="2913" y="1227"/>
                  <a:ext cx="152" cy="106"/>
                </a:xfrm>
                <a:custGeom>
                  <a:avLst/>
                  <a:gdLst>
                    <a:gd name="T0" fmla="*/ 64 w 216"/>
                    <a:gd name="T1" fmla="*/ 16 h 152"/>
                    <a:gd name="T2" fmla="*/ 75 w 216"/>
                    <a:gd name="T3" fmla="*/ 22 h 152"/>
                    <a:gd name="T4" fmla="*/ 58 w 216"/>
                    <a:gd name="T5" fmla="*/ 27 h 152"/>
                    <a:gd name="T6" fmla="*/ 56 w 216"/>
                    <a:gd name="T7" fmla="*/ 36 h 152"/>
                    <a:gd name="T8" fmla="*/ 48 w 216"/>
                    <a:gd name="T9" fmla="*/ 46 h 152"/>
                    <a:gd name="T10" fmla="*/ 36 w 216"/>
                    <a:gd name="T11" fmla="*/ 49 h 152"/>
                    <a:gd name="T12" fmla="*/ 34 w 216"/>
                    <a:gd name="T13" fmla="*/ 46 h 152"/>
                    <a:gd name="T14" fmla="*/ 25 w 216"/>
                    <a:gd name="T15" fmla="*/ 43 h 152"/>
                    <a:gd name="T16" fmla="*/ 23 w 216"/>
                    <a:gd name="T17" fmla="*/ 38 h 152"/>
                    <a:gd name="T18" fmla="*/ 34 w 216"/>
                    <a:gd name="T19" fmla="*/ 41 h 152"/>
                    <a:gd name="T20" fmla="*/ 31 w 216"/>
                    <a:gd name="T21" fmla="*/ 38 h 152"/>
                    <a:gd name="T22" fmla="*/ 42 w 216"/>
                    <a:gd name="T23" fmla="*/ 36 h 152"/>
                    <a:gd name="T24" fmla="*/ 31 w 216"/>
                    <a:gd name="T25" fmla="*/ 36 h 152"/>
                    <a:gd name="T26" fmla="*/ 23 w 216"/>
                    <a:gd name="T27" fmla="*/ 38 h 152"/>
                    <a:gd name="T28" fmla="*/ 19 w 216"/>
                    <a:gd name="T29" fmla="*/ 33 h 152"/>
                    <a:gd name="T30" fmla="*/ 31 w 216"/>
                    <a:gd name="T31" fmla="*/ 30 h 152"/>
                    <a:gd name="T32" fmla="*/ 39 w 216"/>
                    <a:gd name="T33" fmla="*/ 27 h 152"/>
                    <a:gd name="T34" fmla="*/ 39 w 216"/>
                    <a:gd name="T35" fmla="*/ 27 h 152"/>
                    <a:gd name="T36" fmla="*/ 42 w 216"/>
                    <a:gd name="T37" fmla="*/ 22 h 152"/>
                    <a:gd name="T38" fmla="*/ 34 w 216"/>
                    <a:gd name="T39" fmla="*/ 24 h 152"/>
                    <a:gd name="T40" fmla="*/ 27 w 216"/>
                    <a:gd name="T41" fmla="*/ 22 h 152"/>
                    <a:gd name="T42" fmla="*/ 27 w 216"/>
                    <a:gd name="T43" fmla="*/ 27 h 152"/>
                    <a:gd name="T44" fmla="*/ 14 w 216"/>
                    <a:gd name="T45" fmla="*/ 30 h 152"/>
                    <a:gd name="T46" fmla="*/ 11 w 216"/>
                    <a:gd name="T47" fmla="*/ 24 h 152"/>
                    <a:gd name="T48" fmla="*/ 8 w 216"/>
                    <a:gd name="T49" fmla="*/ 24 h 152"/>
                    <a:gd name="T50" fmla="*/ 6 w 216"/>
                    <a:gd name="T51" fmla="*/ 19 h 152"/>
                    <a:gd name="T52" fmla="*/ 6 w 216"/>
                    <a:gd name="T53" fmla="*/ 14 h 152"/>
                    <a:gd name="T54" fmla="*/ 3 w 216"/>
                    <a:gd name="T55" fmla="*/ 16 h 152"/>
                    <a:gd name="T56" fmla="*/ 0 w 216"/>
                    <a:gd name="T57" fmla="*/ 14 h 152"/>
                    <a:gd name="T58" fmla="*/ 3 w 216"/>
                    <a:gd name="T59" fmla="*/ 6 h 152"/>
                    <a:gd name="T60" fmla="*/ 6 w 216"/>
                    <a:gd name="T61" fmla="*/ 6 h 152"/>
                    <a:gd name="T62" fmla="*/ 19 w 216"/>
                    <a:gd name="T63" fmla="*/ 6 h 152"/>
                    <a:gd name="T64" fmla="*/ 19 w 216"/>
                    <a:gd name="T65" fmla="*/ 8 h 152"/>
                    <a:gd name="T66" fmla="*/ 17 w 216"/>
                    <a:gd name="T67" fmla="*/ 10 h 152"/>
                    <a:gd name="T68" fmla="*/ 25 w 216"/>
                    <a:gd name="T69" fmla="*/ 14 h 152"/>
                    <a:gd name="T70" fmla="*/ 25 w 216"/>
                    <a:gd name="T71" fmla="*/ 6 h 152"/>
                    <a:gd name="T72" fmla="*/ 31 w 216"/>
                    <a:gd name="T73" fmla="*/ 10 h 152"/>
                    <a:gd name="T74" fmla="*/ 36 w 216"/>
                    <a:gd name="T75" fmla="*/ 16 h 152"/>
                    <a:gd name="T76" fmla="*/ 39 w 216"/>
                    <a:gd name="T77" fmla="*/ 16 h 152"/>
                    <a:gd name="T78" fmla="*/ 34 w 216"/>
                    <a:gd name="T79" fmla="*/ 3 h 152"/>
                    <a:gd name="T80" fmla="*/ 42 w 216"/>
                    <a:gd name="T81" fmla="*/ 0 h 152"/>
                    <a:gd name="T82" fmla="*/ 50 w 216"/>
                    <a:gd name="T83" fmla="*/ 6 h 152"/>
                    <a:gd name="T84" fmla="*/ 53 w 216"/>
                    <a:gd name="T85" fmla="*/ 8 h 152"/>
                    <a:gd name="T86" fmla="*/ 56 w 216"/>
                    <a:gd name="T87" fmla="*/ 14 h 152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16"/>
                    <a:gd name="T133" fmla="*/ 0 h 152"/>
                    <a:gd name="T134" fmla="*/ 216 w 216"/>
                    <a:gd name="T135" fmla="*/ 152 h 152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16" h="152">
                      <a:moveTo>
                        <a:pt x="168" y="40"/>
                      </a:moveTo>
                      <a:lnTo>
                        <a:pt x="176" y="48"/>
                      </a:lnTo>
                      <a:lnTo>
                        <a:pt x="184" y="48"/>
                      </a:lnTo>
                      <a:lnTo>
                        <a:pt x="192" y="56"/>
                      </a:lnTo>
                      <a:lnTo>
                        <a:pt x="216" y="56"/>
                      </a:lnTo>
                      <a:lnTo>
                        <a:pt x="216" y="64"/>
                      </a:lnTo>
                      <a:lnTo>
                        <a:pt x="200" y="64"/>
                      </a:lnTo>
                      <a:lnTo>
                        <a:pt x="176" y="72"/>
                      </a:lnTo>
                      <a:lnTo>
                        <a:pt x="168" y="80"/>
                      </a:lnTo>
                      <a:lnTo>
                        <a:pt x="168" y="88"/>
                      </a:lnTo>
                      <a:lnTo>
                        <a:pt x="152" y="96"/>
                      </a:lnTo>
                      <a:lnTo>
                        <a:pt x="160" y="104"/>
                      </a:lnTo>
                      <a:lnTo>
                        <a:pt x="152" y="112"/>
                      </a:lnTo>
                      <a:lnTo>
                        <a:pt x="136" y="120"/>
                      </a:lnTo>
                      <a:lnTo>
                        <a:pt x="136" y="136"/>
                      </a:lnTo>
                      <a:lnTo>
                        <a:pt x="128" y="136"/>
                      </a:lnTo>
                      <a:lnTo>
                        <a:pt x="120" y="152"/>
                      </a:lnTo>
                      <a:lnTo>
                        <a:pt x="104" y="144"/>
                      </a:lnTo>
                      <a:lnTo>
                        <a:pt x="112" y="144"/>
                      </a:lnTo>
                      <a:lnTo>
                        <a:pt x="104" y="136"/>
                      </a:lnTo>
                      <a:lnTo>
                        <a:pt x="96" y="136"/>
                      </a:lnTo>
                      <a:lnTo>
                        <a:pt x="96" y="144"/>
                      </a:lnTo>
                      <a:lnTo>
                        <a:pt x="88" y="136"/>
                      </a:lnTo>
                      <a:lnTo>
                        <a:pt x="72" y="128"/>
                      </a:lnTo>
                      <a:lnTo>
                        <a:pt x="72" y="120"/>
                      </a:lnTo>
                      <a:lnTo>
                        <a:pt x="56" y="120"/>
                      </a:lnTo>
                      <a:lnTo>
                        <a:pt x="64" y="112"/>
                      </a:lnTo>
                      <a:lnTo>
                        <a:pt x="72" y="112"/>
                      </a:lnTo>
                      <a:lnTo>
                        <a:pt x="80" y="112"/>
                      </a:lnTo>
                      <a:lnTo>
                        <a:pt x="96" y="120"/>
                      </a:lnTo>
                      <a:lnTo>
                        <a:pt x="96" y="112"/>
                      </a:lnTo>
                      <a:lnTo>
                        <a:pt x="80" y="112"/>
                      </a:lnTo>
                      <a:lnTo>
                        <a:pt x="88" y="112"/>
                      </a:lnTo>
                      <a:lnTo>
                        <a:pt x="96" y="112"/>
                      </a:lnTo>
                      <a:lnTo>
                        <a:pt x="104" y="104"/>
                      </a:lnTo>
                      <a:lnTo>
                        <a:pt x="120" y="104"/>
                      </a:lnTo>
                      <a:lnTo>
                        <a:pt x="112" y="96"/>
                      </a:lnTo>
                      <a:lnTo>
                        <a:pt x="104" y="104"/>
                      </a:lnTo>
                      <a:lnTo>
                        <a:pt x="88" y="104"/>
                      </a:lnTo>
                      <a:lnTo>
                        <a:pt x="80" y="104"/>
                      </a:lnTo>
                      <a:lnTo>
                        <a:pt x="72" y="104"/>
                      </a:lnTo>
                      <a:lnTo>
                        <a:pt x="64" y="112"/>
                      </a:lnTo>
                      <a:lnTo>
                        <a:pt x="56" y="104"/>
                      </a:lnTo>
                      <a:lnTo>
                        <a:pt x="64" y="104"/>
                      </a:lnTo>
                      <a:lnTo>
                        <a:pt x="56" y="96"/>
                      </a:lnTo>
                      <a:lnTo>
                        <a:pt x="72" y="96"/>
                      </a:lnTo>
                      <a:lnTo>
                        <a:pt x="80" y="88"/>
                      </a:lnTo>
                      <a:lnTo>
                        <a:pt x="88" y="88"/>
                      </a:lnTo>
                      <a:lnTo>
                        <a:pt x="88" y="80"/>
                      </a:lnTo>
                      <a:lnTo>
                        <a:pt x="96" y="80"/>
                      </a:lnTo>
                      <a:lnTo>
                        <a:pt x="112" y="80"/>
                      </a:lnTo>
                      <a:lnTo>
                        <a:pt x="128" y="80"/>
                      </a:lnTo>
                      <a:lnTo>
                        <a:pt x="120" y="80"/>
                      </a:lnTo>
                      <a:lnTo>
                        <a:pt x="112" y="80"/>
                      </a:lnTo>
                      <a:lnTo>
                        <a:pt x="104" y="80"/>
                      </a:lnTo>
                      <a:lnTo>
                        <a:pt x="120" y="72"/>
                      </a:lnTo>
                      <a:lnTo>
                        <a:pt x="120" y="64"/>
                      </a:lnTo>
                      <a:lnTo>
                        <a:pt x="112" y="72"/>
                      </a:lnTo>
                      <a:lnTo>
                        <a:pt x="104" y="72"/>
                      </a:lnTo>
                      <a:lnTo>
                        <a:pt x="96" y="72"/>
                      </a:lnTo>
                      <a:lnTo>
                        <a:pt x="96" y="64"/>
                      </a:lnTo>
                      <a:lnTo>
                        <a:pt x="88" y="64"/>
                      </a:lnTo>
                      <a:lnTo>
                        <a:pt x="80" y="64"/>
                      </a:lnTo>
                      <a:lnTo>
                        <a:pt x="72" y="64"/>
                      </a:lnTo>
                      <a:lnTo>
                        <a:pt x="80" y="72"/>
                      </a:lnTo>
                      <a:lnTo>
                        <a:pt x="80" y="80"/>
                      </a:lnTo>
                      <a:lnTo>
                        <a:pt x="72" y="80"/>
                      </a:lnTo>
                      <a:lnTo>
                        <a:pt x="56" y="88"/>
                      </a:lnTo>
                      <a:lnTo>
                        <a:pt x="40" y="88"/>
                      </a:lnTo>
                      <a:lnTo>
                        <a:pt x="40" y="80"/>
                      </a:lnTo>
                      <a:lnTo>
                        <a:pt x="32" y="80"/>
                      </a:lnTo>
                      <a:lnTo>
                        <a:pt x="32" y="72"/>
                      </a:lnTo>
                      <a:lnTo>
                        <a:pt x="48" y="72"/>
                      </a:lnTo>
                      <a:lnTo>
                        <a:pt x="32" y="72"/>
                      </a:lnTo>
                      <a:lnTo>
                        <a:pt x="24" y="72"/>
                      </a:lnTo>
                      <a:lnTo>
                        <a:pt x="16" y="64"/>
                      </a:lnTo>
                      <a:lnTo>
                        <a:pt x="24" y="64"/>
                      </a:lnTo>
                      <a:lnTo>
                        <a:pt x="16" y="56"/>
                      </a:lnTo>
                      <a:lnTo>
                        <a:pt x="24" y="56"/>
                      </a:lnTo>
                      <a:lnTo>
                        <a:pt x="24" y="48"/>
                      </a:lnTo>
                      <a:lnTo>
                        <a:pt x="16" y="40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8" y="48"/>
                      </a:lnTo>
                      <a:lnTo>
                        <a:pt x="0" y="48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48" y="16"/>
                      </a:lnTo>
                      <a:lnTo>
                        <a:pt x="56" y="16"/>
                      </a:lnTo>
                      <a:lnTo>
                        <a:pt x="64" y="16"/>
                      </a:lnTo>
                      <a:lnTo>
                        <a:pt x="56" y="16"/>
                      </a:lnTo>
                      <a:lnTo>
                        <a:pt x="56" y="24"/>
                      </a:lnTo>
                      <a:lnTo>
                        <a:pt x="32" y="24"/>
                      </a:lnTo>
                      <a:lnTo>
                        <a:pt x="48" y="24"/>
                      </a:lnTo>
                      <a:lnTo>
                        <a:pt x="48" y="32"/>
                      </a:lnTo>
                      <a:lnTo>
                        <a:pt x="56" y="32"/>
                      </a:lnTo>
                      <a:lnTo>
                        <a:pt x="56" y="40"/>
                      </a:lnTo>
                      <a:lnTo>
                        <a:pt x="72" y="40"/>
                      </a:lnTo>
                      <a:lnTo>
                        <a:pt x="64" y="32"/>
                      </a:lnTo>
                      <a:lnTo>
                        <a:pt x="64" y="24"/>
                      </a:lnTo>
                      <a:lnTo>
                        <a:pt x="72" y="16"/>
                      </a:lnTo>
                      <a:lnTo>
                        <a:pt x="80" y="16"/>
                      </a:lnTo>
                      <a:lnTo>
                        <a:pt x="88" y="24"/>
                      </a:lnTo>
                      <a:lnTo>
                        <a:pt x="88" y="32"/>
                      </a:lnTo>
                      <a:lnTo>
                        <a:pt x="96" y="32"/>
                      </a:lnTo>
                      <a:lnTo>
                        <a:pt x="96" y="48"/>
                      </a:lnTo>
                      <a:lnTo>
                        <a:pt x="104" y="48"/>
                      </a:lnTo>
                      <a:lnTo>
                        <a:pt x="104" y="56"/>
                      </a:lnTo>
                      <a:lnTo>
                        <a:pt x="112" y="56"/>
                      </a:lnTo>
                      <a:lnTo>
                        <a:pt x="112" y="48"/>
                      </a:lnTo>
                      <a:lnTo>
                        <a:pt x="104" y="40"/>
                      </a:lnTo>
                      <a:lnTo>
                        <a:pt x="104" y="24"/>
                      </a:lnTo>
                      <a:lnTo>
                        <a:pt x="96" y="8"/>
                      </a:lnTo>
                      <a:lnTo>
                        <a:pt x="104" y="8"/>
                      </a:lnTo>
                      <a:lnTo>
                        <a:pt x="112" y="0"/>
                      </a:lnTo>
                      <a:lnTo>
                        <a:pt x="120" y="0"/>
                      </a:lnTo>
                      <a:lnTo>
                        <a:pt x="120" y="8"/>
                      </a:lnTo>
                      <a:lnTo>
                        <a:pt x="136" y="8"/>
                      </a:lnTo>
                      <a:lnTo>
                        <a:pt x="144" y="16"/>
                      </a:lnTo>
                      <a:lnTo>
                        <a:pt x="136" y="24"/>
                      </a:lnTo>
                      <a:lnTo>
                        <a:pt x="144" y="32"/>
                      </a:lnTo>
                      <a:lnTo>
                        <a:pt x="152" y="24"/>
                      </a:lnTo>
                      <a:lnTo>
                        <a:pt x="160" y="24"/>
                      </a:lnTo>
                      <a:lnTo>
                        <a:pt x="160" y="32"/>
                      </a:lnTo>
                      <a:lnTo>
                        <a:pt x="160" y="40"/>
                      </a:lnTo>
                      <a:lnTo>
                        <a:pt x="168" y="4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11" name="Freeform 189">
                  <a:extLst>
                    <a:ext uri="{FF2B5EF4-FFF2-40B4-BE49-F238E27FC236}">
                      <a16:creationId xmlns:a16="http://schemas.microsoft.com/office/drawing/2014/main" id="{C2DE1C46-6547-A81B-573F-178CA94FA7B6}"/>
                    </a:ext>
                  </a:extLst>
                </p:cNvPr>
                <p:cNvSpPr/>
                <p:nvPr/>
              </p:nvSpPr>
              <p:spPr bwMode="gray">
                <a:xfrm>
                  <a:off x="3053" y="1277"/>
                  <a:ext cx="23" cy="11"/>
                </a:xfrm>
                <a:custGeom>
                  <a:avLst/>
                  <a:gdLst>
                    <a:gd name="T0" fmla="*/ 12 w 32"/>
                    <a:gd name="T1" fmla="*/ 0 h 16"/>
                    <a:gd name="T2" fmla="*/ 9 w 32"/>
                    <a:gd name="T3" fmla="*/ 0 h 16"/>
                    <a:gd name="T4" fmla="*/ 3 w 32"/>
                    <a:gd name="T5" fmla="*/ 0 h 16"/>
                    <a:gd name="T6" fmla="*/ 0 w 32"/>
                    <a:gd name="T7" fmla="*/ 3 h 16"/>
                    <a:gd name="T8" fmla="*/ 3 w 32"/>
                    <a:gd name="T9" fmla="*/ 6 h 16"/>
                    <a:gd name="T10" fmla="*/ 12 w 32"/>
                    <a:gd name="T11" fmla="*/ 3 h 16"/>
                    <a:gd name="T12" fmla="*/ 12 w 32"/>
                    <a:gd name="T13" fmla="*/ 0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16"/>
                    <a:gd name="T23" fmla="*/ 32 w 32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16">
                      <a:moveTo>
                        <a:pt x="32" y="0"/>
                      </a:move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32" y="8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12" name="Freeform 190">
                  <a:extLst>
                    <a:ext uri="{FF2B5EF4-FFF2-40B4-BE49-F238E27FC236}">
                      <a16:creationId xmlns:a16="http://schemas.microsoft.com/office/drawing/2014/main" id="{26A65169-A0EB-E066-85A6-097AE95EF5EF}"/>
                    </a:ext>
                  </a:extLst>
                </p:cNvPr>
                <p:cNvSpPr/>
                <p:nvPr/>
              </p:nvSpPr>
              <p:spPr bwMode="gray">
                <a:xfrm>
                  <a:off x="3059" y="1288"/>
                  <a:ext cx="56" cy="29"/>
                </a:xfrm>
                <a:custGeom>
                  <a:avLst/>
                  <a:gdLst>
                    <a:gd name="T0" fmla="*/ 14 w 80"/>
                    <a:gd name="T1" fmla="*/ 0 h 40"/>
                    <a:gd name="T2" fmla="*/ 10 w 80"/>
                    <a:gd name="T3" fmla="*/ 0 h 40"/>
                    <a:gd name="T4" fmla="*/ 6 w 80"/>
                    <a:gd name="T5" fmla="*/ 0 h 40"/>
                    <a:gd name="T6" fmla="*/ 3 w 80"/>
                    <a:gd name="T7" fmla="*/ 0 h 40"/>
                    <a:gd name="T8" fmla="*/ 0 w 80"/>
                    <a:gd name="T9" fmla="*/ 0 h 40"/>
                    <a:gd name="T10" fmla="*/ 0 w 80"/>
                    <a:gd name="T11" fmla="*/ 3 h 40"/>
                    <a:gd name="T12" fmla="*/ 6 w 80"/>
                    <a:gd name="T13" fmla="*/ 3 h 40"/>
                    <a:gd name="T14" fmla="*/ 3 w 80"/>
                    <a:gd name="T15" fmla="*/ 7 h 40"/>
                    <a:gd name="T16" fmla="*/ 3 w 80"/>
                    <a:gd name="T17" fmla="*/ 9 h 40"/>
                    <a:gd name="T18" fmla="*/ 0 w 80"/>
                    <a:gd name="T19" fmla="*/ 12 h 40"/>
                    <a:gd name="T20" fmla="*/ 8 w 80"/>
                    <a:gd name="T21" fmla="*/ 12 h 40"/>
                    <a:gd name="T22" fmla="*/ 14 w 80"/>
                    <a:gd name="T23" fmla="*/ 12 h 40"/>
                    <a:gd name="T24" fmla="*/ 10 w 80"/>
                    <a:gd name="T25" fmla="*/ 12 h 40"/>
                    <a:gd name="T26" fmla="*/ 10 w 80"/>
                    <a:gd name="T27" fmla="*/ 15 h 40"/>
                    <a:gd name="T28" fmla="*/ 17 w 80"/>
                    <a:gd name="T29" fmla="*/ 15 h 40"/>
                    <a:gd name="T30" fmla="*/ 19 w 80"/>
                    <a:gd name="T31" fmla="*/ 12 h 40"/>
                    <a:gd name="T32" fmla="*/ 19 w 80"/>
                    <a:gd name="T33" fmla="*/ 9 h 40"/>
                    <a:gd name="T34" fmla="*/ 22 w 80"/>
                    <a:gd name="T35" fmla="*/ 9 h 40"/>
                    <a:gd name="T36" fmla="*/ 27 w 80"/>
                    <a:gd name="T37" fmla="*/ 9 h 40"/>
                    <a:gd name="T38" fmla="*/ 27 w 80"/>
                    <a:gd name="T39" fmla="*/ 7 h 40"/>
                    <a:gd name="T40" fmla="*/ 22 w 80"/>
                    <a:gd name="T41" fmla="*/ 7 h 40"/>
                    <a:gd name="T42" fmla="*/ 19 w 80"/>
                    <a:gd name="T43" fmla="*/ 7 h 40"/>
                    <a:gd name="T44" fmla="*/ 17 w 80"/>
                    <a:gd name="T45" fmla="*/ 3 h 40"/>
                    <a:gd name="T46" fmla="*/ 14 w 80"/>
                    <a:gd name="T47" fmla="*/ 3 h 40"/>
                    <a:gd name="T48" fmla="*/ 17 w 80"/>
                    <a:gd name="T49" fmla="*/ 0 h 40"/>
                    <a:gd name="T50" fmla="*/ 14 w 80"/>
                    <a:gd name="T51" fmla="*/ 0 h 4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80"/>
                    <a:gd name="T79" fmla="*/ 0 h 40"/>
                    <a:gd name="T80" fmla="*/ 80 w 80"/>
                    <a:gd name="T81" fmla="*/ 40 h 4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80" h="40">
                      <a:moveTo>
                        <a:pt x="40" y="0"/>
                      </a:move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16" y="8"/>
                      </a:ln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24" y="32"/>
                      </a:lnTo>
                      <a:lnTo>
                        <a:pt x="40" y="32"/>
                      </a:lnTo>
                      <a:lnTo>
                        <a:pt x="32" y="32"/>
                      </a:lnTo>
                      <a:lnTo>
                        <a:pt x="32" y="40"/>
                      </a:lnTo>
                      <a:lnTo>
                        <a:pt x="48" y="40"/>
                      </a:lnTo>
                      <a:lnTo>
                        <a:pt x="56" y="32"/>
                      </a:lnTo>
                      <a:lnTo>
                        <a:pt x="56" y="24"/>
                      </a:lnTo>
                      <a:lnTo>
                        <a:pt x="64" y="24"/>
                      </a:lnTo>
                      <a:lnTo>
                        <a:pt x="80" y="24"/>
                      </a:lnTo>
                      <a:lnTo>
                        <a:pt x="80" y="16"/>
                      </a:lnTo>
                      <a:lnTo>
                        <a:pt x="64" y="16"/>
                      </a:lnTo>
                      <a:lnTo>
                        <a:pt x="56" y="16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48" y="0"/>
                      </a:lnTo>
                      <a:lnTo>
                        <a:pt x="40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13" name="Freeform 191">
                  <a:extLst>
                    <a:ext uri="{FF2B5EF4-FFF2-40B4-BE49-F238E27FC236}">
                      <a16:creationId xmlns:a16="http://schemas.microsoft.com/office/drawing/2014/main" id="{F8E01427-75EF-006D-3129-879C79009CAF}"/>
                    </a:ext>
                  </a:extLst>
                </p:cNvPr>
                <p:cNvSpPr/>
                <p:nvPr/>
              </p:nvSpPr>
              <p:spPr bwMode="gray">
                <a:xfrm>
                  <a:off x="2907" y="1266"/>
                  <a:ext cx="28" cy="22"/>
                </a:xfrm>
                <a:custGeom>
                  <a:avLst/>
                  <a:gdLst>
                    <a:gd name="T0" fmla="*/ 3 w 40"/>
                    <a:gd name="T1" fmla="*/ 6 h 32"/>
                    <a:gd name="T2" fmla="*/ 3 w 40"/>
                    <a:gd name="T3" fmla="*/ 3 h 32"/>
                    <a:gd name="T4" fmla="*/ 0 w 40"/>
                    <a:gd name="T5" fmla="*/ 3 h 32"/>
                    <a:gd name="T6" fmla="*/ 3 w 40"/>
                    <a:gd name="T7" fmla="*/ 0 h 32"/>
                    <a:gd name="T8" fmla="*/ 6 w 40"/>
                    <a:gd name="T9" fmla="*/ 3 h 32"/>
                    <a:gd name="T10" fmla="*/ 6 w 40"/>
                    <a:gd name="T11" fmla="*/ 6 h 32"/>
                    <a:gd name="T12" fmla="*/ 10 w 40"/>
                    <a:gd name="T13" fmla="*/ 8 h 32"/>
                    <a:gd name="T14" fmla="*/ 14 w 40"/>
                    <a:gd name="T15" fmla="*/ 8 h 32"/>
                    <a:gd name="T16" fmla="*/ 10 w 40"/>
                    <a:gd name="T17" fmla="*/ 10 h 32"/>
                    <a:gd name="T18" fmla="*/ 8 w 40"/>
                    <a:gd name="T19" fmla="*/ 10 h 32"/>
                    <a:gd name="T20" fmla="*/ 6 w 40"/>
                    <a:gd name="T21" fmla="*/ 8 h 32"/>
                    <a:gd name="T22" fmla="*/ 3 w 40"/>
                    <a:gd name="T23" fmla="*/ 8 h 32"/>
                    <a:gd name="T24" fmla="*/ 3 w 40"/>
                    <a:gd name="T25" fmla="*/ 6 h 3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0"/>
                    <a:gd name="T40" fmla="*/ 0 h 32"/>
                    <a:gd name="T41" fmla="*/ 40 w 40"/>
                    <a:gd name="T42" fmla="*/ 32 h 3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0" h="32">
                      <a:moveTo>
                        <a:pt x="8" y="16"/>
                      </a:move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32" y="24"/>
                      </a:lnTo>
                      <a:lnTo>
                        <a:pt x="40" y="24"/>
                      </a:lnTo>
                      <a:lnTo>
                        <a:pt x="32" y="32"/>
                      </a:lnTo>
                      <a:lnTo>
                        <a:pt x="24" y="32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14" name="Freeform 192">
                  <a:extLst>
                    <a:ext uri="{FF2B5EF4-FFF2-40B4-BE49-F238E27FC236}">
                      <a16:creationId xmlns:a16="http://schemas.microsoft.com/office/drawing/2014/main" id="{134F2DD5-3843-D566-43EC-680338AB6153}"/>
                    </a:ext>
                  </a:extLst>
                </p:cNvPr>
                <p:cNvSpPr/>
                <p:nvPr/>
              </p:nvSpPr>
              <p:spPr bwMode="gray">
                <a:xfrm>
                  <a:off x="3076" y="1851"/>
                  <a:ext cx="17" cy="17"/>
                </a:xfrm>
                <a:custGeom>
                  <a:avLst/>
                  <a:gdLst>
                    <a:gd name="T0" fmla="*/ 9 w 24"/>
                    <a:gd name="T1" fmla="*/ 3 h 24"/>
                    <a:gd name="T2" fmla="*/ 9 w 24"/>
                    <a:gd name="T3" fmla="*/ 0 h 24"/>
                    <a:gd name="T4" fmla="*/ 6 w 24"/>
                    <a:gd name="T5" fmla="*/ 0 h 24"/>
                    <a:gd name="T6" fmla="*/ 0 w 24"/>
                    <a:gd name="T7" fmla="*/ 3 h 24"/>
                    <a:gd name="T8" fmla="*/ 0 w 24"/>
                    <a:gd name="T9" fmla="*/ 9 h 24"/>
                    <a:gd name="T10" fmla="*/ 3 w 24"/>
                    <a:gd name="T11" fmla="*/ 9 h 24"/>
                    <a:gd name="T12" fmla="*/ 6 w 24"/>
                    <a:gd name="T13" fmla="*/ 6 h 24"/>
                    <a:gd name="T14" fmla="*/ 9 w 24"/>
                    <a:gd name="T15" fmla="*/ 3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24"/>
                    <a:gd name="T26" fmla="*/ 24 w 24"/>
                    <a:gd name="T27" fmla="*/ 24 h 2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24">
                      <a:moveTo>
                        <a:pt x="24" y="8"/>
                      </a:move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16" y="16"/>
                      </a:lnTo>
                      <a:lnTo>
                        <a:pt x="24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15" name="Freeform 193">
                  <a:extLst>
                    <a:ext uri="{FF2B5EF4-FFF2-40B4-BE49-F238E27FC236}">
                      <a16:creationId xmlns:a16="http://schemas.microsoft.com/office/drawing/2014/main" id="{0C20478E-E88F-9C8F-39DA-C882C1E06E47}"/>
                    </a:ext>
                  </a:extLst>
                </p:cNvPr>
                <p:cNvSpPr/>
                <p:nvPr/>
              </p:nvSpPr>
              <p:spPr bwMode="gray">
                <a:xfrm>
                  <a:off x="2879" y="1879"/>
                  <a:ext cx="34" cy="28"/>
                </a:xfrm>
                <a:custGeom>
                  <a:avLst/>
                  <a:gdLst>
                    <a:gd name="T0" fmla="*/ 0 w 48"/>
                    <a:gd name="T1" fmla="*/ 14 h 40"/>
                    <a:gd name="T2" fmla="*/ 3 w 48"/>
                    <a:gd name="T3" fmla="*/ 10 h 40"/>
                    <a:gd name="T4" fmla="*/ 6 w 48"/>
                    <a:gd name="T5" fmla="*/ 8 h 40"/>
                    <a:gd name="T6" fmla="*/ 9 w 48"/>
                    <a:gd name="T7" fmla="*/ 8 h 40"/>
                    <a:gd name="T8" fmla="*/ 14 w 48"/>
                    <a:gd name="T9" fmla="*/ 6 h 40"/>
                    <a:gd name="T10" fmla="*/ 17 w 48"/>
                    <a:gd name="T11" fmla="*/ 3 h 40"/>
                    <a:gd name="T12" fmla="*/ 17 w 48"/>
                    <a:gd name="T13" fmla="*/ 0 h 40"/>
                    <a:gd name="T14" fmla="*/ 11 w 48"/>
                    <a:gd name="T15" fmla="*/ 0 h 40"/>
                    <a:gd name="T16" fmla="*/ 9 w 48"/>
                    <a:gd name="T17" fmla="*/ 3 h 40"/>
                    <a:gd name="T18" fmla="*/ 6 w 48"/>
                    <a:gd name="T19" fmla="*/ 6 h 40"/>
                    <a:gd name="T20" fmla="*/ 3 w 48"/>
                    <a:gd name="T21" fmla="*/ 6 h 40"/>
                    <a:gd name="T22" fmla="*/ 0 w 48"/>
                    <a:gd name="T23" fmla="*/ 8 h 40"/>
                    <a:gd name="T24" fmla="*/ 0 w 48"/>
                    <a:gd name="T25" fmla="*/ 14 h 4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8"/>
                    <a:gd name="T40" fmla="*/ 0 h 40"/>
                    <a:gd name="T41" fmla="*/ 48 w 48"/>
                    <a:gd name="T42" fmla="*/ 40 h 4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8" h="40">
                      <a:moveTo>
                        <a:pt x="0" y="40"/>
                      </a:moveTo>
                      <a:lnTo>
                        <a:pt x="8" y="32"/>
                      </a:ln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40" y="16"/>
                      </a:lnTo>
                      <a:lnTo>
                        <a:pt x="48" y="8"/>
                      </a:lnTo>
                      <a:lnTo>
                        <a:pt x="48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0" y="24"/>
                      </a:lnTo>
                      <a:lnTo>
                        <a:pt x="0" y="4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16" name="Freeform 194">
                  <a:extLst>
                    <a:ext uri="{FF2B5EF4-FFF2-40B4-BE49-F238E27FC236}">
                      <a16:creationId xmlns:a16="http://schemas.microsoft.com/office/drawing/2014/main" id="{7EAD853A-1AC6-9543-0C7C-18332D8279AD}"/>
                    </a:ext>
                  </a:extLst>
                </p:cNvPr>
                <p:cNvSpPr/>
                <p:nvPr/>
              </p:nvSpPr>
              <p:spPr bwMode="gray">
                <a:xfrm>
                  <a:off x="2671" y="1857"/>
                  <a:ext cx="112" cy="208"/>
                </a:xfrm>
                <a:custGeom>
                  <a:avLst/>
                  <a:gdLst>
                    <a:gd name="T0" fmla="*/ 19 w 160"/>
                    <a:gd name="T1" fmla="*/ 0 h 296"/>
                    <a:gd name="T2" fmla="*/ 8 w 160"/>
                    <a:gd name="T3" fmla="*/ 3 h 296"/>
                    <a:gd name="T4" fmla="*/ 3 w 160"/>
                    <a:gd name="T5" fmla="*/ 11 h 296"/>
                    <a:gd name="T6" fmla="*/ 6 w 160"/>
                    <a:gd name="T7" fmla="*/ 17 h 296"/>
                    <a:gd name="T8" fmla="*/ 3 w 160"/>
                    <a:gd name="T9" fmla="*/ 22 h 296"/>
                    <a:gd name="T10" fmla="*/ 3 w 160"/>
                    <a:gd name="T11" fmla="*/ 31 h 296"/>
                    <a:gd name="T12" fmla="*/ 6 w 160"/>
                    <a:gd name="T13" fmla="*/ 25 h 296"/>
                    <a:gd name="T14" fmla="*/ 8 w 160"/>
                    <a:gd name="T15" fmla="*/ 27 h 296"/>
                    <a:gd name="T16" fmla="*/ 6 w 160"/>
                    <a:gd name="T17" fmla="*/ 33 h 296"/>
                    <a:gd name="T18" fmla="*/ 6 w 160"/>
                    <a:gd name="T19" fmla="*/ 41 h 296"/>
                    <a:gd name="T20" fmla="*/ 8 w 160"/>
                    <a:gd name="T21" fmla="*/ 36 h 296"/>
                    <a:gd name="T22" fmla="*/ 10 w 160"/>
                    <a:gd name="T23" fmla="*/ 36 h 296"/>
                    <a:gd name="T24" fmla="*/ 10 w 160"/>
                    <a:gd name="T25" fmla="*/ 41 h 296"/>
                    <a:gd name="T26" fmla="*/ 8 w 160"/>
                    <a:gd name="T27" fmla="*/ 50 h 296"/>
                    <a:gd name="T28" fmla="*/ 17 w 160"/>
                    <a:gd name="T29" fmla="*/ 50 h 296"/>
                    <a:gd name="T30" fmla="*/ 19 w 160"/>
                    <a:gd name="T31" fmla="*/ 53 h 296"/>
                    <a:gd name="T32" fmla="*/ 22 w 160"/>
                    <a:gd name="T33" fmla="*/ 58 h 296"/>
                    <a:gd name="T34" fmla="*/ 25 w 160"/>
                    <a:gd name="T35" fmla="*/ 64 h 296"/>
                    <a:gd name="T36" fmla="*/ 19 w 160"/>
                    <a:gd name="T37" fmla="*/ 67 h 296"/>
                    <a:gd name="T38" fmla="*/ 14 w 160"/>
                    <a:gd name="T39" fmla="*/ 72 h 296"/>
                    <a:gd name="T40" fmla="*/ 14 w 160"/>
                    <a:gd name="T41" fmla="*/ 81 h 296"/>
                    <a:gd name="T42" fmla="*/ 8 w 160"/>
                    <a:gd name="T43" fmla="*/ 84 h 296"/>
                    <a:gd name="T44" fmla="*/ 17 w 160"/>
                    <a:gd name="T45" fmla="*/ 86 h 296"/>
                    <a:gd name="T46" fmla="*/ 22 w 160"/>
                    <a:gd name="T47" fmla="*/ 89 h 296"/>
                    <a:gd name="T48" fmla="*/ 25 w 160"/>
                    <a:gd name="T49" fmla="*/ 86 h 296"/>
                    <a:gd name="T50" fmla="*/ 22 w 160"/>
                    <a:gd name="T51" fmla="*/ 92 h 296"/>
                    <a:gd name="T52" fmla="*/ 17 w 160"/>
                    <a:gd name="T53" fmla="*/ 94 h 296"/>
                    <a:gd name="T54" fmla="*/ 10 w 160"/>
                    <a:gd name="T55" fmla="*/ 97 h 296"/>
                    <a:gd name="T56" fmla="*/ 10 w 160"/>
                    <a:gd name="T57" fmla="*/ 103 h 296"/>
                    <a:gd name="T58" fmla="*/ 22 w 160"/>
                    <a:gd name="T59" fmla="*/ 100 h 296"/>
                    <a:gd name="T60" fmla="*/ 27 w 160"/>
                    <a:gd name="T61" fmla="*/ 97 h 296"/>
                    <a:gd name="T62" fmla="*/ 41 w 160"/>
                    <a:gd name="T63" fmla="*/ 94 h 296"/>
                    <a:gd name="T64" fmla="*/ 52 w 160"/>
                    <a:gd name="T65" fmla="*/ 92 h 296"/>
                    <a:gd name="T66" fmla="*/ 50 w 160"/>
                    <a:gd name="T67" fmla="*/ 89 h 296"/>
                    <a:gd name="T68" fmla="*/ 47 w 160"/>
                    <a:gd name="T69" fmla="*/ 86 h 296"/>
                    <a:gd name="T70" fmla="*/ 52 w 160"/>
                    <a:gd name="T71" fmla="*/ 84 h 296"/>
                    <a:gd name="T72" fmla="*/ 55 w 160"/>
                    <a:gd name="T73" fmla="*/ 72 h 296"/>
                    <a:gd name="T74" fmla="*/ 44 w 160"/>
                    <a:gd name="T75" fmla="*/ 72 h 296"/>
                    <a:gd name="T76" fmla="*/ 44 w 160"/>
                    <a:gd name="T77" fmla="*/ 56 h 296"/>
                    <a:gd name="T78" fmla="*/ 36 w 160"/>
                    <a:gd name="T79" fmla="*/ 50 h 296"/>
                    <a:gd name="T80" fmla="*/ 30 w 160"/>
                    <a:gd name="T81" fmla="*/ 33 h 296"/>
                    <a:gd name="T82" fmla="*/ 25 w 160"/>
                    <a:gd name="T83" fmla="*/ 33 h 296"/>
                    <a:gd name="T84" fmla="*/ 25 w 160"/>
                    <a:gd name="T85" fmla="*/ 31 h 296"/>
                    <a:gd name="T86" fmla="*/ 30 w 160"/>
                    <a:gd name="T87" fmla="*/ 14 h 296"/>
                    <a:gd name="T88" fmla="*/ 25 w 160"/>
                    <a:gd name="T89" fmla="*/ 11 h 296"/>
                    <a:gd name="T90" fmla="*/ 19 w 160"/>
                    <a:gd name="T91" fmla="*/ 6 h 296"/>
                    <a:gd name="T92" fmla="*/ 25 w 160"/>
                    <a:gd name="T93" fmla="*/ 0 h 29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160"/>
                    <a:gd name="T142" fmla="*/ 0 h 296"/>
                    <a:gd name="T143" fmla="*/ 160 w 160"/>
                    <a:gd name="T144" fmla="*/ 296 h 29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160" h="296">
                      <a:moveTo>
                        <a:pt x="72" y="0"/>
                      </a:moveTo>
                      <a:lnTo>
                        <a:pt x="56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8" y="32"/>
                      </a:lnTo>
                      <a:lnTo>
                        <a:pt x="8" y="40"/>
                      </a:lnTo>
                      <a:lnTo>
                        <a:pt x="16" y="48"/>
                      </a:lnTo>
                      <a:lnTo>
                        <a:pt x="16" y="56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88"/>
                      </a:lnTo>
                      <a:lnTo>
                        <a:pt x="8" y="80"/>
                      </a:lnTo>
                      <a:lnTo>
                        <a:pt x="16" y="72"/>
                      </a:lnTo>
                      <a:lnTo>
                        <a:pt x="24" y="72"/>
                      </a:lnTo>
                      <a:lnTo>
                        <a:pt x="24" y="80"/>
                      </a:lnTo>
                      <a:lnTo>
                        <a:pt x="16" y="88"/>
                      </a:lnTo>
                      <a:lnTo>
                        <a:pt x="16" y="96"/>
                      </a:lnTo>
                      <a:lnTo>
                        <a:pt x="16" y="112"/>
                      </a:lnTo>
                      <a:lnTo>
                        <a:pt x="16" y="120"/>
                      </a:lnTo>
                      <a:lnTo>
                        <a:pt x="16" y="112"/>
                      </a:lnTo>
                      <a:lnTo>
                        <a:pt x="24" y="104"/>
                      </a:lnTo>
                      <a:lnTo>
                        <a:pt x="32" y="96"/>
                      </a:lnTo>
                      <a:lnTo>
                        <a:pt x="32" y="104"/>
                      </a:lnTo>
                      <a:lnTo>
                        <a:pt x="32" y="112"/>
                      </a:lnTo>
                      <a:lnTo>
                        <a:pt x="32" y="120"/>
                      </a:lnTo>
                      <a:lnTo>
                        <a:pt x="24" y="128"/>
                      </a:lnTo>
                      <a:lnTo>
                        <a:pt x="24" y="144"/>
                      </a:lnTo>
                      <a:lnTo>
                        <a:pt x="32" y="144"/>
                      </a:lnTo>
                      <a:lnTo>
                        <a:pt x="48" y="144"/>
                      </a:lnTo>
                      <a:lnTo>
                        <a:pt x="64" y="136"/>
                      </a:lnTo>
                      <a:lnTo>
                        <a:pt x="56" y="152"/>
                      </a:lnTo>
                      <a:lnTo>
                        <a:pt x="64" y="160"/>
                      </a:lnTo>
                      <a:lnTo>
                        <a:pt x="64" y="168"/>
                      </a:lnTo>
                      <a:lnTo>
                        <a:pt x="72" y="168"/>
                      </a:lnTo>
                      <a:lnTo>
                        <a:pt x="72" y="184"/>
                      </a:lnTo>
                      <a:lnTo>
                        <a:pt x="64" y="184"/>
                      </a:lnTo>
                      <a:lnTo>
                        <a:pt x="56" y="192"/>
                      </a:lnTo>
                      <a:lnTo>
                        <a:pt x="40" y="192"/>
                      </a:lnTo>
                      <a:lnTo>
                        <a:pt x="40" y="208"/>
                      </a:lnTo>
                      <a:lnTo>
                        <a:pt x="48" y="208"/>
                      </a:lnTo>
                      <a:lnTo>
                        <a:pt x="40" y="232"/>
                      </a:lnTo>
                      <a:lnTo>
                        <a:pt x="32" y="232"/>
                      </a:lnTo>
                      <a:lnTo>
                        <a:pt x="24" y="240"/>
                      </a:lnTo>
                      <a:lnTo>
                        <a:pt x="24" y="248"/>
                      </a:lnTo>
                      <a:lnTo>
                        <a:pt x="48" y="248"/>
                      </a:lnTo>
                      <a:lnTo>
                        <a:pt x="56" y="256"/>
                      </a:lnTo>
                      <a:lnTo>
                        <a:pt x="64" y="256"/>
                      </a:lnTo>
                      <a:lnTo>
                        <a:pt x="64" y="248"/>
                      </a:lnTo>
                      <a:lnTo>
                        <a:pt x="72" y="248"/>
                      </a:lnTo>
                      <a:lnTo>
                        <a:pt x="72" y="256"/>
                      </a:lnTo>
                      <a:lnTo>
                        <a:pt x="64" y="264"/>
                      </a:lnTo>
                      <a:lnTo>
                        <a:pt x="48" y="264"/>
                      </a:lnTo>
                      <a:lnTo>
                        <a:pt x="48" y="272"/>
                      </a:lnTo>
                      <a:lnTo>
                        <a:pt x="40" y="272"/>
                      </a:lnTo>
                      <a:lnTo>
                        <a:pt x="32" y="280"/>
                      </a:lnTo>
                      <a:lnTo>
                        <a:pt x="24" y="296"/>
                      </a:lnTo>
                      <a:lnTo>
                        <a:pt x="32" y="296"/>
                      </a:lnTo>
                      <a:lnTo>
                        <a:pt x="40" y="288"/>
                      </a:lnTo>
                      <a:lnTo>
                        <a:pt x="64" y="288"/>
                      </a:lnTo>
                      <a:lnTo>
                        <a:pt x="64" y="280"/>
                      </a:lnTo>
                      <a:lnTo>
                        <a:pt x="80" y="280"/>
                      </a:lnTo>
                      <a:lnTo>
                        <a:pt x="112" y="272"/>
                      </a:lnTo>
                      <a:lnTo>
                        <a:pt x="120" y="272"/>
                      </a:lnTo>
                      <a:lnTo>
                        <a:pt x="136" y="272"/>
                      </a:lnTo>
                      <a:lnTo>
                        <a:pt x="152" y="264"/>
                      </a:lnTo>
                      <a:lnTo>
                        <a:pt x="152" y="256"/>
                      </a:lnTo>
                      <a:lnTo>
                        <a:pt x="144" y="256"/>
                      </a:lnTo>
                      <a:lnTo>
                        <a:pt x="136" y="256"/>
                      </a:lnTo>
                      <a:lnTo>
                        <a:pt x="136" y="248"/>
                      </a:lnTo>
                      <a:lnTo>
                        <a:pt x="144" y="248"/>
                      </a:lnTo>
                      <a:lnTo>
                        <a:pt x="152" y="240"/>
                      </a:lnTo>
                      <a:lnTo>
                        <a:pt x="160" y="224"/>
                      </a:lnTo>
                      <a:lnTo>
                        <a:pt x="160" y="208"/>
                      </a:lnTo>
                      <a:lnTo>
                        <a:pt x="136" y="208"/>
                      </a:lnTo>
                      <a:lnTo>
                        <a:pt x="128" y="208"/>
                      </a:lnTo>
                      <a:lnTo>
                        <a:pt x="128" y="168"/>
                      </a:lnTo>
                      <a:lnTo>
                        <a:pt x="128" y="160"/>
                      </a:lnTo>
                      <a:lnTo>
                        <a:pt x="112" y="144"/>
                      </a:lnTo>
                      <a:lnTo>
                        <a:pt x="104" y="144"/>
                      </a:lnTo>
                      <a:lnTo>
                        <a:pt x="104" y="120"/>
                      </a:lnTo>
                      <a:lnTo>
                        <a:pt x="88" y="96"/>
                      </a:lnTo>
                      <a:lnTo>
                        <a:pt x="80" y="96"/>
                      </a:lnTo>
                      <a:lnTo>
                        <a:pt x="72" y="96"/>
                      </a:lnTo>
                      <a:lnTo>
                        <a:pt x="64" y="96"/>
                      </a:lnTo>
                      <a:lnTo>
                        <a:pt x="72" y="88"/>
                      </a:lnTo>
                      <a:lnTo>
                        <a:pt x="72" y="72"/>
                      </a:lnTo>
                      <a:lnTo>
                        <a:pt x="88" y="40"/>
                      </a:lnTo>
                      <a:lnTo>
                        <a:pt x="88" y="32"/>
                      </a:lnTo>
                      <a:lnTo>
                        <a:pt x="72" y="32"/>
                      </a:lnTo>
                      <a:lnTo>
                        <a:pt x="48" y="32"/>
                      </a:lnTo>
                      <a:lnTo>
                        <a:pt x="56" y="16"/>
                      </a:lnTo>
                      <a:lnTo>
                        <a:pt x="64" y="8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17" name="Freeform 195">
                  <a:extLst>
                    <a:ext uri="{FF2B5EF4-FFF2-40B4-BE49-F238E27FC236}">
                      <a16:creationId xmlns:a16="http://schemas.microsoft.com/office/drawing/2014/main" id="{053A7D7A-8BB2-2D6E-B659-12CB93E0979D}"/>
                    </a:ext>
                  </a:extLst>
                </p:cNvPr>
                <p:cNvSpPr/>
                <p:nvPr/>
              </p:nvSpPr>
              <p:spPr bwMode="gray">
                <a:xfrm>
                  <a:off x="2412" y="1603"/>
                  <a:ext cx="158" cy="107"/>
                </a:xfrm>
                <a:custGeom>
                  <a:avLst/>
                  <a:gdLst>
                    <a:gd name="T0" fmla="*/ 56 w 224"/>
                    <a:gd name="T1" fmla="*/ 0 h 152"/>
                    <a:gd name="T2" fmla="*/ 65 w 224"/>
                    <a:gd name="T3" fmla="*/ 3 h 152"/>
                    <a:gd name="T4" fmla="*/ 73 w 224"/>
                    <a:gd name="T5" fmla="*/ 6 h 152"/>
                    <a:gd name="T6" fmla="*/ 70 w 224"/>
                    <a:gd name="T7" fmla="*/ 8 h 152"/>
                    <a:gd name="T8" fmla="*/ 73 w 224"/>
                    <a:gd name="T9" fmla="*/ 14 h 152"/>
                    <a:gd name="T10" fmla="*/ 75 w 224"/>
                    <a:gd name="T11" fmla="*/ 17 h 152"/>
                    <a:gd name="T12" fmla="*/ 75 w 224"/>
                    <a:gd name="T13" fmla="*/ 31 h 152"/>
                    <a:gd name="T14" fmla="*/ 67 w 224"/>
                    <a:gd name="T15" fmla="*/ 39 h 152"/>
                    <a:gd name="T16" fmla="*/ 56 w 224"/>
                    <a:gd name="T17" fmla="*/ 44 h 152"/>
                    <a:gd name="T18" fmla="*/ 44 w 224"/>
                    <a:gd name="T19" fmla="*/ 53 h 152"/>
                    <a:gd name="T20" fmla="*/ 23 w 224"/>
                    <a:gd name="T21" fmla="*/ 48 h 152"/>
                    <a:gd name="T22" fmla="*/ 11 w 224"/>
                    <a:gd name="T23" fmla="*/ 44 h 152"/>
                    <a:gd name="T24" fmla="*/ 17 w 224"/>
                    <a:gd name="T25" fmla="*/ 42 h 152"/>
                    <a:gd name="T26" fmla="*/ 14 w 224"/>
                    <a:gd name="T27" fmla="*/ 34 h 152"/>
                    <a:gd name="T28" fmla="*/ 11 w 224"/>
                    <a:gd name="T29" fmla="*/ 31 h 152"/>
                    <a:gd name="T30" fmla="*/ 6 w 224"/>
                    <a:gd name="T31" fmla="*/ 27 h 152"/>
                    <a:gd name="T32" fmla="*/ 14 w 224"/>
                    <a:gd name="T33" fmla="*/ 27 h 152"/>
                    <a:gd name="T34" fmla="*/ 20 w 224"/>
                    <a:gd name="T35" fmla="*/ 25 h 152"/>
                    <a:gd name="T36" fmla="*/ 17 w 224"/>
                    <a:gd name="T37" fmla="*/ 19 h 152"/>
                    <a:gd name="T38" fmla="*/ 6 w 224"/>
                    <a:gd name="T39" fmla="*/ 17 h 152"/>
                    <a:gd name="T40" fmla="*/ 0 w 224"/>
                    <a:gd name="T41" fmla="*/ 17 h 152"/>
                    <a:gd name="T42" fmla="*/ 8 w 224"/>
                    <a:gd name="T43" fmla="*/ 8 h 152"/>
                    <a:gd name="T44" fmla="*/ 14 w 224"/>
                    <a:gd name="T45" fmla="*/ 11 h 152"/>
                    <a:gd name="T46" fmla="*/ 8 w 224"/>
                    <a:gd name="T47" fmla="*/ 3 h 152"/>
                    <a:gd name="T48" fmla="*/ 20 w 224"/>
                    <a:gd name="T49" fmla="*/ 8 h 152"/>
                    <a:gd name="T50" fmla="*/ 23 w 224"/>
                    <a:gd name="T51" fmla="*/ 19 h 152"/>
                    <a:gd name="T52" fmla="*/ 25 w 224"/>
                    <a:gd name="T53" fmla="*/ 17 h 152"/>
                    <a:gd name="T54" fmla="*/ 31 w 224"/>
                    <a:gd name="T55" fmla="*/ 14 h 152"/>
                    <a:gd name="T56" fmla="*/ 31 w 224"/>
                    <a:gd name="T57" fmla="*/ 11 h 152"/>
                    <a:gd name="T58" fmla="*/ 34 w 224"/>
                    <a:gd name="T59" fmla="*/ 8 h 152"/>
                    <a:gd name="T60" fmla="*/ 42 w 224"/>
                    <a:gd name="T61" fmla="*/ 11 h 152"/>
                    <a:gd name="T62" fmla="*/ 44 w 224"/>
                    <a:gd name="T63" fmla="*/ 8 h 152"/>
                    <a:gd name="T64" fmla="*/ 51 w 224"/>
                    <a:gd name="T65" fmla="*/ 8 h 15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24"/>
                    <a:gd name="T100" fmla="*/ 0 h 152"/>
                    <a:gd name="T101" fmla="*/ 224 w 224"/>
                    <a:gd name="T102" fmla="*/ 152 h 15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24" h="152">
                      <a:moveTo>
                        <a:pt x="168" y="16"/>
                      </a:moveTo>
                      <a:lnTo>
                        <a:pt x="160" y="0"/>
                      </a:lnTo>
                      <a:lnTo>
                        <a:pt x="184" y="0"/>
                      </a:lnTo>
                      <a:lnTo>
                        <a:pt x="184" y="8"/>
                      </a:lnTo>
                      <a:lnTo>
                        <a:pt x="200" y="8"/>
                      </a:lnTo>
                      <a:lnTo>
                        <a:pt x="208" y="16"/>
                      </a:lnTo>
                      <a:lnTo>
                        <a:pt x="200" y="16"/>
                      </a:lnTo>
                      <a:lnTo>
                        <a:pt x="200" y="24"/>
                      </a:lnTo>
                      <a:lnTo>
                        <a:pt x="200" y="40"/>
                      </a:lnTo>
                      <a:lnTo>
                        <a:pt x="208" y="40"/>
                      </a:lnTo>
                      <a:lnTo>
                        <a:pt x="208" y="48"/>
                      </a:lnTo>
                      <a:lnTo>
                        <a:pt x="216" y="48"/>
                      </a:lnTo>
                      <a:lnTo>
                        <a:pt x="224" y="64"/>
                      </a:lnTo>
                      <a:lnTo>
                        <a:pt x="216" y="88"/>
                      </a:lnTo>
                      <a:lnTo>
                        <a:pt x="200" y="96"/>
                      </a:lnTo>
                      <a:lnTo>
                        <a:pt x="192" y="112"/>
                      </a:lnTo>
                      <a:lnTo>
                        <a:pt x="176" y="112"/>
                      </a:lnTo>
                      <a:lnTo>
                        <a:pt x="160" y="128"/>
                      </a:lnTo>
                      <a:lnTo>
                        <a:pt x="144" y="136"/>
                      </a:lnTo>
                      <a:lnTo>
                        <a:pt x="128" y="152"/>
                      </a:lnTo>
                      <a:lnTo>
                        <a:pt x="88" y="152"/>
                      </a:lnTo>
                      <a:lnTo>
                        <a:pt x="64" y="136"/>
                      </a:lnTo>
                      <a:lnTo>
                        <a:pt x="48" y="136"/>
                      </a:lnTo>
                      <a:lnTo>
                        <a:pt x="32" y="128"/>
                      </a:lnTo>
                      <a:lnTo>
                        <a:pt x="32" y="120"/>
                      </a:lnTo>
                      <a:lnTo>
                        <a:pt x="48" y="120"/>
                      </a:lnTo>
                      <a:lnTo>
                        <a:pt x="48" y="112"/>
                      </a:lnTo>
                      <a:lnTo>
                        <a:pt x="40" y="96"/>
                      </a:lnTo>
                      <a:lnTo>
                        <a:pt x="40" y="88"/>
                      </a:lnTo>
                      <a:lnTo>
                        <a:pt x="32" y="88"/>
                      </a:lnTo>
                      <a:lnTo>
                        <a:pt x="8" y="88"/>
                      </a:lnTo>
                      <a:lnTo>
                        <a:pt x="16" y="80"/>
                      </a:lnTo>
                      <a:lnTo>
                        <a:pt x="24" y="80"/>
                      </a:lnTo>
                      <a:lnTo>
                        <a:pt x="40" y="80"/>
                      </a:lnTo>
                      <a:lnTo>
                        <a:pt x="56" y="80"/>
                      </a:lnTo>
                      <a:lnTo>
                        <a:pt x="56" y="72"/>
                      </a:lnTo>
                      <a:lnTo>
                        <a:pt x="40" y="64"/>
                      </a:lnTo>
                      <a:lnTo>
                        <a:pt x="48" y="56"/>
                      </a:lnTo>
                      <a:lnTo>
                        <a:pt x="40" y="48"/>
                      </a:lnTo>
                      <a:lnTo>
                        <a:pt x="16" y="48"/>
                      </a:lnTo>
                      <a:lnTo>
                        <a:pt x="0" y="56"/>
                      </a:lnTo>
                      <a:lnTo>
                        <a:pt x="0" y="48"/>
                      </a:ln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24" y="32"/>
                      </a:lnTo>
                      <a:lnTo>
                        <a:pt x="40" y="32"/>
                      </a:lnTo>
                      <a:lnTo>
                        <a:pt x="32" y="16"/>
                      </a:lnTo>
                      <a:lnTo>
                        <a:pt x="24" y="8"/>
                      </a:lnTo>
                      <a:lnTo>
                        <a:pt x="40" y="8"/>
                      </a:lnTo>
                      <a:lnTo>
                        <a:pt x="56" y="24"/>
                      </a:lnTo>
                      <a:lnTo>
                        <a:pt x="56" y="32"/>
                      </a:lnTo>
                      <a:lnTo>
                        <a:pt x="64" y="56"/>
                      </a:lnTo>
                      <a:lnTo>
                        <a:pt x="72" y="56"/>
                      </a:lnTo>
                      <a:lnTo>
                        <a:pt x="72" y="48"/>
                      </a:lnTo>
                      <a:lnTo>
                        <a:pt x="80" y="48"/>
                      </a:lnTo>
                      <a:lnTo>
                        <a:pt x="88" y="40"/>
                      </a:lnTo>
                      <a:lnTo>
                        <a:pt x="80" y="32"/>
                      </a:lnTo>
                      <a:lnTo>
                        <a:pt x="88" y="32"/>
                      </a:lnTo>
                      <a:lnTo>
                        <a:pt x="96" y="40"/>
                      </a:lnTo>
                      <a:lnTo>
                        <a:pt x="96" y="24"/>
                      </a:lnTo>
                      <a:lnTo>
                        <a:pt x="120" y="24"/>
                      </a:lnTo>
                      <a:lnTo>
                        <a:pt x="120" y="32"/>
                      </a:lnTo>
                      <a:lnTo>
                        <a:pt x="128" y="32"/>
                      </a:lnTo>
                      <a:lnTo>
                        <a:pt x="128" y="24"/>
                      </a:lnTo>
                      <a:lnTo>
                        <a:pt x="136" y="16"/>
                      </a:lnTo>
                      <a:lnTo>
                        <a:pt x="144" y="24"/>
                      </a:lnTo>
                      <a:lnTo>
                        <a:pt x="168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18" name="Freeform 196">
                  <a:extLst>
                    <a:ext uri="{FF2B5EF4-FFF2-40B4-BE49-F238E27FC236}">
                      <a16:creationId xmlns:a16="http://schemas.microsoft.com/office/drawing/2014/main" id="{C33FBC1B-46A0-3145-814E-D7F293409C15}"/>
                    </a:ext>
                  </a:extLst>
                </p:cNvPr>
                <p:cNvSpPr/>
                <p:nvPr/>
              </p:nvSpPr>
              <p:spPr bwMode="gray">
                <a:xfrm>
                  <a:off x="2896" y="2121"/>
                  <a:ext cx="6" cy="11"/>
                </a:xfrm>
                <a:custGeom>
                  <a:avLst/>
                  <a:gdLst>
                    <a:gd name="T0" fmla="*/ 4 w 8"/>
                    <a:gd name="T1" fmla="*/ 6 h 16"/>
                    <a:gd name="T2" fmla="*/ 4 w 8"/>
                    <a:gd name="T3" fmla="*/ 0 h 16"/>
                    <a:gd name="T4" fmla="*/ 0 w 8"/>
                    <a:gd name="T5" fmla="*/ 3 h 16"/>
                    <a:gd name="T6" fmla="*/ 4 w 8"/>
                    <a:gd name="T7" fmla="*/ 6 h 1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16"/>
                    <a:gd name="T14" fmla="*/ 8 w 8"/>
                    <a:gd name="T15" fmla="*/ 16 h 1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16">
                      <a:moveTo>
                        <a:pt x="8" y="16"/>
                      </a:move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19" name="Rectangle 197">
                  <a:extLst>
                    <a:ext uri="{FF2B5EF4-FFF2-40B4-BE49-F238E27FC236}">
                      <a16:creationId xmlns:a16="http://schemas.microsoft.com/office/drawing/2014/main" id="{67BC8C63-3037-BD92-5A1B-6217E4D8B74B}"/>
                    </a:ext>
                  </a:extLst>
                </p:cNvPr>
                <p:cNvSpPr/>
                <p:nvPr/>
              </p:nvSpPr>
              <p:spPr bwMode="gray">
                <a:xfrm>
                  <a:off x="2778" y="2211"/>
                  <a:ext cx="5" cy="6"/>
                </a:xfrm>
                <a:prstGeom prst="rect">
                  <a:avLst/>
                </a:prstGeom>
                <a:grpFill/>
                <a:ln w="3175">
                  <a:solidFill>
                    <a:sysClr val="window" lastClr="FFFFFF"/>
                  </a:solidFill>
                  <a:miter lim="800000"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20" name="Freeform 198">
                  <a:extLst>
                    <a:ext uri="{FF2B5EF4-FFF2-40B4-BE49-F238E27FC236}">
                      <a16:creationId xmlns:a16="http://schemas.microsoft.com/office/drawing/2014/main" id="{CB0ED8C6-05DE-2376-D7F2-FF011FAC9506}"/>
                    </a:ext>
                  </a:extLst>
                </p:cNvPr>
                <p:cNvSpPr/>
                <p:nvPr/>
              </p:nvSpPr>
              <p:spPr bwMode="gray">
                <a:xfrm>
                  <a:off x="2648" y="1941"/>
                  <a:ext cx="40" cy="34"/>
                </a:xfrm>
                <a:custGeom>
                  <a:avLst/>
                  <a:gdLst>
                    <a:gd name="T0" fmla="*/ 3 w 56"/>
                    <a:gd name="T1" fmla="*/ 0 h 48"/>
                    <a:gd name="T2" fmla="*/ 3 w 56"/>
                    <a:gd name="T3" fmla="*/ 6 h 48"/>
                    <a:gd name="T4" fmla="*/ 0 w 56"/>
                    <a:gd name="T5" fmla="*/ 11 h 48"/>
                    <a:gd name="T6" fmla="*/ 3 w 56"/>
                    <a:gd name="T7" fmla="*/ 17 h 48"/>
                    <a:gd name="T8" fmla="*/ 6 w 56"/>
                    <a:gd name="T9" fmla="*/ 14 h 48"/>
                    <a:gd name="T10" fmla="*/ 9 w 56"/>
                    <a:gd name="T11" fmla="*/ 14 h 48"/>
                    <a:gd name="T12" fmla="*/ 11 w 56"/>
                    <a:gd name="T13" fmla="*/ 17 h 48"/>
                    <a:gd name="T14" fmla="*/ 17 w 56"/>
                    <a:gd name="T15" fmla="*/ 14 h 48"/>
                    <a:gd name="T16" fmla="*/ 21 w 56"/>
                    <a:gd name="T17" fmla="*/ 9 h 48"/>
                    <a:gd name="T18" fmla="*/ 17 w 56"/>
                    <a:gd name="T19" fmla="*/ 9 h 48"/>
                    <a:gd name="T20" fmla="*/ 15 w 56"/>
                    <a:gd name="T21" fmla="*/ 3 h 48"/>
                    <a:gd name="T22" fmla="*/ 9 w 56"/>
                    <a:gd name="T23" fmla="*/ 3 h 48"/>
                    <a:gd name="T24" fmla="*/ 9 w 56"/>
                    <a:gd name="T25" fmla="*/ 0 h 48"/>
                    <a:gd name="T26" fmla="*/ 3 w 56"/>
                    <a:gd name="T27" fmla="*/ 0 h 4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48"/>
                    <a:gd name="T44" fmla="*/ 56 w 56"/>
                    <a:gd name="T45" fmla="*/ 48 h 4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48">
                      <a:moveTo>
                        <a:pt x="8" y="0"/>
                      </a:moveTo>
                      <a:lnTo>
                        <a:pt x="8" y="16"/>
                      </a:lnTo>
                      <a:lnTo>
                        <a:pt x="0" y="32"/>
                      </a:lnTo>
                      <a:lnTo>
                        <a:pt x="8" y="48"/>
                      </a:lnTo>
                      <a:lnTo>
                        <a:pt x="16" y="40"/>
                      </a:lnTo>
                      <a:lnTo>
                        <a:pt x="24" y="40"/>
                      </a:lnTo>
                      <a:lnTo>
                        <a:pt x="32" y="48"/>
                      </a:lnTo>
                      <a:lnTo>
                        <a:pt x="48" y="40"/>
                      </a:lnTo>
                      <a:lnTo>
                        <a:pt x="56" y="24"/>
                      </a:lnTo>
                      <a:lnTo>
                        <a:pt x="48" y="24"/>
                      </a:lnTo>
                      <a:lnTo>
                        <a:pt x="40" y="8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21" name="Freeform 199">
                  <a:extLst>
                    <a:ext uri="{FF2B5EF4-FFF2-40B4-BE49-F238E27FC236}">
                      <a16:creationId xmlns:a16="http://schemas.microsoft.com/office/drawing/2014/main" id="{75428DCA-4A9D-16B4-8012-DF3701DBAC16}"/>
                    </a:ext>
                  </a:extLst>
                </p:cNvPr>
                <p:cNvSpPr/>
                <p:nvPr/>
              </p:nvSpPr>
              <p:spPr bwMode="gray">
                <a:xfrm>
                  <a:off x="2615" y="1941"/>
                  <a:ext cx="61" cy="96"/>
                </a:xfrm>
                <a:custGeom>
                  <a:avLst/>
                  <a:gdLst>
                    <a:gd name="T0" fmla="*/ 26 w 88"/>
                    <a:gd name="T1" fmla="*/ 17 h 136"/>
                    <a:gd name="T2" fmla="*/ 24 w 88"/>
                    <a:gd name="T3" fmla="*/ 14 h 136"/>
                    <a:gd name="T4" fmla="*/ 21 w 88"/>
                    <a:gd name="T5" fmla="*/ 14 h 136"/>
                    <a:gd name="T6" fmla="*/ 19 w 88"/>
                    <a:gd name="T7" fmla="*/ 17 h 136"/>
                    <a:gd name="T8" fmla="*/ 16 w 88"/>
                    <a:gd name="T9" fmla="*/ 11 h 136"/>
                    <a:gd name="T10" fmla="*/ 19 w 88"/>
                    <a:gd name="T11" fmla="*/ 6 h 136"/>
                    <a:gd name="T12" fmla="*/ 19 w 88"/>
                    <a:gd name="T13" fmla="*/ 0 h 136"/>
                    <a:gd name="T14" fmla="*/ 13 w 88"/>
                    <a:gd name="T15" fmla="*/ 3 h 136"/>
                    <a:gd name="T16" fmla="*/ 10 w 88"/>
                    <a:gd name="T17" fmla="*/ 3 h 136"/>
                    <a:gd name="T18" fmla="*/ 10 w 88"/>
                    <a:gd name="T19" fmla="*/ 8 h 136"/>
                    <a:gd name="T20" fmla="*/ 10 w 88"/>
                    <a:gd name="T21" fmla="*/ 11 h 136"/>
                    <a:gd name="T22" fmla="*/ 8 w 88"/>
                    <a:gd name="T23" fmla="*/ 14 h 136"/>
                    <a:gd name="T24" fmla="*/ 6 w 88"/>
                    <a:gd name="T25" fmla="*/ 14 h 136"/>
                    <a:gd name="T26" fmla="*/ 3 w 88"/>
                    <a:gd name="T27" fmla="*/ 14 h 136"/>
                    <a:gd name="T28" fmla="*/ 0 w 88"/>
                    <a:gd name="T29" fmla="*/ 17 h 136"/>
                    <a:gd name="T30" fmla="*/ 3 w 88"/>
                    <a:gd name="T31" fmla="*/ 20 h 136"/>
                    <a:gd name="T32" fmla="*/ 3 w 88"/>
                    <a:gd name="T33" fmla="*/ 23 h 136"/>
                    <a:gd name="T34" fmla="*/ 0 w 88"/>
                    <a:gd name="T35" fmla="*/ 25 h 136"/>
                    <a:gd name="T36" fmla="*/ 3 w 88"/>
                    <a:gd name="T37" fmla="*/ 25 h 136"/>
                    <a:gd name="T38" fmla="*/ 6 w 88"/>
                    <a:gd name="T39" fmla="*/ 25 h 136"/>
                    <a:gd name="T40" fmla="*/ 8 w 88"/>
                    <a:gd name="T41" fmla="*/ 25 h 136"/>
                    <a:gd name="T42" fmla="*/ 6 w 88"/>
                    <a:gd name="T43" fmla="*/ 28 h 136"/>
                    <a:gd name="T44" fmla="*/ 6 w 88"/>
                    <a:gd name="T45" fmla="*/ 34 h 136"/>
                    <a:gd name="T46" fmla="*/ 8 w 88"/>
                    <a:gd name="T47" fmla="*/ 34 h 136"/>
                    <a:gd name="T48" fmla="*/ 0 w 88"/>
                    <a:gd name="T49" fmla="*/ 37 h 136"/>
                    <a:gd name="T50" fmla="*/ 0 w 88"/>
                    <a:gd name="T51" fmla="*/ 40 h 136"/>
                    <a:gd name="T52" fmla="*/ 0 w 88"/>
                    <a:gd name="T53" fmla="*/ 42 h 136"/>
                    <a:gd name="T54" fmla="*/ 3 w 88"/>
                    <a:gd name="T55" fmla="*/ 45 h 136"/>
                    <a:gd name="T56" fmla="*/ 6 w 88"/>
                    <a:gd name="T57" fmla="*/ 48 h 136"/>
                    <a:gd name="T58" fmla="*/ 8 w 88"/>
                    <a:gd name="T59" fmla="*/ 45 h 136"/>
                    <a:gd name="T60" fmla="*/ 13 w 88"/>
                    <a:gd name="T61" fmla="*/ 42 h 136"/>
                    <a:gd name="T62" fmla="*/ 21 w 88"/>
                    <a:gd name="T63" fmla="*/ 40 h 136"/>
                    <a:gd name="T64" fmla="*/ 26 w 88"/>
                    <a:gd name="T65" fmla="*/ 40 h 136"/>
                    <a:gd name="T66" fmla="*/ 26 w 88"/>
                    <a:gd name="T67" fmla="*/ 31 h 136"/>
                    <a:gd name="T68" fmla="*/ 29 w 88"/>
                    <a:gd name="T69" fmla="*/ 25 h 136"/>
                    <a:gd name="T70" fmla="*/ 26 w 88"/>
                    <a:gd name="T71" fmla="*/ 23 h 136"/>
                    <a:gd name="T72" fmla="*/ 26 w 88"/>
                    <a:gd name="T73" fmla="*/ 17 h 1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88"/>
                    <a:gd name="T112" fmla="*/ 0 h 136"/>
                    <a:gd name="T113" fmla="*/ 88 w 88"/>
                    <a:gd name="T114" fmla="*/ 136 h 1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88" h="136">
                      <a:moveTo>
                        <a:pt x="80" y="48"/>
                      </a:moveTo>
                      <a:lnTo>
                        <a:pt x="72" y="40"/>
                      </a:lnTo>
                      <a:lnTo>
                        <a:pt x="64" y="40"/>
                      </a:lnTo>
                      <a:lnTo>
                        <a:pt x="56" y="48"/>
                      </a:lnTo>
                      <a:lnTo>
                        <a:pt x="48" y="32"/>
                      </a:lnTo>
                      <a:lnTo>
                        <a:pt x="56" y="16"/>
                      </a:lnTo>
                      <a:lnTo>
                        <a:pt x="56" y="0"/>
                      </a:lnTo>
                      <a:lnTo>
                        <a:pt x="40" y="8"/>
                      </a:lnTo>
                      <a:lnTo>
                        <a:pt x="32" y="8"/>
                      </a:lnTo>
                      <a:lnTo>
                        <a:pt x="32" y="24"/>
                      </a:lnTo>
                      <a:lnTo>
                        <a:pt x="32" y="32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8" y="40"/>
                      </a:lnTo>
                      <a:lnTo>
                        <a:pt x="0" y="48"/>
                      </a:lnTo>
                      <a:lnTo>
                        <a:pt x="8" y="56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72"/>
                      </a:lnTo>
                      <a:lnTo>
                        <a:pt x="16" y="72"/>
                      </a:lnTo>
                      <a:lnTo>
                        <a:pt x="24" y="72"/>
                      </a:lnTo>
                      <a:lnTo>
                        <a:pt x="16" y="80"/>
                      </a:lnTo>
                      <a:lnTo>
                        <a:pt x="16" y="96"/>
                      </a:lnTo>
                      <a:lnTo>
                        <a:pt x="24" y="96"/>
                      </a:lnTo>
                      <a:lnTo>
                        <a:pt x="0" y="104"/>
                      </a:lnTo>
                      <a:lnTo>
                        <a:pt x="0" y="112"/>
                      </a:lnTo>
                      <a:lnTo>
                        <a:pt x="0" y="120"/>
                      </a:lnTo>
                      <a:lnTo>
                        <a:pt x="8" y="128"/>
                      </a:lnTo>
                      <a:lnTo>
                        <a:pt x="16" y="136"/>
                      </a:lnTo>
                      <a:lnTo>
                        <a:pt x="24" y="128"/>
                      </a:lnTo>
                      <a:lnTo>
                        <a:pt x="40" y="120"/>
                      </a:lnTo>
                      <a:lnTo>
                        <a:pt x="64" y="112"/>
                      </a:lnTo>
                      <a:lnTo>
                        <a:pt x="80" y="112"/>
                      </a:lnTo>
                      <a:lnTo>
                        <a:pt x="80" y="88"/>
                      </a:lnTo>
                      <a:lnTo>
                        <a:pt x="88" y="72"/>
                      </a:lnTo>
                      <a:lnTo>
                        <a:pt x="80" y="64"/>
                      </a:lnTo>
                      <a:lnTo>
                        <a:pt x="80" y="4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22" name="Freeform 200">
                  <a:extLst>
                    <a:ext uri="{FF2B5EF4-FFF2-40B4-BE49-F238E27FC236}">
                      <a16:creationId xmlns:a16="http://schemas.microsoft.com/office/drawing/2014/main" id="{84AD37F9-3F79-6AB6-BAB9-CE2ED6932889}"/>
                    </a:ext>
                  </a:extLst>
                </p:cNvPr>
                <p:cNvSpPr/>
                <p:nvPr/>
              </p:nvSpPr>
              <p:spPr bwMode="gray">
                <a:xfrm>
                  <a:off x="2828" y="1491"/>
                  <a:ext cx="372" cy="383"/>
                </a:xfrm>
                <a:custGeom>
                  <a:avLst/>
                  <a:gdLst>
                    <a:gd name="T0" fmla="*/ 159 w 528"/>
                    <a:gd name="T1" fmla="*/ 14 h 544"/>
                    <a:gd name="T2" fmla="*/ 142 w 528"/>
                    <a:gd name="T3" fmla="*/ 27 h 544"/>
                    <a:gd name="T4" fmla="*/ 120 w 528"/>
                    <a:gd name="T5" fmla="*/ 23 h 544"/>
                    <a:gd name="T6" fmla="*/ 109 w 528"/>
                    <a:gd name="T7" fmla="*/ 31 h 544"/>
                    <a:gd name="T8" fmla="*/ 95 w 528"/>
                    <a:gd name="T9" fmla="*/ 36 h 544"/>
                    <a:gd name="T10" fmla="*/ 84 w 528"/>
                    <a:gd name="T11" fmla="*/ 48 h 544"/>
                    <a:gd name="T12" fmla="*/ 67 w 528"/>
                    <a:gd name="T13" fmla="*/ 65 h 544"/>
                    <a:gd name="T14" fmla="*/ 67 w 528"/>
                    <a:gd name="T15" fmla="*/ 95 h 544"/>
                    <a:gd name="T16" fmla="*/ 53 w 528"/>
                    <a:gd name="T17" fmla="*/ 115 h 544"/>
                    <a:gd name="T18" fmla="*/ 53 w 528"/>
                    <a:gd name="T19" fmla="*/ 145 h 544"/>
                    <a:gd name="T20" fmla="*/ 53 w 528"/>
                    <a:gd name="T21" fmla="*/ 159 h 544"/>
                    <a:gd name="T22" fmla="*/ 48 w 528"/>
                    <a:gd name="T23" fmla="*/ 178 h 544"/>
                    <a:gd name="T24" fmla="*/ 42 w 528"/>
                    <a:gd name="T25" fmla="*/ 165 h 544"/>
                    <a:gd name="T26" fmla="*/ 34 w 528"/>
                    <a:gd name="T27" fmla="*/ 173 h 544"/>
                    <a:gd name="T28" fmla="*/ 23 w 528"/>
                    <a:gd name="T29" fmla="*/ 184 h 544"/>
                    <a:gd name="T30" fmla="*/ 14 w 528"/>
                    <a:gd name="T31" fmla="*/ 182 h 544"/>
                    <a:gd name="T32" fmla="*/ 6 w 528"/>
                    <a:gd name="T33" fmla="*/ 178 h 544"/>
                    <a:gd name="T34" fmla="*/ 8 w 528"/>
                    <a:gd name="T35" fmla="*/ 170 h 544"/>
                    <a:gd name="T36" fmla="*/ 3 w 528"/>
                    <a:gd name="T37" fmla="*/ 170 h 544"/>
                    <a:gd name="T38" fmla="*/ 8 w 528"/>
                    <a:gd name="T39" fmla="*/ 159 h 544"/>
                    <a:gd name="T40" fmla="*/ 8 w 528"/>
                    <a:gd name="T41" fmla="*/ 156 h 544"/>
                    <a:gd name="T42" fmla="*/ 6 w 528"/>
                    <a:gd name="T43" fmla="*/ 151 h 544"/>
                    <a:gd name="T44" fmla="*/ 11 w 528"/>
                    <a:gd name="T45" fmla="*/ 145 h 544"/>
                    <a:gd name="T46" fmla="*/ 6 w 528"/>
                    <a:gd name="T47" fmla="*/ 142 h 544"/>
                    <a:gd name="T48" fmla="*/ 0 w 528"/>
                    <a:gd name="T49" fmla="*/ 134 h 544"/>
                    <a:gd name="T50" fmla="*/ 6 w 528"/>
                    <a:gd name="T51" fmla="*/ 128 h 544"/>
                    <a:gd name="T52" fmla="*/ 17 w 528"/>
                    <a:gd name="T53" fmla="*/ 120 h 544"/>
                    <a:gd name="T54" fmla="*/ 23 w 528"/>
                    <a:gd name="T55" fmla="*/ 111 h 544"/>
                    <a:gd name="T56" fmla="*/ 34 w 528"/>
                    <a:gd name="T57" fmla="*/ 106 h 544"/>
                    <a:gd name="T58" fmla="*/ 50 w 528"/>
                    <a:gd name="T59" fmla="*/ 81 h 544"/>
                    <a:gd name="T60" fmla="*/ 53 w 528"/>
                    <a:gd name="T61" fmla="*/ 75 h 544"/>
                    <a:gd name="T62" fmla="*/ 61 w 528"/>
                    <a:gd name="T63" fmla="*/ 61 h 544"/>
                    <a:gd name="T64" fmla="*/ 58 w 528"/>
                    <a:gd name="T65" fmla="*/ 56 h 544"/>
                    <a:gd name="T66" fmla="*/ 73 w 528"/>
                    <a:gd name="T67" fmla="*/ 48 h 544"/>
                    <a:gd name="T68" fmla="*/ 73 w 528"/>
                    <a:gd name="T69" fmla="*/ 44 h 544"/>
                    <a:gd name="T70" fmla="*/ 78 w 528"/>
                    <a:gd name="T71" fmla="*/ 36 h 544"/>
                    <a:gd name="T72" fmla="*/ 89 w 528"/>
                    <a:gd name="T73" fmla="*/ 36 h 544"/>
                    <a:gd name="T74" fmla="*/ 84 w 528"/>
                    <a:gd name="T75" fmla="*/ 31 h 544"/>
                    <a:gd name="T76" fmla="*/ 92 w 528"/>
                    <a:gd name="T77" fmla="*/ 25 h 544"/>
                    <a:gd name="T78" fmla="*/ 104 w 528"/>
                    <a:gd name="T79" fmla="*/ 23 h 544"/>
                    <a:gd name="T80" fmla="*/ 109 w 528"/>
                    <a:gd name="T81" fmla="*/ 17 h 544"/>
                    <a:gd name="T82" fmla="*/ 112 w 528"/>
                    <a:gd name="T83" fmla="*/ 23 h 544"/>
                    <a:gd name="T84" fmla="*/ 123 w 528"/>
                    <a:gd name="T85" fmla="*/ 17 h 544"/>
                    <a:gd name="T86" fmla="*/ 126 w 528"/>
                    <a:gd name="T87" fmla="*/ 11 h 544"/>
                    <a:gd name="T88" fmla="*/ 135 w 528"/>
                    <a:gd name="T89" fmla="*/ 11 h 544"/>
                    <a:gd name="T90" fmla="*/ 140 w 528"/>
                    <a:gd name="T91" fmla="*/ 6 h 544"/>
                    <a:gd name="T92" fmla="*/ 151 w 528"/>
                    <a:gd name="T93" fmla="*/ 6 h 544"/>
                    <a:gd name="T94" fmla="*/ 151 w 528"/>
                    <a:gd name="T95" fmla="*/ 11 h 544"/>
                    <a:gd name="T96" fmla="*/ 157 w 528"/>
                    <a:gd name="T97" fmla="*/ 6 h 544"/>
                    <a:gd name="T98" fmla="*/ 166 w 528"/>
                    <a:gd name="T99" fmla="*/ 3 h 544"/>
                    <a:gd name="T100" fmla="*/ 170 w 528"/>
                    <a:gd name="T101" fmla="*/ 6 h 544"/>
                    <a:gd name="T102" fmla="*/ 170 w 528"/>
                    <a:gd name="T103" fmla="*/ 11 h 544"/>
                    <a:gd name="T104" fmla="*/ 182 w 528"/>
                    <a:gd name="T105" fmla="*/ 17 h 54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28"/>
                    <a:gd name="T160" fmla="*/ 0 h 544"/>
                    <a:gd name="T161" fmla="*/ 528 w 528"/>
                    <a:gd name="T162" fmla="*/ 544 h 54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28" h="544">
                      <a:moveTo>
                        <a:pt x="496" y="72"/>
                      </a:moveTo>
                      <a:lnTo>
                        <a:pt x="488" y="48"/>
                      </a:lnTo>
                      <a:lnTo>
                        <a:pt x="472" y="40"/>
                      </a:lnTo>
                      <a:lnTo>
                        <a:pt x="456" y="40"/>
                      </a:lnTo>
                      <a:lnTo>
                        <a:pt x="432" y="48"/>
                      </a:lnTo>
                      <a:lnTo>
                        <a:pt x="432" y="72"/>
                      </a:lnTo>
                      <a:lnTo>
                        <a:pt x="416" y="88"/>
                      </a:lnTo>
                      <a:lnTo>
                        <a:pt x="408" y="80"/>
                      </a:lnTo>
                      <a:lnTo>
                        <a:pt x="392" y="80"/>
                      </a:lnTo>
                      <a:lnTo>
                        <a:pt x="384" y="88"/>
                      </a:lnTo>
                      <a:lnTo>
                        <a:pt x="368" y="88"/>
                      </a:lnTo>
                      <a:lnTo>
                        <a:pt x="344" y="64"/>
                      </a:lnTo>
                      <a:lnTo>
                        <a:pt x="336" y="64"/>
                      </a:lnTo>
                      <a:lnTo>
                        <a:pt x="328" y="72"/>
                      </a:lnTo>
                      <a:lnTo>
                        <a:pt x="312" y="72"/>
                      </a:lnTo>
                      <a:lnTo>
                        <a:pt x="312" y="88"/>
                      </a:lnTo>
                      <a:lnTo>
                        <a:pt x="296" y="96"/>
                      </a:lnTo>
                      <a:lnTo>
                        <a:pt x="288" y="88"/>
                      </a:lnTo>
                      <a:lnTo>
                        <a:pt x="272" y="88"/>
                      </a:lnTo>
                      <a:lnTo>
                        <a:pt x="272" y="104"/>
                      </a:lnTo>
                      <a:lnTo>
                        <a:pt x="256" y="112"/>
                      </a:lnTo>
                      <a:lnTo>
                        <a:pt x="248" y="120"/>
                      </a:lnTo>
                      <a:lnTo>
                        <a:pt x="232" y="128"/>
                      </a:lnTo>
                      <a:lnTo>
                        <a:pt x="240" y="136"/>
                      </a:lnTo>
                      <a:lnTo>
                        <a:pt x="240" y="144"/>
                      </a:lnTo>
                      <a:lnTo>
                        <a:pt x="216" y="168"/>
                      </a:lnTo>
                      <a:lnTo>
                        <a:pt x="200" y="168"/>
                      </a:lnTo>
                      <a:lnTo>
                        <a:pt x="192" y="184"/>
                      </a:lnTo>
                      <a:lnTo>
                        <a:pt x="200" y="192"/>
                      </a:lnTo>
                      <a:lnTo>
                        <a:pt x="200" y="232"/>
                      </a:lnTo>
                      <a:lnTo>
                        <a:pt x="184" y="256"/>
                      </a:lnTo>
                      <a:lnTo>
                        <a:pt x="192" y="272"/>
                      </a:lnTo>
                      <a:lnTo>
                        <a:pt x="184" y="288"/>
                      </a:lnTo>
                      <a:lnTo>
                        <a:pt x="160" y="280"/>
                      </a:lnTo>
                      <a:lnTo>
                        <a:pt x="152" y="296"/>
                      </a:lnTo>
                      <a:lnTo>
                        <a:pt x="152" y="328"/>
                      </a:lnTo>
                      <a:lnTo>
                        <a:pt x="152" y="376"/>
                      </a:lnTo>
                      <a:lnTo>
                        <a:pt x="168" y="392"/>
                      </a:lnTo>
                      <a:lnTo>
                        <a:pt x="168" y="408"/>
                      </a:lnTo>
                      <a:lnTo>
                        <a:pt x="152" y="416"/>
                      </a:lnTo>
                      <a:lnTo>
                        <a:pt x="152" y="424"/>
                      </a:lnTo>
                      <a:lnTo>
                        <a:pt x="160" y="432"/>
                      </a:lnTo>
                      <a:lnTo>
                        <a:pt x="160" y="448"/>
                      </a:lnTo>
                      <a:lnTo>
                        <a:pt x="152" y="456"/>
                      </a:lnTo>
                      <a:lnTo>
                        <a:pt x="144" y="496"/>
                      </a:lnTo>
                      <a:lnTo>
                        <a:pt x="144" y="504"/>
                      </a:lnTo>
                      <a:lnTo>
                        <a:pt x="136" y="520"/>
                      </a:lnTo>
                      <a:lnTo>
                        <a:pt x="136" y="512"/>
                      </a:lnTo>
                      <a:lnTo>
                        <a:pt x="136" y="496"/>
                      </a:lnTo>
                      <a:lnTo>
                        <a:pt x="120" y="488"/>
                      </a:lnTo>
                      <a:lnTo>
                        <a:pt x="128" y="472"/>
                      </a:lnTo>
                      <a:lnTo>
                        <a:pt x="120" y="472"/>
                      </a:lnTo>
                      <a:lnTo>
                        <a:pt x="112" y="480"/>
                      </a:lnTo>
                      <a:lnTo>
                        <a:pt x="112" y="488"/>
                      </a:lnTo>
                      <a:lnTo>
                        <a:pt x="104" y="496"/>
                      </a:lnTo>
                      <a:lnTo>
                        <a:pt x="96" y="496"/>
                      </a:lnTo>
                      <a:lnTo>
                        <a:pt x="88" y="496"/>
                      </a:lnTo>
                      <a:lnTo>
                        <a:pt x="88" y="504"/>
                      </a:lnTo>
                      <a:lnTo>
                        <a:pt x="80" y="528"/>
                      </a:lnTo>
                      <a:lnTo>
                        <a:pt x="64" y="528"/>
                      </a:lnTo>
                      <a:lnTo>
                        <a:pt x="56" y="536"/>
                      </a:lnTo>
                      <a:lnTo>
                        <a:pt x="40" y="544"/>
                      </a:lnTo>
                      <a:lnTo>
                        <a:pt x="32" y="528"/>
                      </a:lnTo>
                      <a:lnTo>
                        <a:pt x="40" y="520"/>
                      </a:lnTo>
                      <a:lnTo>
                        <a:pt x="32" y="528"/>
                      </a:lnTo>
                      <a:lnTo>
                        <a:pt x="24" y="528"/>
                      </a:lnTo>
                      <a:lnTo>
                        <a:pt x="24" y="512"/>
                      </a:lnTo>
                      <a:lnTo>
                        <a:pt x="16" y="512"/>
                      </a:lnTo>
                      <a:lnTo>
                        <a:pt x="8" y="504"/>
                      </a:lnTo>
                      <a:lnTo>
                        <a:pt x="16" y="496"/>
                      </a:lnTo>
                      <a:lnTo>
                        <a:pt x="24" y="496"/>
                      </a:lnTo>
                      <a:lnTo>
                        <a:pt x="24" y="488"/>
                      </a:lnTo>
                      <a:lnTo>
                        <a:pt x="32" y="480"/>
                      </a:lnTo>
                      <a:lnTo>
                        <a:pt x="24" y="480"/>
                      </a:lnTo>
                      <a:lnTo>
                        <a:pt x="16" y="480"/>
                      </a:lnTo>
                      <a:lnTo>
                        <a:pt x="8" y="488"/>
                      </a:lnTo>
                      <a:lnTo>
                        <a:pt x="8" y="472"/>
                      </a:lnTo>
                      <a:lnTo>
                        <a:pt x="16" y="472"/>
                      </a:lnTo>
                      <a:lnTo>
                        <a:pt x="24" y="464"/>
                      </a:lnTo>
                      <a:lnTo>
                        <a:pt x="24" y="456"/>
                      </a:lnTo>
                      <a:lnTo>
                        <a:pt x="32" y="448"/>
                      </a:lnTo>
                      <a:lnTo>
                        <a:pt x="32" y="432"/>
                      </a:lnTo>
                      <a:lnTo>
                        <a:pt x="32" y="440"/>
                      </a:lnTo>
                      <a:lnTo>
                        <a:pt x="24" y="448"/>
                      </a:lnTo>
                      <a:lnTo>
                        <a:pt x="16" y="448"/>
                      </a:lnTo>
                      <a:lnTo>
                        <a:pt x="8" y="440"/>
                      </a:lnTo>
                      <a:lnTo>
                        <a:pt x="16" y="440"/>
                      </a:lnTo>
                      <a:lnTo>
                        <a:pt x="16" y="432"/>
                      </a:lnTo>
                      <a:lnTo>
                        <a:pt x="8" y="432"/>
                      </a:lnTo>
                      <a:lnTo>
                        <a:pt x="8" y="424"/>
                      </a:lnTo>
                      <a:lnTo>
                        <a:pt x="24" y="416"/>
                      </a:lnTo>
                      <a:lnTo>
                        <a:pt x="32" y="416"/>
                      </a:lnTo>
                      <a:lnTo>
                        <a:pt x="40" y="416"/>
                      </a:lnTo>
                      <a:lnTo>
                        <a:pt x="48" y="408"/>
                      </a:lnTo>
                      <a:lnTo>
                        <a:pt x="40" y="408"/>
                      </a:lnTo>
                      <a:lnTo>
                        <a:pt x="16" y="408"/>
                      </a:lnTo>
                      <a:lnTo>
                        <a:pt x="16" y="416"/>
                      </a:lnTo>
                      <a:lnTo>
                        <a:pt x="0" y="408"/>
                      </a:lnTo>
                      <a:lnTo>
                        <a:pt x="8" y="400"/>
                      </a:lnTo>
                      <a:lnTo>
                        <a:pt x="0" y="384"/>
                      </a:lnTo>
                      <a:lnTo>
                        <a:pt x="8" y="384"/>
                      </a:lnTo>
                      <a:lnTo>
                        <a:pt x="8" y="376"/>
                      </a:lnTo>
                      <a:lnTo>
                        <a:pt x="8" y="368"/>
                      </a:lnTo>
                      <a:lnTo>
                        <a:pt x="16" y="368"/>
                      </a:lnTo>
                      <a:lnTo>
                        <a:pt x="24" y="352"/>
                      </a:lnTo>
                      <a:lnTo>
                        <a:pt x="40" y="352"/>
                      </a:lnTo>
                      <a:lnTo>
                        <a:pt x="40" y="344"/>
                      </a:lnTo>
                      <a:lnTo>
                        <a:pt x="48" y="344"/>
                      </a:lnTo>
                      <a:lnTo>
                        <a:pt x="48" y="336"/>
                      </a:lnTo>
                      <a:lnTo>
                        <a:pt x="56" y="328"/>
                      </a:lnTo>
                      <a:lnTo>
                        <a:pt x="64" y="328"/>
                      </a:lnTo>
                      <a:lnTo>
                        <a:pt x="64" y="320"/>
                      </a:lnTo>
                      <a:lnTo>
                        <a:pt x="80" y="312"/>
                      </a:lnTo>
                      <a:lnTo>
                        <a:pt x="88" y="312"/>
                      </a:lnTo>
                      <a:lnTo>
                        <a:pt x="88" y="304"/>
                      </a:lnTo>
                      <a:lnTo>
                        <a:pt x="96" y="304"/>
                      </a:lnTo>
                      <a:lnTo>
                        <a:pt x="96" y="288"/>
                      </a:lnTo>
                      <a:lnTo>
                        <a:pt x="128" y="264"/>
                      </a:lnTo>
                      <a:lnTo>
                        <a:pt x="128" y="256"/>
                      </a:lnTo>
                      <a:lnTo>
                        <a:pt x="144" y="232"/>
                      </a:lnTo>
                      <a:lnTo>
                        <a:pt x="152" y="232"/>
                      </a:lnTo>
                      <a:lnTo>
                        <a:pt x="160" y="224"/>
                      </a:lnTo>
                      <a:lnTo>
                        <a:pt x="152" y="224"/>
                      </a:lnTo>
                      <a:lnTo>
                        <a:pt x="152" y="216"/>
                      </a:lnTo>
                      <a:lnTo>
                        <a:pt x="160" y="208"/>
                      </a:lnTo>
                      <a:lnTo>
                        <a:pt x="160" y="192"/>
                      </a:lnTo>
                      <a:lnTo>
                        <a:pt x="168" y="176"/>
                      </a:lnTo>
                      <a:lnTo>
                        <a:pt x="176" y="176"/>
                      </a:lnTo>
                      <a:lnTo>
                        <a:pt x="184" y="168"/>
                      </a:lnTo>
                      <a:lnTo>
                        <a:pt x="176" y="168"/>
                      </a:lnTo>
                      <a:lnTo>
                        <a:pt x="168" y="168"/>
                      </a:lnTo>
                      <a:lnTo>
                        <a:pt x="168" y="160"/>
                      </a:lnTo>
                      <a:lnTo>
                        <a:pt x="176" y="160"/>
                      </a:lnTo>
                      <a:lnTo>
                        <a:pt x="184" y="144"/>
                      </a:lnTo>
                      <a:lnTo>
                        <a:pt x="200" y="136"/>
                      </a:lnTo>
                      <a:lnTo>
                        <a:pt x="208" y="136"/>
                      </a:lnTo>
                      <a:lnTo>
                        <a:pt x="216" y="136"/>
                      </a:lnTo>
                      <a:lnTo>
                        <a:pt x="200" y="136"/>
                      </a:lnTo>
                      <a:lnTo>
                        <a:pt x="200" y="128"/>
                      </a:lnTo>
                      <a:lnTo>
                        <a:pt x="208" y="128"/>
                      </a:lnTo>
                      <a:lnTo>
                        <a:pt x="224" y="128"/>
                      </a:lnTo>
                      <a:lnTo>
                        <a:pt x="224" y="120"/>
                      </a:lnTo>
                      <a:lnTo>
                        <a:pt x="208" y="120"/>
                      </a:lnTo>
                      <a:lnTo>
                        <a:pt x="224" y="104"/>
                      </a:lnTo>
                      <a:lnTo>
                        <a:pt x="232" y="112"/>
                      </a:lnTo>
                      <a:lnTo>
                        <a:pt x="240" y="112"/>
                      </a:lnTo>
                      <a:lnTo>
                        <a:pt x="240" y="104"/>
                      </a:lnTo>
                      <a:lnTo>
                        <a:pt x="256" y="104"/>
                      </a:lnTo>
                      <a:lnTo>
                        <a:pt x="256" y="96"/>
                      </a:lnTo>
                      <a:lnTo>
                        <a:pt x="248" y="96"/>
                      </a:lnTo>
                      <a:lnTo>
                        <a:pt x="232" y="96"/>
                      </a:lnTo>
                      <a:lnTo>
                        <a:pt x="240" y="88"/>
                      </a:lnTo>
                      <a:lnTo>
                        <a:pt x="256" y="88"/>
                      </a:lnTo>
                      <a:lnTo>
                        <a:pt x="264" y="88"/>
                      </a:lnTo>
                      <a:lnTo>
                        <a:pt x="264" y="80"/>
                      </a:lnTo>
                      <a:lnTo>
                        <a:pt x="264" y="72"/>
                      </a:lnTo>
                      <a:lnTo>
                        <a:pt x="280" y="72"/>
                      </a:lnTo>
                      <a:lnTo>
                        <a:pt x="288" y="72"/>
                      </a:lnTo>
                      <a:lnTo>
                        <a:pt x="288" y="64"/>
                      </a:lnTo>
                      <a:lnTo>
                        <a:pt x="296" y="64"/>
                      </a:lnTo>
                      <a:lnTo>
                        <a:pt x="288" y="56"/>
                      </a:lnTo>
                      <a:lnTo>
                        <a:pt x="296" y="56"/>
                      </a:lnTo>
                      <a:lnTo>
                        <a:pt x="304" y="56"/>
                      </a:lnTo>
                      <a:lnTo>
                        <a:pt x="312" y="48"/>
                      </a:lnTo>
                      <a:lnTo>
                        <a:pt x="320" y="48"/>
                      </a:lnTo>
                      <a:lnTo>
                        <a:pt x="312" y="56"/>
                      </a:lnTo>
                      <a:lnTo>
                        <a:pt x="312" y="64"/>
                      </a:lnTo>
                      <a:lnTo>
                        <a:pt x="320" y="64"/>
                      </a:lnTo>
                      <a:lnTo>
                        <a:pt x="328" y="56"/>
                      </a:lnTo>
                      <a:lnTo>
                        <a:pt x="328" y="48"/>
                      </a:lnTo>
                      <a:lnTo>
                        <a:pt x="344" y="48"/>
                      </a:lnTo>
                      <a:lnTo>
                        <a:pt x="352" y="48"/>
                      </a:lnTo>
                      <a:lnTo>
                        <a:pt x="336" y="40"/>
                      </a:lnTo>
                      <a:lnTo>
                        <a:pt x="336" y="32"/>
                      </a:lnTo>
                      <a:lnTo>
                        <a:pt x="344" y="32"/>
                      </a:lnTo>
                      <a:lnTo>
                        <a:pt x="360" y="32"/>
                      </a:lnTo>
                      <a:lnTo>
                        <a:pt x="368" y="40"/>
                      </a:lnTo>
                      <a:lnTo>
                        <a:pt x="368" y="48"/>
                      </a:lnTo>
                      <a:lnTo>
                        <a:pt x="384" y="40"/>
                      </a:lnTo>
                      <a:lnTo>
                        <a:pt x="384" y="32"/>
                      </a:lnTo>
                      <a:lnTo>
                        <a:pt x="392" y="32"/>
                      </a:lnTo>
                      <a:lnTo>
                        <a:pt x="400" y="24"/>
                      </a:lnTo>
                      <a:lnTo>
                        <a:pt x="408" y="16"/>
                      </a:lnTo>
                      <a:lnTo>
                        <a:pt x="400" y="16"/>
                      </a:lnTo>
                      <a:lnTo>
                        <a:pt x="408" y="8"/>
                      </a:lnTo>
                      <a:lnTo>
                        <a:pt x="416" y="8"/>
                      </a:lnTo>
                      <a:lnTo>
                        <a:pt x="432" y="8"/>
                      </a:lnTo>
                      <a:lnTo>
                        <a:pt x="432" y="16"/>
                      </a:lnTo>
                      <a:lnTo>
                        <a:pt x="424" y="16"/>
                      </a:lnTo>
                      <a:lnTo>
                        <a:pt x="416" y="24"/>
                      </a:lnTo>
                      <a:lnTo>
                        <a:pt x="416" y="40"/>
                      </a:lnTo>
                      <a:lnTo>
                        <a:pt x="432" y="32"/>
                      </a:lnTo>
                      <a:lnTo>
                        <a:pt x="432" y="24"/>
                      </a:lnTo>
                      <a:lnTo>
                        <a:pt x="440" y="8"/>
                      </a:lnTo>
                      <a:lnTo>
                        <a:pt x="448" y="8"/>
                      </a:lnTo>
                      <a:lnTo>
                        <a:pt x="448" y="16"/>
                      </a:lnTo>
                      <a:lnTo>
                        <a:pt x="448" y="24"/>
                      </a:lnTo>
                      <a:lnTo>
                        <a:pt x="456" y="8"/>
                      </a:lnTo>
                      <a:lnTo>
                        <a:pt x="456" y="0"/>
                      </a:lnTo>
                      <a:lnTo>
                        <a:pt x="472" y="8"/>
                      </a:lnTo>
                      <a:lnTo>
                        <a:pt x="480" y="8"/>
                      </a:lnTo>
                      <a:lnTo>
                        <a:pt x="472" y="16"/>
                      </a:lnTo>
                      <a:lnTo>
                        <a:pt x="480" y="24"/>
                      </a:lnTo>
                      <a:lnTo>
                        <a:pt x="488" y="16"/>
                      </a:lnTo>
                      <a:lnTo>
                        <a:pt x="496" y="8"/>
                      </a:lnTo>
                      <a:lnTo>
                        <a:pt x="528" y="32"/>
                      </a:lnTo>
                      <a:lnTo>
                        <a:pt x="512" y="40"/>
                      </a:lnTo>
                      <a:lnTo>
                        <a:pt x="488" y="32"/>
                      </a:lnTo>
                      <a:lnTo>
                        <a:pt x="488" y="40"/>
                      </a:lnTo>
                      <a:lnTo>
                        <a:pt x="504" y="48"/>
                      </a:lnTo>
                      <a:lnTo>
                        <a:pt x="512" y="56"/>
                      </a:lnTo>
                      <a:lnTo>
                        <a:pt x="520" y="48"/>
                      </a:lnTo>
                      <a:lnTo>
                        <a:pt x="528" y="48"/>
                      </a:lnTo>
                      <a:lnTo>
                        <a:pt x="504" y="64"/>
                      </a:lnTo>
                      <a:lnTo>
                        <a:pt x="496" y="72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23" name="Freeform 201">
                  <a:extLst>
                    <a:ext uri="{FF2B5EF4-FFF2-40B4-BE49-F238E27FC236}">
                      <a16:creationId xmlns:a16="http://schemas.microsoft.com/office/drawing/2014/main" id="{A3EC9BFF-F612-D2C3-B8A2-B5388CAE652F}"/>
                    </a:ext>
                  </a:extLst>
                </p:cNvPr>
                <p:cNvSpPr/>
                <p:nvPr/>
              </p:nvSpPr>
              <p:spPr bwMode="gray">
                <a:xfrm>
                  <a:off x="2873" y="1896"/>
                  <a:ext cx="45" cy="56"/>
                </a:xfrm>
                <a:custGeom>
                  <a:avLst/>
                  <a:gdLst>
                    <a:gd name="T0" fmla="*/ 14 w 64"/>
                    <a:gd name="T1" fmla="*/ 27 h 80"/>
                    <a:gd name="T2" fmla="*/ 8 w 64"/>
                    <a:gd name="T3" fmla="*/ 27 h 80"/>
                    <a:gd name="T4" fmla="*/ 6 w 64"/>
                    <a:gd name="T5" fmla="*/ 27 h 80"/>
                    <a:gd name="T6" fmla="*/ 6 w 64"/>
                    <a:gd name="T7" fmla="*/ 22 h 80"/>
                    <a:gd name="T8" fmla="*/ 3 w 64"/>
                    <a:gd name="T9" fmla="*/ 19 h 80"/>
                    <a:gd name="T10" fmla="*/ 0 w 64"/>
                    <a:gd name="T11" fmla="*/ 14 h 80"/>
                    <a:gd name="T12" fmla="*/ 0 w 64"/>
                    <a:gd name="T13" fmla="*/ 8 h 80"/>
                    <a:gd name="T14" fmla="*/ 6 w 64"/>
                    <a:gd name="T15" fmla="*/ 3 h 80"/>
                    <a:gd name="T16" fmla="*/ 8 w 64"/>
                    <a:gd name="T17" fmla="*/ 6 h 80"/>
                    <a:gd name="T18" fmla="*/ 11 w 64"/>
                    <a:gd name="T19" fmla="*/ 0 h 80"/>
                    <a:gd name="T20" fmla="*/ 14 w 64"/>
                    <a:gd name="T21" fmla="*/ 0 h 80"/>
                    <a:gd name="T22" fmla="*/ 17 w 64"/>
                    <a:gd name="T23" fmla="*/ 6 h 80"/>
                    <a:gd name="T24" fmla="*/ 23 w 64"/>
                    <a:gd name="T25" fmla="*/ 6 h 80"/>
                    <a:gd name="T26" fmla="*/ 23 w 64"/>
                    <a:gd name="T27" fmla="*/ 8 h 80"/>
                    <a:gd name="T28" fmla="*/ 17 w 64"/>
                    <a:gd name="T29" fmla="*/ 10 h 80"/>
                    <a:gd name="T30" fmla="*/ 17 w 64"/>
                    <a:gd name="T31" fmla="*/ 14 h 80"/>
                    <a:gd name="T32" fmla="*/ 11 w 64"/>
                    <a:gd name="T33" fmla="*/ 17 h 80"/>
                    <a:gd name="T34" fmla="*/ 11 w 64"/>
                    <a:gd name="T35" fmla="*/ 22 h 80"/>
                    <a:gd name="T36" fmla="*/ 11 w 64"/>
                    <a:gd name="T37" fmla="*/ 27 h 80"/>
                    <a:gd name="T38" fmla="*/ 14 w 64"/>
                    <a:gd name="T39" fmla="*/ 27 h 8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64"/>
                    <a:gd name="T61" fmla="*/ 0 h 80"/>
                    <a:gd name="T62" fmla="*/ 64 w 64"/>
                    <a:gd name="T63" fmla="*/ 80 h 8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64" h="80">
                      <a:moveTo>
                        <a:pt x="40" y="80"/>
                      </a:moveTo>
                      <a:lnTo>
                        <a:pt x="24" y="80"/>
                      </a:lnTo>
                      <a:lnTo>
                        <a:pt x="16" y="80"/>
                      </a:lnTo>
                      <a:lnTo>
                        <a:pt x="16" y="64"/>
                      </a:lnTo>
                      <a:lnTo>
                        <a:pt x="8" y="56"/>
                      </a:lnTo>
                      <a:lnTo>
                        <a:pt x="0" y="40"/>
                      </a:lnTo>
                      <a:lnTo>
                        <a:pt x="0" y="24"/>
                      </a:lnTo>
                      <a:lnTo>
                        <a:pt x="16" y="8"/>
                      </a:lnTo>
                      <a:lnTo>
                        <a:pt x="24" y="16"/>
                      </a:lnTo>
                      <a:lnTo>
                        <a:pt x="32" y="0"/>
                      </a:lnTo>
                      <a:lnTo>
                        <a:pt x="40" y="0"/>
                      </a:lnTo>
                      <a:lnTo>
                        <a:pt x="48" y="16"/>
                      </a:lnTo>
                      <a:lnTo>
                        <a:pt x="64" y="16"/>
                      </a:lnTo>
                      <a:lnTo>
                        <a:pt x="64" y="24"/>
                      </a:lnTo>
                      <a:lnTo>
                        <a:pt x="48" y="32"/>
                      </a:lnTo>
                      <a:lnTo>
                        <a:pt x="48" y="40"/>
                      </a:lnTo>
                      <a:lnTo>
                        <a:pt x="32" y="48"/>
                      </a:lnTo>
                      <a:lnTo>
                        <a:pt x="32" y="64"/>
                      </a:lnTo>
                      <a:lnTo>
                        <a:pt x="32" y="80"/>
                      </a:lnTo>
                      <a:lnTo>
                        <a:pt x="40" y="8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24" name="Freeform 202">
                  <a:extLst>
                    <a:ext uri="{FF2B5EF4-FFF2-40B4-BE49-F238E27FC236}">
                      <a16:creationId xmlns:a16="http://schemas.microsoft.com/office/drawing/2014/main" id="{68F91371-1267-275C-BA82-EE2294BE0505}"/>
                    </a:ext>
                  </a:extLst>
                </p:cNvPr>
                <p:cNvSpPr/>
                <p:nvPr/>
              </p:nvSpPr>
              <p:spPr bwMode="gray">
                <a:xfrm>
                  <a:off x="2845" y="2059"/>
                  <a:ext cx="12" cy="17"/>
                </a:xfrm>
                <a:custGeom>
                  <a:avLst/>
                  <a:gdLst>
                    <a:gd name="T0" fmla="*/ 7 w 16"/>
                    <a:gd name="T1" fmla="*/ 9 h 24"/>
                    <a:gd name="T2" fmla="*/ 4 w 16"/>
                    <a:gd name="T3" fmla="*/ 3 h 24"/>
                    <a:gd name="T4" fmla="*/ 4 w 16"/>
                    <a:gd name="T5" fmla="*/ 0 h 24"/>
                    <a:gd name="T6" fmla="*/ 0 w 16"/>
                    <a:gd name="T7" fmla="*/ 0 h 24"/>
                    <a:gd name="T8" fmla="*/ 0 w 16"/>
                    <a:gd name="T9" fmla="*/ 3 h 24"/>
                    <a:gd name="T10" fmla="*/ 0 w 16"/>
                    <a:gd name="T11" fmla="*/ 9 h 24"/>
                    <a:gd name="T12" fmla="*/ 7 w 16"/>
                    <a:gd name="T13" fmla="*/ 9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24"/>
                    <a:gd name="T23" fmla="*/ 16 w 16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24">
                      <a:moveTo>
                        <a:pt x="16" y="24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24"/>
                      </a:lnTo>
                      <a:lnTo>
                        <a:pt x="16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25" name="Freeform 203">
                  <a:extLst>
                    <a:ext uri="{FF2B5EF4-FFF2-40B4-BE49-F238E27FC236}">
                      <a16:creationId xmlns:a16="http://schemas.microsoft.com/office/drawing/2014/main" id="{7C904F5F-E3EF-CEE5-2010-3FA14971EF0D}"/>
                    </a:ext>
                  </a:extLst>
                </p:cNvPr>
                <p:cNvSpPr/>
                <p:nvPr/>
              </p:nvSpPr>
              <p:spPr bwMode="gray">
                <a:xfrm>
                  <a:off x="2924" y="1542"/>
                  <a:ext cx="180" cy="393"/>
                </a:xfrm>
                <a:custGeom>
                  <a:avLst/>
                  <a:gdLst>
                    <a:gd name="T0" fmla="*/ 89 w 256"/>
                    <a:gd name="T1" fmla="*/ 36 h 560"/>
                    <a:gd name="T2" fmla="*/ 89 w 256"/>
                    <a:gd name="T3" fmla="*/ 22 h 560"/>
                    <a:gd name="T4" fmla="*/ 86 w 256"/>
                    <a:gd name="T5" fmla="*/ 14 h 560"/>
                    <a:gd name="T6" fmla="*/ 72 w 256"/>
                    <a:gd name="T7" fmla="*/ 8 h 560"/>
                    <a:gd name="T8" fmla="*/ 67 w 256"/>
                    <a:gd name="T9" fmla="*/ 0 h 560"/>
                    <a:gd name="T10" fmla="*/ 61 w 256"/>
                    <a:gd name="T11" fmla="*/ 6 h 560"/>
                    <a:gd name="T12" fmla="*/ 53 w 256"/>
                    <a:gd name="T13" fmla="*/ 6 h 560"/>
                    <a:gd name="T14" fmla="*/ 48 w 256"/>
                    <a:gd name="T15" fmla="*/ 11 h 560"/>
                    <a:gd name="T16" fmla="*/ 39 w 256"/>
                    <a:gd name="T17" fmla="*/ 17 h 560"/>
                    <a:gd name="T18" fmla="*/ 36 w 256"/>
                    <a:gd name="T19" fmla="*/ 22 h 560"/>
                    <a:gd name="T20" fmla="*/ 27 w 256"/>
                    <a:gd name="T21" fmla="*/ 33 h 560"/>
                    <a:gd name="T22" fmla="*/ 19 w 256"/>
                    <a:gd name="T23" fmla="*/ 39 h 560"/>
                    <a:gd name="T24" fmla="*/ 23 w 256"/>
                    <a:gd name="T25" fmla="*/ 55 h 560"/>
                    <a:gd name="T26" fmla="*/ 19 w 256"/>
                    <a:gd name="T27" fmla="*/ 69 h 560"/>
                    <a:gd name="T28" fmla="*/ 8 w 256"/>
                    <a:gd name="T29" fmla="*/ 72 h 560"/>
                    <a:gd name="T30" fmla="*/ 6 w 256"/>
                    <a:gd name="T31" fmla="*/ 88 h 560"/>
                    <a:gd name="T32" fmla="*/ 11 w 256"/>
                    <a:gd name="T33" fmla="*/ 111 h 560"/>
                    <a:gd name="T34" fmla="*/ 6 w 256"/>
                    <a:gd name="T35" fmla="*/ 119 h 560"/>
                    <a:gd name="T36" fmla="*/ 8 w 256"/>
                    <a:gd name="T37" fmla="*/ 125 h 560"/>
                    <a:gd name="T38" fmla="*/ 6 w 256"/>
                    <a:gd name="T39" fmla="*/ 133 h 560"/>
                    <a:gd name="T40" fmla="*/ 3 w 256"/>
                    <a:gd name="T41" fmla="*/ 149 h 560"/>
                    <a:gd name="T42" fmla="*/ 6 w 256"/>
                    <a:gd name="T43" fmla="*/ 158 h 560"/>
                    <a:gd name="T44" fmla="*/ 6 w 256"/>
                    <a:gd name="T45" fmla="*/ 171 h 560"/>
                    <a:gd name="T46" fmla="*/ 11 w 256"/>
                    <a:gd name="T47" fmla="*/ 180 h 560"/>
                    <a:gd name="T48" fmla="*/ 11 w 256"/>
                    <a:gd name="T49" fmla="*/ 191 h 560"/>
                    <a:gd name="T50" fmla="*/ 17 w 256"/>
                    <a:gd name="T51" fmla="*/ 191 h 560"/>
                    <a:gd name="T52" fmla="*/ 25 w 256"/>
                    <a:gd name="T53" fmla="*/ 185 h 560"/>
                    <a:gd name="T54" fmla="*/ 34 w 256"/>
                    <a:gd name="T55" fmla="*/ 182 h 560"/>
                    <a:gd name="T56" fmla="*/ 39 w 256"/>
                    <a:gd name="T57" fmla="*/ 166 h 560"/>
                    <a:gd name="T58" fmla="*/ 39 w 256"/>
                    <a:gd name="T59" fmla="*/ 149 h 560"/>
                    <a:gd name="T60" fmla="*/ 41 w 256"/>
                    <a:gd name="T61" fmla="*/ 147 h 560"/>
                    <a:gd name="T62" fmla="*/ 48 w 256"/>
                    <a:gd name="T63" fmla="*/ 147 h 560"/>
                    <a:gd name="T64" fmla="*/ 53 w 256"/>
                    <a:gd name="T65" fmla="*/ 130 h 560"/>
                    <a:gd name="T66" fmla="*/ 41 w 256"/>
                    <a:gd name="T67" fmla="*/ 119 h 560"/>
                    <a:gd name="T68" fmla="*/ 44 w 256"/>
                    <a:gd name="T69" fmla="*/ 108 h 560"/>
                    <a:gd name="T70" fmla="*/ 41 w 256"/>
                    <a:gd name="T71" fmla="*/ 100 h 560"/>
                    <a:gd name="T72" fmla="*/ 48 w 256"/>
                    <a:gd name="T73" fmla="*/ 88 h 560"/>
                    <a:gd name="T74" fmla="*/ 56 w 256"/>
                    <a:gd name="T75" fmla="*/ 80 h 560"/>
                    <a:gd name="T76" fmla="*/ 67 w 256"/>
                    <a:gd name="T77" fmla="*/ 72 h 560"/>
                    <a:gd name="T78" fmla="*/ 70 w 256"/>
                    <a:gd name="T79" fmla="*/ 61 h 560"/>
                    <a:gd name="T80" fmla="*/ 72 w 256"/>
                    <a:gd name="T81" fmla="*/ 53 h 560"/>
                    <a:gd name="T82" fmla="*/ 78 w 256"/>
                    <a:gd name="T83" fmla="*/ 44 h 560"/>
                    <a:gd name="T84" fmla="*/ 84 w 256"/>
                    <a:gd name="T85" fmla="*/ 41 h 5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56"/>
                    <a:gd name="T130" fmla="*/ 0 h 560"/>
                    <a:gd name="T131" fmla="*/ 256 w 256"/>
                    <a:gd name="T132" fmla="*/ 560 h 5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56" h="560">
                      <a:moveTo>
                        <a:pt x="256" y="120"/>
                      </a:moveTo>
                      <a:lnTo>
                        <a:pt x="256" y="104"/>
                      </a:lnTo>
                      <a:lnTo>
                        <a:pt x="256" y="80"/>
                      </a:lnTo>
                      <a:lnTo>
                        <a:pt x="256" y="64"/>
                      </a:lnTo>
                      <a:lnTo>
                        <a:pt x="240" y="56"/>
                      </a:lnTo>
                      <a:lnTo>
                        <a:pt x="248" y="40"/>
                      </a:lnTo>
                      <a:lnTo>
                        <a:pt x="224" y="24"/>
                      </a:lnTo>
                      <a:lnTo>
                        <a:pt x="208" y="24"/>
                      </a:lnTo>
                      <a:lnTo>
                        <a:pt x="192" y="8"/>
                      </a:lnTo>
                      <a:lnTo>
                        <a:pt x="192" y="0"/>
                      </a:lnTo>
                      <a:lnTo>
                        <a:pt x="176" y="0"/>
                      </a:lnTo>
                      <a:lnTo>
                        <a:pt x="176" y="16"/>
                      </a:lnTo>
                      <a:lnTo>
                        <a:pt x="160" y="24"/>
                      </a:lnTo>
                      <a:lnTo>
                        <a:pt x="152" y="16"/>
                      </a:lnTo>
                      <a:lnTo>
                        <a:pt x="136" y="16"/>
                      </a:lnTo>
                      <a:lnTo>
                        <a:pt x="136" y="32"/>
                      </a:lnTo>
                      <a:lnTo>
                        <a:pt x="120" y="40"/>
                      </a:lnTo>
                      <a:lnTo>
                        <a:pt x="112" y="48"/>
                      </a:lnTo>
                      <a:lnTo>
                        <a:pt x="96" y="56"/>
                      </a:lnTo>
                      <a:lnTo>
                        <a:pt x="104" y="64"/>
                      </a:lnTo>
                      <a:lnTo>
                        <a:pt x="104" y="72"/>
                      </a:lnTo>
                      <a:lnTo>
                        <a:pt x="80" y="96"/>
                      </a:lnTo>
                      <a:lnTo>
                        <a:pt x="64" y="96"/>
                      </a:lnTo>
                      <a:lnTo>
                        <a:pt x="56" y="112"/>
                      </a:lnTo>
                      <a:lnTo>
                        <a:pt x="64" y="120"/>
                      </a:lnTo>
                      <a:lnTo>
                        <a:pt x="64" y="160"/>
                      </a:lnTo>
                      <a:lnTo>
                        <a:pt x="48" y="184"/>
                      </a:lnTo>
                      <a:lnTo>
                        <a:pt x="56" y="200"/>
                      </a:lnTo>
                      <a:lnTo>
                        <a:pt x="48" y="216"/>
                      </a:lnTo>
                      <a:lnTo>
                        <a:pt x="24" y="208"/>
                      </a:lnTo>
                      <a:lnTo>
                        <a:pt x="16" y="224"/>
                      </a:lnTo>
                      <a:lnTo>
                        <a:pt x="16" y="256"/>
                      </a:lnTo>
                      <a:lnTo>
                        <a:pt x="16" y="304"/>
                      </a:lnTo>
                      <a:lnTo>
                        <a:pt x="32" y="320"/>
                      </a:lnTo>
                      <a:lnTo>
                        <a:pt x="32" y="336"/>
                      </a:lnTo>
                      <a:lnTo>
                        <a:pt x="16" y="344"/>
                      </a:lnTo>
                      <a:lnTo>
                        <a:pt x="16" y="352"/>
                      </a:lnTo>
                      <a:lnTo>
                        <a:pt x="24" y="360"/>
                      </a:lnTo>
                      <a:lnTo>
                        <a:pt x="24" y="376"/>
                      </a:lnTo>
                      <a:lnTo>
                        <a:pt x="16" y="384"/>
                      </a:lnTo>
                      <a:lnTo>
                        <a:pt x="8" y="424"/>
                      </a:lnTo>
                      <a:lnTo>
                        <a:pt x="8" y="432"/>
                      </a:lnTo>
                      <a:lnTo>
                        <a:pt x="0" y="448"/>
                      </a:lnTo>
                      <a:lnTo>
                        <a:pt x="16" y="456"/>
                      </a:lnTo>
                      <a:lnTo>
                        <a:pt x="8" y="488"/>
                      </a:lnTo>
                      <a:lnTo>
                        <a:pt x="16" y="496"/>
                      </a:lnTo>
                      <a:lnTo>
                        <a:pt x="24" y="504"/>
                      </a:lnTo>
                      <a:lnTo>
                        <a:pt x="32" y="520"/>
                      </a:lnTo>
                      <a:lnTo>
                        <a:pt x="32" y="536"/>
                      </a:lnTo>
                      <a:lnTo>
                        <a:pt x="32" y="552"/>
                      </a:lnTo>
                      <a:lnTo>
                        <a:pt x="48" y="560"/>
                      </a:lnTo>
                      <a:lnTo>
                        <a:pt x="48" y="552"/>
                      </a:lnTo>
                      <a:lnTo>
                        <a:pt x="56" y="552"/>
                      </a:lnTo>
                      <a:lnTo>
                        <a:pt x="72" y="536"/>
                      </a:lnTo>
                      <a:lnTo>
                        <a:pt x="88" y="536"/>
                      </a:lnTo>
                      <a:lnTo>
                        <a:pt x="96" y="528"/>
                      </a:lnTo>
                      <a:lnTo>
                        <a:pt x="104" y="496"/>
                      </a:lnTo>
                      <a:lnTo>
                        <a:pt x="112" y="480"/>
                      </a:lnTo>
                      <a:lnTo>
                        <a:pt x="104" y="448"/>
                      </a:lnTo>
                      <a:lnTo>
                        <a:pt x="112" y="432"/>
                      </a:lnTo>
                      <a:lnTo>
                        <a:pt x="120" y="440"/>
                      </a:lnTo>
                      <a:lnTo>
                        <a:pt x="120" y="424"/>
                      </a:lnTo>
                      <a:lnTo>
                        <a:pt x="128" y="424"/>
                      </a:lnTo>
                      <a:lnTo>
                        <a:pt x="136" y="424"/>
                      </a:lnTo>
                      <a:lnTo>
                        <a:pt x="152" y="408"/>
                      </a:lnTo>
                      <a:lnTo>
                        <a:pt x="152" y="376"/>
                      </a:lnTo>
                      <a:lnTo>
                        <a:pt x="136" y="360"/>
                      </a:lnTo>
                      <a:lnTo>
                        <a:pt x="120" y="344"/>
                      </a:lnTo>
                      <a:lnTo>
                        <a:pt x="120" y="320"/>
                      </a:lnTo>
                      <a:lnTo>
                        <a:pt x="128" y="312"/>
                      </a:lnTo>
                      <a:lnTo>
                        <a:pt x="120" y="304"/>
                      </a:lnTo>
                      <a:lnTo>
                        <a:pt x="120" y="288"/>
                      </a:lnTo>
                      <a:lnTo>
                        <a:pt x="136" y="280"/>
                      </a:lnTo>
                      <a:lnTo>
                        <a:pt x="136" y="256"/>
                      </a:lnTo>
                      <a:lnTo>
                        <a:pt x="152" y="248"/>
                      </a:lnTo>
                      <a:lnTo>
                        <a:pt x="160" y="232"/>
                      </a:lnTo>
                      <a:lnTo>
                        <a:pt x="176" y="224"/>
                      </a:lnTo>
                      <a:lnTo>
                        <a:pt x="192" y="208"/>
                      </a:lnTo>
                      <a:lnTo>
                        <a:pt x="208" y="184"/>
                      </a:lnTo>
                      <a:lnTo>
                        <a:pt x="200" y="176"/>
                      </a:lnTo>
                      <a:lnTo>
                        <a:pt x="200" y="168"/>
                      </a:lnTo>
                      <a:lnTo>
                        <a:pt x="208" y="152"/>
                      </a:lnTo>
                      <a:lnTo>
                        <a:pt x="208" y="144"/>
                      </a:lnTo>
                      <a:lnTo>
                        <a:pt x="224" y="128"/>
                      </a:lnTo>
                      <a:lnTo>
                        <a:pt x="224" y="120"/>
                      </a:lnTo>
                      <a:lnTo>
                        <a:pt x="240" y="120"/>
                      </a:lnTo>
                      <a:lnTo>
                        <a:pt x="256" y="12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26" name="Freeform 204">
                  <a:extLst>
                    <a:ext uri="{FF2B5EF4-FFF2-40B4-BE49-F238E27FC236}">
                      <a16:creationId xmlns:a16="http://schemas.microsoft.com/office/drawing/2014/main" id="{15C35BA5-D26C-8347-90E2-E6E900EAFE02}"/>
                    </a:ext>
                  </a:extLst>
                </p:cNvPr>
                <p:cNvSpPr/>
                <p:nvPr/>
              </p:nvSpPr>
              <p:spPr bwMode="gray">
                <a:xfrm>
                  <a:off x="3059" y="1519"/>
                  <a:ext cx="152" cy="293"/>
                </a:xfrm>
                <a:custGeom>
                  <a:avLst/>
                  <a:gdLst>
                    <a:gd name="T0" fmla="*/ 56 w 216"/>
                    <a:gd name="T1" fmla="*/ 128 h 416"/>
                    <a:gd name="T2" fmla="*/ 75 w 216"/>
                    <a:gd name="T3" fmla="*/ 101 h 416"/>
                    <a:gd name="T4" fmla="*/ 64 w 216"/>
                    <a:gd name="T5" fmla="*/ 92 h 416"/>
                    <a:gd name="T6" fmla="*/ 67 w 216"/>
                    <a:gd name="T7" fmla="*/ 84 h 416"/>
                    <a:gd name="T8" fmla="*/ 64 w 216"/>
                    <a:gd name="T9" fmla="*/ 73 h 416"/>
                    <a:gd name="T10" fmla="*/ 61 w 216"/>
                    <a:gd name="T11" fmla="*/ 67 h 416"/>
                    <a:gd name="T12" fmla="*/ 64 w 216"/>
                    <a:gd name="T13" fmla="*/ 56 h 416"/>
                    <a:gd name="T14" fmla="*/ 56 w 216"/>
                    <a:gd name="T15" fmla="*/ 36 h 416"/>
                    <a:gd name="T16" fmla="*/ 58 w 216"/>
                    <a:gd name="T17" fmla="*/ 25 h 416"/>
                    <a:gd name="T18" fmla="*/ 53 w 216"/>
                    <a:gd name="T19" fmla="*/ 17 h 416"/>
                    <a:gd name="T20" fmla="*/ 56 w 216"/>
                    <a:gd name="T21" fmla="*/ 3 h 416"/>
                    <a:gd name="T22" fmla="*/ 44 w 216"/>
                    <a:gd name="T23" fmla="*/ 0 h 416"/>
                    <a:gd name="T24" fmla="*/ 36 w 216"/>
                    <a:gd name="T25" fmla="*/ 11 h 416"/>
                    <a:gd name="T26" fmla="*/ 27 w 216"/>
                    <a:gd name="T27" fmla="*/ 14 h 416"/>
                    <a:gd name="T28" fmla="*/ 19 w 216"/>
                    <a:gd name="T29" fmla="*/ 17 h 416"/>
                    <a:gd name="T30" fmla="*/ 6 w 216"/>
                    <a:gd name="T31" fmla="*/ 8 h 416"/>
                    <a:gd name="T32" fmla="*/ 0 w 216"/>
                    <a:gd name="T33" fmla="*/ 11 h 416"/>
                    <a:gd name="T34" fmla="*/ 6 w 216"/>
                    <a:gd name="T35" fmla="*/ 19 h 416"/>
                    <a:gd name="T36" fmla="*/ 19 w 216"/>
                    <a:gd name="T37" fmla="*/ 25 h 416"/>
                    <a:gd name="T38" fmla="*/ 23 w 216"/>
                    <a:gd name="T39" fmla="*/ 34 h 416"/>
                    <a:gd name="T40" fmla="*/ 23 w 216"/>
                    <a:gd name="T41" fmla="*/ 48 h 416"/>
                    <a:gd name="T42" fmla="*/ 27 w 216"/>
                    <a:gd name="T43" fmla="*/ 53 h 416"/>
                    <a:gd name="T44" fmla="*/ 34 w 216"/>
                    <a:gd name="T45" fmla="*/ 61 h 416"/>
                    <a:gd name="T46" fmla="*/ 31 w 216"/>
                    <a:gd name="T47" fmla="*/ 70 h 416"/>
                    <a:gd name="T48" fmla="*/ 25 w 216"/>
                    <a:gd name="T49" fmla="*/ 78 h 416"/>
                    <a:gd name="T50" fmla="*/ 19 w 216"/>
                    <a:gd name="T51" fmla="*/ 84 h 416"/>
                    <a:gd name="T52" fmla="*/ 14 w 216"/>
                    <a:gd name="T53" fmla="*/ 89 h 416"/>
                    <a:gd name="T54" fmla="*/ 11 w 216"/>
                    <a:gd name="T55" fmla="*/ 95 h 416"/>
                    <a:gd name="T56" fmla="*/ 6 w 216"/>
                    <a:gd name="T57" fmla="*/ 101 h 416"/>
                    <a:gd name="T58" fmla="*/ 3 w 216"/>
                    <a:gd name="T59" fmla="*/ 111 h 416"/>
                    <a:gd name="T60" fmla="*/ 6 w 216"/>
                    <a:gd name="T61" fmla="*/ 126 h 416"/>
                    <a:gd name="T62" fmla="*/ 8 w 216"/>
                    <a:gd name="T63" fmla="*/ 137 h 416"/>
                    <a:gd name="T64" fmla="*/ 14 w 216"/>
                    <a:gd name="T65" fmla="*/ 140 h 416"/>
                    <a:gd name="T66" fmla="*/ 23 w 216"/>
                    <a:gd name="T67" fmla="*/ 145 h 416"/>
                    <a:gd name="T68" fmla="*/ 25 w 216"/>
                    <a:gd name="T69" fmla="*/ 142 h 416"/>
                    <a:gd name="T70" fmla="*/ 36 w 216"/>
                    <a:gd name="T71" fmla="*/ 142 h 416"/>
                    <a:gd name="T72" fmla="*/ 42 w 216"/>
                    <a:gd name="T73" fmla="*/ 137 h 416"/>
                    <a:gd name="T74" fmla="*/ 48 w 216"/>
                    <a:gd name="T75" fmla="*/ 137 h 41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16"/>
                    <a:gd name="T115" fmla="*/ 0 h 416"/>
                    <a:gd name="T116" fmla="*/ 216 w 216"/>
                    <a:gd name="T117" fmla="*/ 416 h 41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16" h="416">
                      <a:moveTo>
                        <a:pt x="152" y="384"/>
                      </a:moveTo>
                      <a:lnTo>
                        <a:pt x="160" y="368"/>
                      </a:lnTo>
                      <a:lnTo>
                        <a:pt x="184" y="336"/>
                      </a:lnTo>
                      <a:lnTo>
                        <a:pt x="216" y="288"/>
                      </a:lnTo>
                      <a:lnTo>
                        <a:pt x="200" y="272"/>
                      </a:lnTo>
                      <a:lnTo>
                        <a:pt x="184" y="264"/>
                      </a:lnTo>
                      <a:lnTo>
                        <a:pt x="184" y="256"/>
                      </a:lnTo>
                      <a:lnTo>
                        <a:pt x="192" y="240"/>
                      </a:lnTo>
                      <a:lnTo>
                        <a:pt x="192" y="224"/>
                      </a:lnTo>
                      <a:lnTo>
                        <a:pt x="184" y="208"/>
                      </a:lnTo>
                      <a:lnTo>
                        <a:pt x="192" y="200"/>
                      </a:lnTo>
                      <a:lnTo>
                        <a:pt x="176" y="192"/>
                      </a:lnTo>
                      <a:lnTo>
                        <a:pt x="184" y="176"/>
                      </a:lnTo>
                      <a:lnTo>
                        <a:pt x="184" y="160"/>
                      </a:lnTo>
                      <a:lnTo>
                        <a:pt x="184" y="136"/>
                      </a:lnTo>
                      <a:lnTo>
                        <a:pt x="160" y="104"/>
                      </a:lnTo>
                      <a:lnTo>
                        <a:pt x="176" y="88"/>
                      </a:lnTo>
                      <a:lnTo>
                        <a:pt x="168" y="72"/>
                      </a:lnTo>
                      <a:lnTo>
                        <a:pt x="152" y="56"/>
                      </a:lnTo>
                      <a:lnTo>
                        <a:pt x="152" y="48"/>
                      </a:lnTo>
                      <a:lnTo>
                        <a:pt x="168" y="32"/>
                      </a:lnTo>
                      <a:lnTo>
                        <a:pt x="160" y="8"/>
                      </a:lnTo>
                      <a:lnTo>
                        <a:pt x="144" y="0"/>
                      </a:lnTo>
                      <a:lnTo>
                        <a:pt x="128" y="0"/>
                      </a:lnTo>
                      <a:lnTo>
                        <a:pt x="104" y="8"/>
                      </a:lnTo>
                      <a:lnTo>
                        <a:pt x="104" y="32"/>
                      </a:lnTo>
                      <a:lnTo>
                        <a:pt x="88" y="48"/>
                      </a:lnTo>
                      <a:lnTo>
                        <a:pt x="80" y="40"/>
                      </a:lnTo>
                      <a:lnTo>
                        <a:pt x="64" y="40"/>
                      </a:lnTo>
                      <a:lnTo>
                        <a:pt x="56" y="48"/>
                      </a:lnTo>
                      <a:lnTo>
                        <a:pt x="40" y="48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0" y="40"/>
                      </a:lnTo>
                      <a:lnTo>
                        <a:pt x="16" y="56"/>
                      </a:lnTo>
                      <a:lnTo>
                        <a:pt x="32" y="56"/>
                      </a:lnTo>
                      <a:lnTo>
                        <a:pt x="56" y="72"/>
                      </a:lnTo>
                      <a:lnTo>
                        <a:pt x="48" y="88"/>
                      </a:lnTo>
                      <a:lnTo>
                        <a:pt x="64" y="96"/>
                      </a:lnTo>
                      <a:lnTo>
                        <a:pt x="64" y="112"/>
                      </a:lnTo>
                      <a:lnTo>
                        <a:pt x="64" y="136"/>
                      </a:lnTo>
                      <a:lnTo>
                        <a:pt x="64" y="152"/>
                      </a:lnTo>
                      <a:lnTo>
                        <a:pt x="80" y="152"/>
                      </a:lnTo>
                      <a:lnTo>
                        <a:pt x="96" y="168"/>
                      </a:lnTo>
                      <a:lnTo>
                        <a:pt x="96" y="176"/>
                      </a:lnTo>
                      <a:lnTo>
                        <a:pt x="96" y="184"/>
                      </a:lnTo>
                      <a:lnTo>
                        <a:pt x="88" y="200"/>
                      </a:lnTo>
                      <a:lnTo>
                        <a:pt x="80" y="200"/>
                      </a:lnTo>
                      <a:lnTo>
                        <a:pt x="72" y="224"/>
                      </a:lnTo>
                      <a:lnTo>
                        <a:pt x="64" y="240"/>
                      </a:lnTo>
                      <a:lnTo>
                        <a:pt x="56" y="240"/>
                      </a:lnTo>
                      <a:lnTo>
                        <a:pt x="48" y="256"/>
                      </a:lnTo>
                      <a:lnTo>
                        <a:pt x="40" y="256"/>
                      </a:lnTo>
                      <a:lnTo>
                        <a:pt x="32" y="264"/>
                      </a:lnTo>
                      <a:lnTo>
                        <a:pt x="32" y="272"/>
                      </a:lnTo>
                      <a:lnTo>
                        <a:pt x="16" y="280"/>
                      </a:lnTo>
                      <a:lnTo>
                        <a:pt x="16" y="288"/>
                      </a:lnTo>
                      <a:lnTo>
                        <a:pt x="8" y="296"/>
                      </a:lnTo>
                      <a:lnTo>
                        <a:pt x="8" y="320"/>
                      </a:lnTo>
                      <a:lnTo>
                        <a:pt x="16" y="344"/>
                      </a:lnTo>
                      <a:lnTo>
                        <a:pt x="16" y="360"/>
                      </a:lnTo>
                      <a:lnTo>
                        <a:pt x="16" y="392"/>
                      </a:lnTo>
                      <a:lnTo>
                        <a:pt x="24" y="392"/>
                      </a:lnTo>
                      <a:lnTo>
                        <a:pt x="32" y="400"/>
                      </a:lnTo>
                      <a:lnTo>
                        <a:pt x="40" y="400"/>
                      </a:lnTo>
                      <a:lnTo>
                        <a:pt x="48" y="416"/>
                      </a:lnTo>
                      <a:lnTo>
                        <a:pt x="64" y="416"/>
                      </a:lnTo>
                      <a:lnTo>
                        <a:pt x="64" y="408"/>
                      </a:lnTo>
                      <a:lnTo>
                        <a:pt x="72" y="408"/>
                      </a:lnTo>
                      <a:lnTo>
                        <a:pt x="88" y="408"/>
                      </a:lnTo>
                      <a:lnTo>
                        <a:pt x="104" y="408"/>
                      </a:lnTo>
                      <a:lnTo>
                        <a:pt x="104" y="400"/>
                      </a:lnTo>
                      <a:lnTo>
                        <a:pt x="120" y="392"/>
                      </a:lnTo>
                      <a:lnTo>
                        <a:pt x="128" y="392"/>
                      </a:lnTo>
                      <a:lnTo>
                        <a:pt x="136" y="392"/>
                      </a:lnTo>
                      <a:lnTo>
                        <a:pt x="152" y="384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27" name="Freeform 205">
                  <a:extLst>
                    <a:ext uri="{FF2B5EF4-FFF2-40B4-BE49-F238E27FC236}">
                      <a16:creationId xmlns:a16="http://schemas.microsoft.com/office/drawing/2014/main" id="{313DA30D-8C4C-48CE-6AFB-37004D404877}"/>
                    </a:ext>
                  </a:extLst>
                </p:cNvPr>
                <p:cNvSpPr/>
                <p:nvPr/>
              </p:nvSpPr>
              <p:spPr bwMode="gray">
                <a:xfrm>
                  <a:off x="1703" y="1069"/>
                  <a:ext cx="883" cy="748"/>
                </a:xfrm>
                <a:custGeom>
                  <a:avLst/>
                  <a:gdLst>
                    <a:gd name="T0" fmla="*/ 178 w 1256"/>
                    <a:gd name="T1" fmla="*/ 353 h 1064"/>
                    <a:gd name="T2" fmla="*/ 159 w 1256"/>
                    <a:gd name="T3" fmla="*/ 320 h 1064"/>
                    <a:gd name="T4" fmla="*/ 153 w 1256"/>
                    <a:gd name="T5" fmla="*/ 303 h 1064"/>
                    <a:gd name="T6" fmla="*/ 144 w 1256"/>
                    <a:gd name="T7" fmla="*/ 267 h 1064"/>
                    <a:gd name="T8" fmla="*/ 148 w 1256"/>
                    <a:gd name="T9" fmla="*/ 250 h 1064"/>
                    <a:gd name="T10" fmla="*/ 148 w 1256"/>
                    <a:gd name="T11" fmla="*/ 245 h 1064"/>
                    <a:gd name="T12" fmla="*/ 148 w 1256"/>
                    <a:gd name="T13" fmla="*/ 226 h 1064"/>
                    <a:gd name="T14" fmla="*/ 153 w 1256"/>
                    <a:gd name="T15" fmla="*/ 214 h 1064"/>
                    <a:gd name="T16" fmla="*/ 128 w 1256"/>
                    <a:gd name="T17" fmla="*/ 205 h 1064"/>
                    <a:gd name="T18" fmla="*/ 122 w 1256"/>
                    <a:gd name="T19" fmla="*/ 172 h 1064"/>
                    <a:gd name="T20" fmla="*/ 92 w 1256"/>
                    <a:gd name="T21" fmla="*/ 139 h 1064"/>
                    <a:gd name="T22" fmla="*/ 61 w 1256"/>
                    <a:gd name="T23" fmla="*/ 136 h 1064"/>
                    <a:gd name="T24" fmla="*/ 47 w 1256"/>
                    <a:gd name="T25" fmla="*/ 142 h 1064"/>
                    <a:gd name="T26" fmla="*/ 19 w 1256"/>
                    <a:gd name="T27" fmla="*/ 128 h 1064"/>
                    <a:gd name="T28" fmla="*/ 31 w 1256"/>
                    <a:gd name="T29" fmla="*/ 125 h 1064"/>
                    <a:gd name="T30" fmla="*/ 27 w 1256"/>
                    <a:gd name="T31" fmla="*/ 120 h 1064"/>
                    <a:gd name="T32" fmla="*/ 3 w 1256"/>
                    <a:gd name="T33" fmla="*/ 105 h 1064"/>
                    <a:gd name="T34" fmla="*/ 47 w 1256"/>
                    <a:gd name="T35" fmla="*/ 94 h 1064"/>
                    <a:gd name="T36" fmla="*/ 41 w 1256"/>
                    <a:gd name="T37" fmla="*/ 81 h 1064"/>
                    <a:gd name="T38" fmla="*/ 70 w 1256"/>
                    <a:gd name="T39" fmla="*/ 58 h 1064"/>
                    <a:gd name="T40" fmla="*/ 94 w 1256"/>
                    <a:gd name="T41" fmla="*/ 44 h 1064"/>
                    <a:gd name="T42" fmla="*/ 125 w 1256"/>
                    <a:gd name="T43" fmla="*/ 36 h 1064"/>
                    <a:gd name="T44" fmla="*/ 148 w 1256"/>
                    <a:gd name="T45" fmla="*/ 41 h 1064"/>
                    <a:gd name="T46" fmla="*/ 169 w 1256"/>
                    <a:gd name="T47" fmla="*/ 31 h 1064"/>
                    <a:gd name="T48" fmla="*/ 205 w 1256"/>
                    <a:gd name="T49" fmla="*/ 36 h 1064"/>
                    <a:gd name="T50" fmla="*/ 217 w 1256"/>
                    <a:gd name="T51" fmla="*/ 27 h 1064"/>
                    <a:gd name="T52" fmla="*/ 198 w 1256"/>
                    <a:gd name="T53" fmla="*/ 22 h 1064"/>
                    <a:gd name="T54" fmla="*/ 203 w 1256"/>
                    <a:gd name="T55" fmla="*/ 11 h 1064"/>
                    <a:gd name="T56" fmla="*/ 239 w 1256"/>
                    <a:gd name="T57" fmla="*/ 17 h 1064"/>
                    <a:gd name="T58" fmla="*/ 239 w 1256"/>
                    <a:gd name="T59" fmla="*/ 6 h 1064"/>
                    <a:gd name="T60" fmla="*/ 264 w 1256"/>
                    <a:gd name="T61" fmla="*/ 0 h 1064"/>
                    <a:gd name="T62" fmla="*/ 314 w 1256"/>
                    <a:gd name="T63" fmla="*/ 3 h 1064"/>
                    <a:gd name="T64" fmla="*/ 286 w 1256"/>
                    <a:gd name="T65" fmla="*/ 14 h 1064"/>
                    <a:gd name="T66" fmla="*/ 272 w 1256"/>
                    <a:gd name="T67" fmla="*/ 22 h 1064"/>
                    <a:gd name="T68" fmla="*/ 342 w 1256"/>
                    <a:gd name="T69" fmla="*/ 19 h 1064"/>
                    <a:gd name="T70" fmla="*/ 364 w 1256"/>
                    <a:gd name="T71" fmla="*/ 31 h 1064"/>
                    <a:gd name="T72" fmla="*/ 281 w 1256"/>
                    <a:gd name="T73" fmla="*/ 44 h 1064"/>
                    <a:gd name="T74" fmla="*/ 330 w 1256"/>
                    <a:gd name="T75" fmla="*/ 47 h 1064"/>
                    <a:gd name="T76" fmla="*/ 361 w 1256"/>
                    <a:gd name="T77" fmla="*/ 41 h 1064"/>
                    <a:gd name="T78" fmla="*/ 361 w 1256"/>
                    <a:gd name="T79" fmla="*/ 61 h 1064"/>
                    <a:gd name="T80" fmla="*/ 397 w 1256"/>
                    <a:gd name="T81" fmla="*/ 41 h 1064"/>
                    <a:gd name="T82" fmla="*/ 408 w 1256"/>
                    <a:gd name="T83" fmla="*/ 67 h 1064"/>
                    <a:gd name="T84" fmla="*/ 381 w 1256"/>
                    <a:gd name="T85" fmla="*/ 67 h 1064"/>
                    <a:gd name="T86" fmla="*/ 378 w 1256"/>
                    <a:gd name="T87" fmla="*/ 84 h 1064"/>
                    <a:gd name="T88" fmla="*/ 381 w 1256"/>
                    <a:gd name="T89" fmla="*/ 92 h 1064"/>
                    <a:gd name="T90" fmla="*/ 375 w 1256"/>
                    <a:gd name="T91" fmla="*/ 111 h 1064"/>
                    <a:gd name="T92" fmla="*/ 387 w 1256"/>
                    <a:gd name="T93" fmla="*/ 128 h 1064"/>
                    <a:gd name="T94" fmla="*/ 375 w 1256"/>
                    <a:gd name="T95" fmla="*/ 139 h 1064"/>
                    <a:gd name="T96" fmla="*/ 375 w 1256"/>
                    <a:gd name="T97" fmla="*/ 150 h 1064"/>
                    <a:gd name="T98" fmla="*/ 381 w 1256"/>
                    <a:gd name="T99" fmla="*/ 167 h 1064"/>
                    <a:gd name="T100" fmla="*/ 356 w 1256"/>
                    <a:gd name="T101" fmla="*/ 175 h 1064"/>
                    <a:gd name="T102" fmla="*/ 328 w 1256"/>
                    <a:gd name="T103" fmla="*/ 178 h 1064"/>
                    <a:gd name="T104" fmla="*/ 344 w 1256"/>
                    <a:gd name="T105" fmla="*/ 192 h 1064"/>
                    <a:gd name="T106" fmla="*/ 364 w 1256"/>
                    <a:gd name="T107" fmla="*/ 214 h 1064"/>
                    <a:gd name="T108" fmla="*/ 322 w 1256"/>
                    <a:gd name="T109" fmla="*/ 200 h 1064"/>
                    <a:gd name="T110" fmla="*/ 322 w 1256"/>
                    <a:gd name="T111" fmla="*/ 219 h 1064"/>
                    <a:gd name="T112" fmla="*/ 339 w 1256"/>
                    <a:gd name="T113" fmla="*/ 219 h 1064"/>
                    <a:gd name="T114" fmla="*/ 342 w 1256"/>
                    <a:gd name="T115" fmla="*/ 236 h 1064"/>
                    <a:gd name="T116" fmla="*/ 300 w 1256"/>
                    <a:gd name="T117" fmla="*/ 247 h 1064"/>
                    <a:gd name="T118" fmla="*/ 267 w 1256"/>
                    <a:gd name="T119" fmla="*/ 267 h 1064"/>
                    <a:gd name="T120" fmla="*/ 233 w 1256"/>
                    <a:gd name="T121" fmla="*/ 284 h 1064"/>
                    <a:gd name="T122" fmla="*/ 226 w 1256"/>
                    <a:gd name="T123" fmla="*/ 311 h 1064"/>
                    <a:gd name="T124" fmla="*/ 217 w 1256"/>
                    <a:gd name="T125" fmla="*/ 350 h 106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256"/>
                    <a:gd name="T190" fmla="*/ 0 h 1064"/>
                    <a:gd name="T191" fmla="*/ 1256 w 1256"/>
                    <a:gd name="T192" fmla="*/ 1064 h 106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256" h="1064">
                      <a:moveTo>
                        <a:pt x="608" y="1064"/>
                      </a:moveTo>
                      <a:lnTo>
                        <a:pt x="600" y="1056"/>
                      </a:lnTo>
                      <a:lnTo>
                        <a:pt x="584" y="1064"/>
                      </a:lnTo>
                      <a:lnTo>
                        <a:pt x="584" y="1056"/>
                      </a:lnTo>
                      <a:lnTo>
                        <a:pt x="584" y="1040"/>
                      </a:lnTo>
                      <a:lnTo>
                        <a:pt x="560" y="1032"/>
                      </a:lnTo>
                      <a:lnTo>
                        <a:pt x="552" y="1016"/>
                      </a:lnTo>
                      <a:lnTo>
                        <a:pt x="528" y="1024"/>
                      </a:lnTo>
                      <a:lnTo>
                        <a:pt x="520" y="1032"/>
                      </a:lnTo>
                      <a:lnTo>
                        <a:pt x="512" y="1032"/>
                      </a:lnTo>
                      <a:lnTo>
                        <a:pt x="512" y="1016"/>
                      </a:lnTo>
                      <a:lnTo>
                        <a:pt x="504" y="1008"/>
                      </a:lnTo>
                      <a:lnTo>
                        <a:pt x="496" y="1000"/>
                      </a:lnTo>
                      <a:lnTo>
                        <a:pt x="488" y="992"/>
                      </a:lnTo>
                      <a:lnTo>
                        <a:pt x="480" y="976"/>
                      </a:lnTo>
                      <a:lnTo>
                        <a:pt x="480" y="968"/>
                      </a:lnTo>
                      <a:lnTo>
                        <a:pt x="464" y="960"/>
                      </a:lnTo>
                      <a:lnTo>
                        <a:pt x="464" y="952"/>
                      </a:lnTo>
                      <a:lnTo>
                        <a:pt x="472" y="944"/>
                      </a:lnTo>
                      <a:lnTo>
                        <a:pt x="464" y="936"/>
                      </a:lnTo>
                      <a:lnTo>
                        <a:pt x="464" y="928"/>
                      </a:lnTo>
                      <a:lnTo>
                        <a:pt x="456" y="920"/>
                      </a:lnTo>
                      <a:lnTo>
                        <a:pt x="456" y="912"/>
                      </a:lnTo>
                      <a:lnTo>
                        <a:pt x="448" y="904"/>
                      </a:lnTo>
                      <a:lnTo>
                        <a:pt x="448" y="888"/>
                      </a:lnTo>
                      <a:lnTo>
                        <a:pt x="464" y="888"/>
                      </a:lnTo>
                      <a:lnTo>
                        <a:pt x="464" y="872"/>
                      </a:lnTo>
                      <a:lnTo>
                        <a:pt x="464" y="864"/>
                      </a:lnTo>
                      <a:lnTo>
                        <a:pt x="472" y="872"/>
                      </a:lnTo>
                      <a:lnTo>
                        <a:pt x="480" y="856"/>
                      </a:lnTo>
                      <a:lnTo>
                        <a:pt x="456" y="848"/>
                      </a:lnTo>
                      <a:lnTo>
                        <a:pt x="448" y="856"/>
                      </a:lnTo>
                      <a:lnTo>
                        <a:pt x="440" y="872"/>
                      </a:lnTo>
                      <a:lnTo>
                        <a:pt x="432" y="872"/>
                      </a:lnTo>
                      <a:lnTo>
                        <a:pt x="432" y="856"/>
                      </a:lnTo>
                      <a:lnTo>
                        <a:pt x="432" y="832"/>
                      </a:lnTo>
                      <a:lnTo>
                        <a:pt x="432" y="824"/>
                      </a:lnTo>
                      <a:lnTo>
                        <a:pt x="416" y="808"/>
                      </a:lnTo>
                      <a:lnTo>
                        <a:pt x="424" y="808"/>
                      </a:lnTo>
                      <a:lnTo>
                        <a:pt x="424" y="792"/>
                      </a:lnTo>
                      <a:lnTo>
                        <a:pt x="408" y="792"/>
                      </a:lnTo>
                      <a:lnTo>
                        <a:pt x="400" y="776"/>
                      </a:lnTo>
                      <a:lnTo>
                        <a:pt x="408" y="768"/>
                      </a:lnTo>
                      <a:lnTo>
                        <a:pt x="416" y="768"/>
                      </a:lnTo>
                      <a:lnTo>
                        <a:pt x="424" y="752"/>
                      </a:lnTo>
                      <a:lnTo>
                        <a:pt x="408" y="752"/>
                      </a:lnTo>
                      <a:lnTo>
                        <a:pt x="400" y="752"/>
                      </a:lnTo>
                      <a:lnTo>
                        <a:pt x="400" y="736"/>
                      </a:lnTo>
                      <a:lnTo>
                        <a:pt x="432" y="728"/>
                      </a:lnTo>
                      <a:lnTo>
                        <a:pt x="440" y="728"/>
                      </a:lnTo>
                      <a:lnTo>
                        <a:pt x="456" y="736"/>
                      </a:lnTo>
                      <a:lnTo>
                        <a:pt x="464" y="728"/>
                      </a:lnTo>
                      <a:lnTo>
                        <a:pt x="456" y="720"/>
                      </a:lnTo>
                      <a:lnTo>
                        <a:pt x="432" y="720"/>
                      </a:lnTo>
                      <a:lnTo>
                        <a:pt x="424" y="720"/>
                      </a:lnTo>
                      <a:lnTo>
                        <a:pt x="408" y="728"/>
                      </a:lnTo>
                      <a:lnTo>
                        <a:pt x="400" y="728"/>
                      </a:lnTo>
                      <a:lnTo>
                        <a:pt x="400" y="720"/>
                      </a:lnTo>
                      <a:lnTo>
                        <a:pt x="416" y="712"/>
                      </a:lnTo>
                      <a:lnTo>
                        <a:pt x="440" y="712"/>
                      </a:lnTo>
                      <a:lnTo>
                        <a:pt x="464" y="720"/>
                      </a:lnTo>
                      <a:lnTo>
                        <a:pt x="464" y="712"/>
                      </a:lnTo>
                      <a:lnTo>
                        <a:pt x="456" y="712"/>
                      </a:lnTo>
                      <a:lnTo>
                        <a:pt x="448" y="704"/>
                      </a:lnTo>
                      <a:lnTo>
                        <a:pt x="432" y="712"/>
                      </a:lnTo>
                      <a:lnTo>
                        <a:pt x="424" y="704"/>
                      </a:lnTo>
                      <a:lnTo>
                        <a:pt x="440" y="696"/>
                      </a:lnTo>
                      <a:lnTo>
                        <a:pt x="456" y="696"/>
                      </a:lnTo>
                      <a:lnTo>
                        <a:pt x="456" y="688"/>
                      </a:lnTo>
                      <a:lnTo>
                        <a:pt x="448" y="688"/>
                      </a:lnTo>
                      <a:lnTo>
                        <a:pt x="456" y="672"/>
                      </a:lnTo>
                      <a:lnTo>
                        <a:pt x="472" y="664"/>
                      </a:lnTo>
                      <a:lnTo>
                        <a:pt x="464" y="656"/>
                      </a:lnTo>
                      <a:lnTo>
                        <a:pt x="472" y="656"/>
                      </a:lnTo>
                      <a:lnTo>
                        <a:pt x="464" y="648"/>
                      </a:lnTo>
                      <a:lnTo>
                        <a:pt x="448" y="648"/>
                      </a:lnTo>
                      <a:lnTo>
                        <a:pt x="424" y="648"/>
                      </a:lnTo>
                      <a:lnTo>
                        <a:pt x="408" y="632"/>
                      </a:lnTo>
                      <a:lnTo>
                        <a:pt x="392" y="632"/>
                      </a:lnTo>
                      <a:lnTo>
                        <a:pt x="384" y="624"/>
                      </a:lnTo>
                      <a:lnTo>
                        <a:pt x="384" y="616"/>
                      </a:lnTo>
                      <a:lnTo>
                        <a:pt x="408" y="624"/>
                      </a:lnTo>
                      <a:lnTo>
                        <a:pt x="424" y="624"/>
                      </a:lnTo>
                      <a:lnTo>
                        <a:pt x="432" y="624"/>
                      </a:lnTo>
                      <a:lnTo>
                        <a:pt x="456" y="640"/>
                      </a:lnTo>
                      <a:lnTo>
                        <a:pt x="464" y="632"/>
                      </a:lnTo>
                      <a:lnTo>
                        <a:pt x="448" y="624"/>
                      </a:lnTo>
                      <a:lnTo>
                        <a:pt x="440" y="616"/>
                      </a:lnTo>
                      <a:lnTo>
                        <a:pt x="448" y="608"/>
                      </a:lnTo>
                      <a:lnTo>
                        <a:pt x="440" y="600"/>
                      </a:lnTo>
                      <a:lnTo>
                        <a:pt x="424" y="592"/>
                      </a:lnTo>
                      <a:lnTo>
                        <a:pt x="432" y="592"/>
                      </a:lnTo>
                      <a:lnTo>
                        <a:pt x="408" y="576"/>
                      </a:lnTo>
                      <a:lnTo>
                        <a:pt x="408" y="568"/>
                      </a:lnTo>
                      <a:lnTo>
                        <a:pt x="400" y="568"/>
                      </a:lnTo>
                      <a:lnTo>
                        <a:pt x="400" y="584"/>
                      </a:lnTo>
                      <a:lnTo>
                        <a:pt x="392" y="584"/>
                      </a:lnTo>
                      <a:lnTo>
                        <a:pt x="392" y="592"/>
                      </a:lnTo>
                      <a:lnTo>
                        <a:pt x="368" y="592"/>
                      </a:lnTo>
                      <a:lnTo>
                        <a:pt x="360" y="584"/>
                      </a:lnTo>
                      <a:lnTo>
                        <a:pt x="376" y="576"/>
                      </a:lnTo>
                      <a:lnTo>
                        <a:pt x="368" y="568"/>
                      </a:lnTo>
                      <a:lnTo>
                        <a:pt x="368" y="560"/>
                      </a:lnTo>
                      <a:lnTo>
                        <a:pt x="368" y="552"/>
                      </a:lnTo>
                      <a:lnTo>
                        <a:pt x="384" y="552"/>
                      </a:lnTo>
                      <a:lnTo>
                        <a:pt x="376" y="536"/>
                      </a:lnTo>
                      <a:lnTo>
                        <a:pt x="360" y="528"/>
                      </a:lnTo>
                      <a:lnTo>
                        <a:pt x="368" y="520"/>
                      </a:lnTo>
                      <a:lnTo>
                        <a:pt x="352" y="504"/>
                      </a:lnTo>
                      <a:lnTo>
                        <a:pt x="352" y="496"/>
                      </a:lnTo>
                      <a:lnTo>
                        <a:pt x="344" y="488"/>
                      </a:lnTo>
                      <a:lnTo>
                        <a:pt x="344" y="472"/>
                      </a:lnTo>
                      <a:lnTo>
                        <a:pt x="352" y="464"/>
                      </a:lnTo>
                      <a:lnTo>
                        <a:pt x="336" y="464"/>
                      </a:lnTo>
                      <a:lnTo>
                        <a:pt x="328" y="456"/>
                      </a:lnTo>
                      <a:lnTo>
                        <a:pt x="304" y="432"/>
                      </a:lnTo>
                      <a:lnTo>
                        <a:pt x="296" y="424"/>
                      </a:lnTo>
                      <a:lnTo>
                        <a:pt x="296" y="416"/>
                      </a:lnTo>
                      <a:lnTo>
                        <a:pt x="280" y="408"/>
                      </a:lnTo>
                      <a:lnTo>
                        <a:pt x="272" y="408"/>
                      </a:lnTo>
                      <a:lnTo>
                        <a:pt x="264" y="400"/>
                      </a:lnTo>
                      <a:lnTo>
                        <a:pt x="256" y="408"/>
                      </a:lnTo>
                      <a:lnTo>
                        <a:pt x="240" y="400"/>
                      </a:lnTo>
                      <a:lnTo>
                        <a:pt x="248" y="400"/>
                      </a:lnTo>
                      <a:lnTo>
                        <a:pt x="224" y="392"/>
                      </a:lnTo>
                      <a:lnTo>
                        <a:pt x="216" y="400"/>
                      </a:lnTo>
                      <a:lnTo>
                        <a:pt x="208" y="392"/>
                      </a:lnTo>
                      <a:lnTo>
                        <a:pt x="200" y="392"/>
                      </a:lnTo>
                      <a:lnTo>
                        <a:pt x="200" y="400"/>
                      </a:lnTo>
                      <a:lnTo>
                        <a:pt x="184" y="400"/>
                      </a:lnTo>
                      <a:lnTo>
                        <a:pt x="184" y="392"/>
                      </a:lnTo>
                      <a:lnTo>
                        <a:pt x="176" y="392"/>
                      </a:lnTo>
                      <a:lnTo>
                        <a:pt x="176" y="400"/>
                      </a:lnTo>
                      <a:lnTo>
                        <a:pt x="160" y="400"/>
                      </a:lnTo>
                      <a:lnTo>
                        <a:pt x="152" y="400"/>
                      </a:lnTo>
                      <a:lnTo>
                        <a:pt x="152" y="392"/>
                      </a:lnTo>
                      <a:lnTo>
                        <a:pt x="144" y="392"/>
                      </a:lnTo>
                      <a:lnTo>
                        <a:pt x="136" y="400"/>
                      </a:lnTo>
                      <a:lnTo>
                        <a:pt x="128" y="392"/>
                      </a:lnTo>
                      <a:lnTo>
                        <a:pt x="120" y="392"/>
                      </a:lnTo>
                      <a:lnTo>
                        <a:pt x="120" y="400"/>
                      </a:lnTo>
                      <a:lnTo>
                        <a:pt x="136" y="400"/>
                      </a:lnTo>
                      <a:lnTo>
                        <a:pt x="136" y="408"/>
                      </a:lnTo>
                      <a:lnTo>
                        <a:pt x="120" y="408"/>
                      </a:lnTo>
                      <a:lnTo>
                        <a:pt x="112" y="400"/>
                      </a:lnTo>
                      <a:lnTo>
                        <a:pt x="88" y="400"/>
                      </a:lnTo>
                      <a:lnTo>
                        <a:pt x="72" y="392"/>
                      </a:lnTo>
                      <a:lnTo>
                        <a:pt x="88" y="384"/>
                      </a:lnTo>
                      <a:lnTo>
                        <a:pt x="104" y="384"/>
                      </a:lnTo>
                      <a:lnTo>
                        <a:pt x="104" y="376"/>
                      </a:lnTo>
                      <a:lnTo>
                        <a:pt x="72" y="376"/>
                      </a:lnTo>
                      <a:lnTo>
                        <a:pt x="72" y="368"/>
                      </a:lnTo>
                      <a:lnTo>
                        <a:pt x="64" y="368"/>
                      </a:lnTo>
                      <a:lnTo>
                        <a:pt x="56" y="368"/>
                      </a:lnTo>
                      <a:lnTo>
                        <a:pt x="48" y="376"/>
                      </a:lnTo>
                      <a:lnTo>
                        <a:pt x="32" y="360"/>
                      </a:lnTo>
                      <a:lnTo>
                        <a:pt x="56" y="360"/>
                      </a:lnTo>
                      <a:lnTo>
                        <a:pt x="72" y="360"/>
                      </a:lnTo>
                      <a:lnTo>
                        <a:pt x="88" y="360"/>
                      </a:lnTo>
                      <a:lnTo>
                        <a:pt x="104" y="360"/>
                      </a:lnTo>
                      <a:lnTo>
                        <a:pt x="112" y="360"/>
                      </a:lnTo>
                      <a:lnTo>
                        <a:pt x="128" y="368"/>
                      </a:lnTo>
                      <a:lnTo>
                        <a:pt x="136" y="360"/>
                      </a:lnTo>
                      <a:lnTo>
                        <a:pt x="112" y="352"/>
                      </a:lnTo>
                      <a:lnTo>
                        <a:pt x="88" y="360"/>
                      </a:lnTo>
                      <a:lnTo>
                        <a:pt x="88" y="352"/>
                      </a:lnTo>
                      <a:lnTo>
                        <a:pt x="112" y="352"/>
                      </a:lnTo>
                      <a:lnTo>
                        <a:pt x="120" y="352"/>
                      </a:lnTo>
                      <a:lnTo>
                        <a:pt x="136" y="352"/>
                      </a:lnTo>
                      <a:lnTo>
                        <a:pt x="144" y="344"/>
                      </a:lnTo>
                      <a:lnTo>
                        <a:pt x="136" y="336"/>
                      </a:lnTo>
                      <a:lnTo>
                        <a:pt x="120" y="336"/>
                      </a:lnTo>
                      <a:lnTo>
                        <a:pt x="112" y="344"/>
                      </a:lnTo>
                      <a:lnTo>
                        <a:pt x="104" y="344"/>
                      </a:lnTo>
                      <a:lnTo>
                        <a:pt x="96" y="344"/>
                      </a:lnTo>
                      <a:lnTo>
                        <a:pt x="80" y="344"/>
                      </a:lnTo>
                      <a:lnTo>
                        <a:pt x="64" y="344"/>
                      </a:lnTo>
                      <a:lnTo>
                        <a:pt x="64" y="336"/>
                      </a:lnTo>
                      <a:lnTo>
                        <a:pt x="56" y="336"/>
                      </a:lnTo>
                      <a:lnTo>
                        <a:pt x="48" y="336"/>
                      </a:lnTo>
                      <a:lnTo>
                        <a:pt x="32" y="336"/>
                      </a:lnTo>
                      <a:lnTo>
                        <a:pt x="32" y="328"/>
                      </a:lnTo>
                      <a:lnTo>
                        <a:pt x="16" y="328"/>
                      </a:lnTo>
                      <a:lnTo>
                        <a:pt x="0" y="320"/>
                      </a:lnTo>
                      <a:lnTo>
                        <a:pt x="8" y="312"/>
                      </a:lnTo>
                      <a:lnTo>
                        <a:pt x="0" y="312"/>
                      </a:lnTo>
                      <a:lnTo>
                        <a:pt x="8" y="304"/>
                      </a:lnTo>
                      <a:lnTo>
                        <a:pt x="16" y="304"/>
                      </a:lnTo>
                      <a:lnTo>
                        <a:pt x="24" y="296"/>
                      </a:lnTo>
                      <a:lnTo>
                        <a:pt x="40" y="296"/>
                      </a:lnTo>
                      <a:lnTo>
                        <a:pt x="48" y="296"/>
                      </a:lnTo>
                      <a:lnTo>
                        <a:pt x="64" y="288"/>
                      </a:lnTo>
                      <a:lnTo>
                        <a:pt x="80" y="288"/>
                      </a:lnTo>
                      <a:lnTo>
                        <a:pt x="88" y="288"/>
                      </a:lnTo>
                      <a:lnTo>
                        <a:pt x="80" y="280"/>
                      </a:lnTo>
                      <a:lnTo>
                        <a:pt x="96" y="280"/>
                      </a:lnTo>
                      <a:lnTo>
                        <a:pt x="104" y="272"/>
                      </a:lnTo>
                      <a:lnTo>
                        <a:pt x="136" y="272"/>
                      </a:lnTo>
                      <a:lnTo>
                        <a:pt x="144" y="280"/>
                      </a:lnTo>
                      <a:lnTo>
                        <a:pt x="176" y="256"/>
                      </a:lnTo>
                      <a:lnTo>
                        <a:pt x="160" y="240"/>
                      </a:lnTo>
                      <a:lnTo>
                        <a:pt x="184" y="240"/>
                      </a:lnTo>
                      <a:lnTo>
                        <a:pt x="176" y="232"/>
                      </a:lnTo>
                      <a:lnTo>
                        <a:pt x="184" y="224"/>
                      </a:lnTo>
                      <a:lnTo>
                        <a:pt x="176" y="224"/>
                      </a:lnTo>
                      <a:lnTo>
                        <a:pt x="168" y="224"/>
                      </a:lnTo>
                      <a:lnTo>
                        <a:pt x="160" y="224"/>
                      </a:lnTo>
                      <a:lnTo>
                        <a:pt x="152" y="232"/>
                      </a:lnTo>
                      <a:lnTo>
                        <a:pt x="120" y="232"/>
                      </a:lnTo>
                      <a:lnTo>
                        <a:pt x="120" y="224"/>
                      </a:lnTo>
                      <a:lnTo>
                        <a:pt x="112" y="216"/>
                      </a:lnTo>
                      <a:lnTo>
                        <a:pt x="112" y="208"/>
                      </a:lnTo>
                      <a:lnTo>
                        <a:pt x="136" y="208"/>
                      </a:lnTo>
                      <a:lnTo>
                        <a:pt x="144" y="200"/>
                      </a:lnTo>
                      <a:lnTo>
                        <a:pt x="152" y="200"/>
                      </a:lnTo>
                      <a:lnTo>
                        <a:pt x="152" y="192"/>
                      </a:lnTo>
                      <a:lnTo>
                        <a:pt x="184" y="168"/>
                      </a:lnTo>
                      <a:lnTo>
                        <a:pt x="192" y="168"/>
                      </a:lnTo>
                      <a:lnTo>
                        <a:pt x="200" y="184"/>
                      </a:lnTo>
                      <a:lnTo>
                        <a:pt x="200" y="168"/>
                      </a:lnTo>
                      <a:lnTo>
                        <a:pt x="216" y="168"/>
                      </a:lnTo>
                      <a:lnTo>
                        <a:pt x="224" y="168"/>
                      </a:lnTo>
                      <a:lnTo>
                        <a:pt x="240" y="168"/>
                      </a:lnTo>
                      <a:lnTo>
                        <a:pt x="240" y="160"/>
                      </a:lnTo>
                      <a:lnTo>
                        <a:pt x="240" y="152"/>
                      </a:lnTo>
                      <a:lnTo>
                        <a:pt x="248" y="144"/>
                      </a:lnTo>
                      <a:lnTo>
                        <a:pt x="232" y="144"/>
                      </a:lnTo>
                      <a:lnTo>
                        <a:pt x="232" y="136"/>
                      </a:lnTo>
                      <a:lnTo>
                        <a:pt x="232" y="128"/>
                      </a:lnTo>
                      <a:lnTo>
                        <a:pt x="248" y="128"/>
                      </a:lnTo>
                      <a:lnTo>
                        <a:pt x="272" y="128"/>
                      </a:lnTo>
                      <a:lnTo>
                        <a:pt x="280" y="128"/>
                      </a:lnTo>
                      <a:lnTo>
                        <a:pt x="280" y="136"/>
                      </a:lnTo>
                      <a:lnTo>
                        <a:pt x="312" y="152"/>
                      </a:lnTo>
                      <a:lnTo>
                        <a:pt x="312" y="144"/>
                      </a:lnTo>
                      <a:lnTo>
                        <a:pt x="296" y="128"/>
                      </a:lnTo>
                      <a:lnTo>
                        <a:pt x="288" y="120"/>
                      </a:lnTo>
                      <a:lnTo>
                        <a:pt x="272" y="112"/>
                      </a:lnTo>
                      <a:lnTo>
                        <a:pt x="312" y="104"/>
                      </a:lnTo>
                      <a:lnTo>
                        <a:pt x="328" y="104"/>
                      </a:lnTo>
                      <a:lnTo>
                        <a:pt x="344" y="104"/>
                      </a:lnTo>
                      <a:lnTo>
                        <a:pt x="360" y="104"/>
                      </a:lnTo>
                      <a:lnTo>
                        <a:pt x="352" y="96"/>
                      </a:lnTo>
                      <a:lnTo>
                        <a:pt x="376" y="96"/>
                      </a:lnTo>
                      <a:lnTo>
                        <a:pt x="384" y="96"/>
                      </a:lnTo>
                      <a:lnTo>
                        <a:pt x="392" y="112"/>
                      </a:lnTo>
                      <a:lnTo>
                        <a:pt x="384" y="144"/>
                      </a:lnTo>
                      <a:lnTo>
                        <a:pt x="392" y="144"/>
                      </a:lnTo>
                      <a:lnTo>
                        <a:pt x="400" y="144"/>
                      </a:lnTo>
                      <a:lnTo>
                        <a:pt x="408" y="120"/>
                      </a:lnTo>
                      <a:lnTo>
                        <a:pt x="400" y="120"/>
                      </a:lnTo>
                      <a:lnTo>
                        <a:pt x="408" y="120"/>
                      </a:lnTo>
                      <a:lnTo>
                        <a:pt x="424" y="120"/>
                      </a:lnTo>
                      <a:lnTo>
                        <a:pt x="472" y="144"/>
                      </a:lnTo>
                      <a:lnTo>
                        <a:pt x="480" y="136"/>
                      </a:lnTo>
                      <a:lnTo>
                        <a:pt x="448" y="120"/>
                      </a:lnTo>
                      <a:lnTo>
                        <a:pt x="472" y="120"/>
                      </a:lnTo>
                      <a:lnTo>
                        <a:pt x="464" y="120"/>
                      </a:lnTo>
                      <a:lnTo>
                        <a:pt x="448" y="104"/>
                      </a:lnTo>
                      <a:lnTo>
                        <a:pt x="448" y="88"/>
                      </a:lnTo>
                      <a:lnTo>
                        <a:pt x="440" y="88"/>
                      </a:lnTo>
                      <a:lnTo>
                        <a:pt x="448" y="80"/>
                      </a:lnTo>
                      <a:lnTo>
                        <a:pt x="472" y="80"/>
                      </a:lnTo>
                      <a:lnTo>
                        <a:pt x="488" y="88"/>
                      </a:lnTo>
                      <a:lnTo>
                        <a:pt x="488" y="96"/>
                      </a:lnTo>
                      <a:lnTo>
                        <a:pt x="504" y="96"/>
                      </a:lnTo>
                      <a:lnTo>
                        <a:pt x="512" y="104"/>
                      </a:lnTo>
                      <a:lnTo>
                        <a:pt x="528" y="104"/>
                      </a:lnTo>
                      <a:lnTo>
                        <a:pt x="536" y="112"/>
                      </a:lnTo>
                      <a:lnTo>
                        <a:pt x="568" y="128"/>
                      </a:lnTo>
                      <a:lnTo>
                        <a:pt x="584" y="128"/>
                      </a:lnTo>
                      <a:lnTo>
                        <a:pt x="568" y="120"/>
                      </a:lnTo>
                      <a:lnTo>
                        <a:pt x="568" y="104"/>
                      </a:lnTo>
                      <a:lnTo>
                        <a:pt x="576" y="96"/>
                      </a:lnTo>
                      <a:lnTo>
                        <a:pt x="592" y="104"/>
                      </a:lnTo>
                      <a:lnTo>
                        <a:pt x="608" y="104"/>
                      </a:lnTo>
                      <a:lnTo>
                        <a:pt x="616" y="96"/>
                      </a:lnTo>
                      <a:lnTo>
                        <a:pt x="584" y="96"/>
                      </a:lnTo>
                      <a:lnTo>
                        <a:pt x="592" y="88"/>
                      </a:lnTo>
                      <a:lnTo>
                        <a:pt x="560" y="72"/>
                      </a:lnTo>
                      <a:lnTo>
                        <a:pt x="544" y="64"/>
                      </a:lnTo>
                      <a:lnTo>
                        <a:pt x="560" y="64"/>
                      </a:lnTo>
                      <a:lnTo>
                        <a:pt x="584" y="64"/>
                      </a:lnTo>
                      <a:lnTo>
                        <a:pt x="616" y="64"/>
                      </a:lnTo>
                      <a:lnTo>
                        <a:pt x="624" y="64"/>
                      </a:lnTo>
                      <a:lnTo>
                        <a:pt x="624" y="80"/>
                      </a:lnTo>
                      <a:lnTo>
                        <a:pt x="632" y="80"/>
                      </a:lnTo>
                      <a:lnTo>
                        <a:pt x="632" y="72"/>
                      </a:lnTo>
                      <a:lnTo>
                        <a:pt x="632" y="64"/>
                      </a:lnTo>
                      <a:lnTo>
                        <a:pt x="648" y="72"/>
                      </a:lnTo>
                      <a:lnTo>
                        <a:pt x="656" y="80"/>
                      </a:lnTo>
                      <a:lnTo>
                        <a:pt x="656" y="88"/>
                      </a:lnTo>
                      <a:lnTo>
                        <a:pt x="664" y="88"/>
                      </a:lnTo>
                      <a:lnTo>
                        <a:pt x="656" y="72"/>
                      </a:lnTo>
                      <a:lnTo>
                        <a:pt x="648" y="64"/>
                      </a:lnTo>
                      <a:lnTo>
                        <a:pt x="608" y="56"/>
                      </a:lnTo>
                      <a:lnTo>
                        <a:pt x="568" y="64"/>
                      </a:lnTo>
                      <a:lnTo>
                        <a:pt x="568" y="56"/>
                      </a:lnTo>
                      <a:lnTo>
                        <a:pt x="584" y="56"/>
                      </a:lnTo>
                      <a:lnTo>
                        <a:pt x="584" y="48"/>
                      </a:lnTo>
                      <a:lnTo>
                        <a:pt x="568" y="48"/>
                      </a:lnTo>
                      <a:lnTo>
                        <a:pt x="552" y="40"/>
                      </a:lnTo>
                      <a:lnTo>
                        <a:pt x="560" y="40"/>
                      </a:lnTo>
                      <a:lnTo>
                        <a:pt x="584" y="40"/>
                      </a:lnTo>
                      <a:lnTo>
                        <a:pt x="592" y="40"/>
                      </a:lnTo>
                      <a:lnTo>
                        <a:pt x="608" y="40"/>
                      </a:lnTo>
                      <a:lnTo>
                        <a:pt x="600" y="40"/>
                      </a:lnTo>
                      <a:lnTo>
                        <a:pt x="584" y="32"/>
                      </a:lnTo>
                      <a:lnTo>
                        <a:pt x="608" y="32"/>
                      </a:lnTo>
                      <a:lnTo>
                        <a:pt x="624" y="32"/>
                      </a:lnTo>
                      <a:lnTo>
                        <a:pt x="632" y="40"/>
                      </a:lnTo>
                      <a:lnTo>
                        <a:pt x="640" y="40"/>
                      </a:lnTo>
                      <a:lnTo>
                        <a:pt x="656" y="48"/>
                      </a:lnTo>
                      <a:lnTo>
                        <a:pt x="672" y="48"/>
                      </a:lnTo>
                      <a:lnTo>
                        <a:pt x="680" y="56"/>
                      </a:lnTo>
                      <a:lnTo>
                        <a:pt x="688" y="64"/>
                      </a:lnTo>
                      <a:lnTo>
                        <a:pt x="696" y="64"/>
                      </a:lnTo>
                      <a:lnTo>
                        <a:pt x="696" y="56"/>
                      </a:lnTo>
                      <a:lnTo>
                        <a:pt x="688" y="48"/>
                      </a:lnTo>
                      <a:lnTo>
                        <a:pt x="696" y="48"/>
                      </a:lnTo>
                      <a:lnTo>
                        <a:pt x="712" y="48"/>
                      </a:lnTo>
                      <a:lnTo>
                        <a:pt x="720" y="40"/>
                      </a:lnTo>
                      <a:lnTo>
                        <a:pt x="696" y="40"/>
                      </a:lnTo>
                      <a:lnTo>
                        <a:pt x="704" y="40"/>
                      </a:lnTo>
                      <a:lnTo>
                        <a:pt x="728" y="40"/>
                      </a:lnTo>
                      <a:lnTo>
                        <a:pt x="728" y="32"/>
                      </a:lnTo>
                      <a:lnTo>
                        <a:pt x="696" y="32"/>
                      </a:lnTo>
                      <a:lnTo>
                        <a:pt x="688" y="32"/>
                      </a:lnTo>
                      <a:lnTo>
                        <a:pt x="696" y="24"/>
                      </a:lnTo>
                      <a:lnTo>
                        <a:pt x="688" y="16"/>
                      </a:lnTo>
                      <a:lnTo>
                        <a:pt x="696" y="16"/>
                      </a:lnTo>
                      <a:lnTo>
                        <a:pt x="704" y="16"/>
                      </a:lnTo>
                      <a:lnTo>
                        <a:pt x="704" y="8"/>
                      </a:lnTo>
                      <a:lnTo>
                        <a:pt x="712" y="8"/>
                      </a:lnTo>
                      <a:lnTo>
                        <a:pt x="728" y="16"/>
                      </a:lnTo>
                      <a:lnTo>
                        <a:pt x="736" y="16"/>
                      </a:lnTo>
                      <a:lnTo>
                        <a:pt x="728" y="8"/>
                      </a:lnTo>
                      <a:lnTo>
                        <a:pt x="736" y="0"/>
                      </a:lnTo>
                      <a:lnTo>
                        <a:pt x="744" y="8"/>
                      </a:lnTo>
                      <a:lnTo>
                        <a:pt x="752" y="0"/>
                      </a:lnTo>
                      <a:lnTo>
                        <a:pt x="760" y="0"/>
                      </a:lnTo>
                      <a:lnTo>
                        <a:pt x="776" y="0"/>
                      </a:lnTo>
                      <a:lnTo>
                        <a:pt x="784" y="0"/>
                      </a:lnTo>
                      <a:lnTo>
                        <a:pt x="808" y="0"/>
                      </a:lnTo>
                      <a:lnTo>
                        <a:pt x="816" y="0"/>
                      </a:lnTo>
                      <a:lnTo>
                        <a:pt x="832" y="0"/>
                      </a:lnTo>
                      <a:lnTo>
                        <a:pt x="840" y="0"/>
                      </a:lnTo>
                      <a:lnTo>
                        <a:pt x="864" y="0"/>
                      </a:lnTo>
                      <a:lnTo>
                        <a:pt x="872" y="0"/>
                      </a:lnTo>
                      <a:lnTo>
                        <a:pt x="880" y="8"/>
                      </a:lnTo>
                      <a:lnTo>
                        <a:pt x="896" y="0"/>
                      </a:lnTo>
                      <a:lnTo>
                        <a:pt x="904" y="8"/>
                      </a:lnTo>
                      <a:lnTo>
                        <a:pt x="888" y="8"/>
                      </a:lnTo>
                      <a:lnTo>
                        <a:pt x="896" y="16"/>
                      </a:lnTo>
                      <a:lnTo>
                        <a:pt x="912" y="16"/>
                      </a:lnTo>
                      <a:lnTo>
                        <a:pt x="912" y="8"/>
                      </a:lnTo>
                      <a:lnTo>
                        <a:pt x="960" y="16"/>
                      </a:lnTo>
                      <a:lnTo>
                        <a:pt x="968" y="24"/>
                      </a:lnTo>
                      <a:lnTo>
                        <a:pt x="944" y="32"/>
                      </a:lnTo>
                      <a:lnTo>
                        <a:pt x="912" y="32"/>
                      </a:lnTo>
                      <a:lnTo>
                        <a:pt x="880" y="32"/>
                      </a:lnTo>
                      <a:lnTo>
                        <a:pt x="848" y="40"/>
                      </a:lnTo>
                      <a:lnTo>
                        <a:pt x="824" y="40"/>
                      </a:lnTo>
                      <a:lnTo>
                        <a:pt x="816" y="40"/>
                      </a:lnTo>
                      <a:lnTo>
                        <a:pt x="800" y="40"/>
                      </a:lnTo>
                      <a:lnTo>
                        <a:pt x="808" y="40"/>
                      </a:lnTo>
                      <a:lnTo>
                        <a:pt x="776" y="48"/>
                      </a:lnTo>
                      <a:lnTo>
                        <a:pt x="752" y="56"/>
                      </a:lnTo>
                      <a:lnTo>
                        <a:pt x="760" y="56"/>
                      </a:lnTo>
                      <a:lnTo>
                        <a:pt x="752" y="64"/>
                      </a:lnTo>
                      <a:lnTo>
                        <a:pt x="760" y="64"/>
                      </a:lnTo>
                      <a:lnTo>
                        <a:pt x="776" y="56"/>
                      </a:lnTo>
                      <a:lnTo>
                        <a:pt x="784" y="56"/>
                      </a:lnTo>
                      <a:lnTo>
                        <a:pt x="784" y="64"/>
                      </a:lnTo>
                      <a:lnTo>
                        <a:pt x="792" y="64"/>
                      </a:lnTo>
                      <a:lnTo>
                        <a:pt x="792" y="56"/>
                      </a:lnTo>
                      <a:lnTo>
                        <a:pt x="832" y="48"/>
                      </a:lnTo>
                      <a:lnTo>
                        <a:pt x="864" y="40"/>
                      </a:lnTo>
                      <a:lnTo>
                        <a:pt x="880" y="40"/>
                      </a:lnTo>
                      <a:lnTo>
                        <a:pt x="904" y="40"/>
                      </a:lnTo>
                      <a:lnTo>
                        <a:pt x="944" y="40"/>
                      </a:lnTo>
                      <a:lnTo>
                        <a:pt x="952" y="40"/>
                      </a:lnTo>
                      <a:lnTo>
                        <a:pt x="976" y="32"/>
                      </a:lnTo>
                      <a:lnTo>
                        <a:pt x="984" y="40"/>
                      </a:lnTo>
                      <a:lnTo>
                        <a:pt x="984" y="56"/>
                      </a:lnTo>
                      <a:lnTo>
                        <a:pt x="976" y="56"/>
                      </a:lnTo>
                      <a:lnTo>
                        <a:pt x="976" y="64"/>
                      </a:lnTo>
                      <a:lnTo>
                        <a:pt x="1000" y="56"/>
                      </a:lnTo>
                      <a:lnTo>
                        <a:pt x="1008" y="56"/>
                      </a:lnTo>
                      <a:lnTo>
                        <a:pt x="1008" y="64"/>
                      </a:lnTo>
                      <a:lnTo>
                        <a:pt x="1024" y="56"/>
                      </a:lnTo>
                      <a:lnTo>
                        <a:pt x="1048" y="64"/>
                      </a:lnTo>
                      <a:lnTo>
                        <a:pt x="1064" y="72"/>
                      </a:lnTo>
                      <a:lnTo>
                        <a:pt x="1056" y="80"/>
                      </a:lnTo>
                      <a:lnTo>
                        <a:pt x="1048" y="80"/>
                      </a:lnTo>
                      <a:lnTo>
                        <a:pt x="1048" y="88"/>
                      </a:lnTo>
                      <a:lnTo>
                        <a:pt x="1024" y="96"/>
                      </a:lnTo>
                      <a:lnTo>
                        <a:pt x="1008" y="96"/>
                      </a:lnTo>
                      <a:lnTo>
                        <a:pt x="992" y="104"/>
                      </a:lnTo>
                      <a:lnTo>
                        <a:pt x="944" y="104"/>
                      </a:lnTo>
                      <a:lnTo>
                        <a:pt x="920" y="104"/>
                      </a:lnTo>
                      <a:lnTo>
                        <a:pt x="880" y="104"/>
                      </a:lnTo>
                      <a:lnTo>
                        <a:pt x="864" y="104"/>
                      </a:lnTo>
                      <a:lnTo>
                        <a:pt x="840" y="104"/>
                      </a:lnTo>
                      <a:lnTo>
                        <a:pt x="856" y="112"/>
                      </a:lnTo>
                      <a:lnTo>
                        <a:pt x="816" y="120"/>
                      </a:lnTo>
                      <a:lnTo>
                        <a:pt x="808" y="128"/>
                      </a:lnTo>
                      <a:lnTo>
                        <a:pt x="816" y="136"/>
                      </a:lnTo>
                      <a:lnTo>
                        <a:pt x="832" y="136"/>
                      </a:lnTo>
                      <a:lnTo>
                        <a:pt x="832" y="128"/>
                      </a:lnTo>
                      <a:lnTo>
                        <a:pt x="872" y="120"/>
                      </a:lnTo>
                      <a:lnTo>
                        <a:pt x="880" y="120"/>
                      </a:lnTo>
                      <a:lnTo>
                        <a:pt x="912" y="112"/>
                      </a:lnTo>
                      <a:lnTo>
                        <a:pt x="920" y="112"/>
                      </a:lnTo>
                      <a:lnTo>
                        <a:pt x="968" y="120"/>
                      </a:lnTo>
                      <a:lnTo>
                        <a:pt x="976" y="120"/>
                      </a:lnTo>
                      <a:lnTo>
                        <a:pt x="976" y="128"/>
                      </a:lnTo>
                      <a:lnTo>
                        <a:pt x="952" y="136"/>
                      </a:lnTo>
                      <a:lnTo>
                        <a:pt x="944" y="136"/>
                      </a:lnTo>
                      <a:lnTo>
                        <a:pt x="928" y="144"/>
                      </a:lnTo>
                      <a:lnTo>
                        <a:pt x="936" y="144"/>
                      </a:lnTo>
                      <a:lnTo>
                        <a:pt x="936" y="152"/>
                      </a:lnTo>
                      <a:lnTo>
                        <a:pt x="952" y="144"/>
                      </a:lnTo>
                      <a:lnTo>
                        <a:pt x="968" y="144"/>
                      </a:lnTo>
                      <a:lnTo>
                        <a:pt x="1000" y="136"/>
                      </a:lnTo>
                      <a:lnTo>
                        <a:pt x="1000" y="120"/>
                      </a:lnTo>
                      <a:lnTo>
                        <a:pt x="1008" y="112"/>
                      </a:lnTo>
                      <a:lnTo>
                        <a:pt x="1040" y="112"/>
                      </a:lnTo>
                      <a:lnTo>
                        <a:pt x="1040" y="120"/>
                      </a:lnTo>
                      <a:lnTo>
                        <a:pt x="1048" y="144"/>
                      </a:lnTo>
                      <a:lnTo>
                        <a:pt x="1032" y="160"/>
                      </a:lnTo>
                      <a:lnTo>
                        <a:pt x="1024" y="160"/>
                      </a:lnTo>
                      <a:lnTo>
                        <a:pt x="1024" y="176"/>
                      </a:lnTo>
                      <a:lnTo>
                        <a:pt x="1008" y="184"/>
                      </a:lnTo>
                      <a:lnTo>
                        <a:pt x="1016" y="184"/>
                      </a:lnTo>
                      <a:lnTo>
                        <a:pt x="1008" y="192"/>
                      </a:lnTo>
                      <a:lnTo>
                        <a:pt x="1008" y="200"/>
                      </a:lnTo>
                      <a:lnTo>
                        <a:pt x="1024" y="192"/>
                      </a:lnTo>
                      <a:lnTo>
                        <a:pt x="1024" y="184"/>
                      </a:lnTo>
                      <a:lnTo>
                        <a:pt x="1040" y="176"/>
                      </a:lnTo>
                      <a:lnTo>
                        <a:pt x="1056" y="160"/>
                      </a:lnTo>
                      <a:lnTo>
                        <a:pt x="1080" y="144"/>
                      </a:lnTo>
                      <a:lnTo>
                        <a:pt x="1088" y="136"/>
                      </a:lnTo>
                      <a:lnTo>
                        <a:pt x="1088" y="144"/>
                      </a:lnTo>
                      <a:lnTo>
                        <a:pt x="1104" y="144"/>
                      </a:lnTo>
                      <a:lnTo>
                        <a:pt x="1112" y="144"/>
                      </a:lnTo>
                      <a:lnTo>
                        <a:pt x="1128" y="144"/>
                      </a:lnTo>
                      <a:lnTo>
                        <a:pt x="1136" y="136"/>
                      </a:lnTo>
                      <a:lnTo>
                        <a:pt x="1144" y="128"/>
                      </a:lnTo>
                      <a:lnTo>
                        <a:pt x="1136" y="120"/>
                      </a:lnTo>
                      <a:lnTo>
                        <a:pt x="1144" y="120"/>
                      </a:lnTo>
                      <a:lnTo>
                        <a:pt x="1152" y="128"/>
                      </a:lnTo>
                      <a:lnTo>
                        <a:pt x="1168" y="120"/>
                      </a:lnTo>
                      <a:lnTo>
                        <a:pt x="1208" y="120"/>
                      </a:lnTo>
                      <a:lnTo>
                        <a:pt x="1256" y="144"/>
                      </a:lnTo>
                      <a:lnTo>
                        <a:pt x="1216" y="168"/>
                      </a:lnTo>
                      <a:lnTo>
                        <a:pt x="1200" y="168"/>
                      </a:lnTo>
                      <a:lnTo>
                        <a:pt x="1192" y="168"/>
                      </a:lnTo>
                      <a:lnTo>
                        <a:pt x="1200" y="176"/>
                      </a:lnTo>
                      <a:lnTo>
                        <a:pt x="1200" y="184"/>
                      </a:lnTo>
                      <a:lnTo>
                        <a:pt x="1184" y="184"/>
                      </a:lnTo>
                      <a:lnTo>
                        <a:pt x="1176" y="192"/>
                      </a:lnTo>
                      <a:lnTo>
                        <a:pt x="1168" y="192"/>
                      </a:lnTo>
                      <a:lnTo>
                        <a:pt x="1152" y="192"/>
                      </a:lnTo>
                      <a:lnTo>
                        <a:pt x="1128" y="184"/>
                      </a:lnTo>
                      <a:lnTo>
                        <a:pt x="1128" y="192"/>
                      </a:lnTo>
                      <a:lnTo>
                        <a:pt x="1120" y="192"/>
                      </a:lnTo>
                      <a:lnTo>
                        <a:pt x="1088" y="192"/>
                      </a:lnTo>
                      <a:lnTo>
                        <a:pt x="1080" y="192"/>
                      </a:lnTo>
                      <a:lnTo>
                        <a:pt x="1072" y="192"/>
                      </a:lnTo>
                      <a:lnTo>
                        <a:pt x="1072" y="200"/>
                      </a:lnTo>
                      <a:lnTo>
                        <a:pt x="1088" y="200"/>
                      </a:lnTo>
                      <a:lnTo>
                        <a:pt x="1096" y="192"/>
                      </a:lnTo>
                      <a:lnTo>
                        <a:pt x="1104" y="192"/>
                      </a:lnTo>
                      <a:lnTo>
                        <a:pt x="1128" y="200"/>
                      </a:lnTo>
                      <a:lnTo>
                        <a:pt x="1136" y="200"/>
                      </a:lnTo>
                      <a:lnTo>
                        <a:pt x="1152" y="192"/>
                      </a:lnTo>
                      <a:lnTo>
                        <a:pt x="1176" y="200"/>
                      </a:lnTo>
                      <a:lnTo>
                        <a:pt x="1152" y="216"/>
                      </a:lnTo>
                      <a:lnTo>
                        <a:pt x="1144" y="216"/>
                      </a:lnTo>
                      <a:lnTo>
                        <a:pt x="1128" y="216"/>
                      </a:lnTo>
                      <a:lnTo>
                        <a:pt x="1096" y="216"/>
                      </a:lnTo>
                      <a:lnTo>
                        <a:pt x="1088" y="224"/>
                      </a:lnTo>
                      <a:lnTo>
                        <a:pt x="1088" y="240"/>
                      </a:lnTo>
                      <a:lnTo>
                        <a:pt x="1096" y="240"/>
                      </a:lnTo>
                      <a:lnTo>
                        <a:pt x="1104" y="232"/>
                      </a:lnTo>
                      <a:lnTo>
                        <a:pt x="1104" y="224"/>
                      </a:lnTo>
                      <a:lnTo>
                        <a:pt x="1096" y="224"/>
                      </a:lnTo>
                      <a:lnTo>
                        <a:pt x="1104" y="216"/>
                      </a:lnTo>
                      <a:lnTo>
                        <a:pt x="1120" y="224"/>
                      </a:lnTo>
                      <a:lnTo>
                        <a:pt x="1136" y="224"/>
                      </a:lnTo>
                      <a:lnTo>
                        <a:pt x="1144" y="224"/>
                      </a:lnTo>
                      <a:lnTo>
                        <a:pt x="1136" y="240"/>
                      </a:lnTo>
                      <a:lnTo>
                        <a:pt x="1104" y="240"/>
                      </a:lnTo>
                      <a:lnTo>
                        <a:pt x="1096" y="264"/>
                      </a:lnTo>
                      <a:lnTo>
                        <a:pt x="1112" y="264"/>
                      </a:lnTo>
                      <a:lnTo>
                        <a:pt x="1104" y="272"/>
                      </a:lnTo>
                      <a:lnTo>
                        <a:pt x="1096" y="280"/>
                      </a:lnTo>
                      <a:lnTo>
                        <a:pt x="1080" y="280"/>
                      </a:lnTo>
                      <a:lnTo>
                        <a:pt x="1064" y="296"/>
                      </a:lnTo>
                      <a:lnTo>
                        <a:pt x="1072" y="296"/>
                      </a:lnTo>
                      <a:lnTo>
                        <a:pt x="1056" y="328"/>
                      </a:lnTo>
                      <a:lnTo>
                        <a:pt x="1056" y="336"/>
                      </a:lnTo>
                      <a:lnTo>
                        <a:pt x="1064" y="336"/>
                      </a:lnTo>
                      <a:lnTo>
                        <a:pt x="1072" y="328"/>
                      </a:lnTo>
                      <a:lnTo>
                        <a:pt x="1080" y="320"/>
                      </a:lnTo>
                      <a:lnTo>
                        <a:pt x="1112" y="336"/>
                      </a:lnTo>
                      <a:lnTo>
                        <a:pt x="1112" y="344"/>
                      </a:lnTo>
                      <a:lnTo>
                        <a:pt x="1096" y="336"/>
                      </a:lnTo>
                      <a:lnTo>
                        <a:pt x="1088" y="336"/>
                      </a:lnTo>
                      <a:lnTo>
                        <a:pt x="1080" y="336"/>
                      </a:lnTo>
                      <a:lnTo>
                        <a:pt x="1088" y="344"/>
                      </a:lnTo>
                      <a:lnTo>
                        <a:pt x="1112" y="352"/>
                      </a:lnTo>
                      <a:lnTo>
                        <a:pt x="1128" y="352"/>
                      </a:lnTo>
                      <a:lnTo>
                        <a:pt x="1136" y="360"/>
                      </a:lnTo>
                      <a:lnTo>
                        <a:pt x="1128" y="368"/>
                      </a:lnTo>
                      <a:lnTo>
                        <a:pt x="1112" y="368"/>
                      </a:lnTo>
                      <a:lnTo>
                        <a:pt x="1080" y="368"/>
                      </a:lnTo>
                      <a:lnTo>
                        <a:pt x="1072" y="368"/>
                      </a:lnTo>
                      <a:lnTo>
                        <a:pt x="1056" y="368"/>
                      </a:lnTo>
                      <a:lnTo>
                        <a:pt x="1048" y="376"/>
                      </a:lnTo>
                      <a:lnTo>
                        <a:pt x="1056" y="384"/>
                      </a:lnTo>
                      <a:lnTo>
                        <a:pt x="1056" y="392"/>
                      </a:lnTo>
                      <a:lnTo>
                        <a:pt x="1064" y="392"/>
                      </a:lnTo>
                      <a:lnTo>
                        <a:pt x="1080" y="392"/>
                      </a:lnTo>
                      <a:lnTo>
                        <a:pt x="1096" y="392"/>
                      </a:lnTo>
                      <a:lnTo>
                        <a:pt x="1096" y="400"/>
                      </a:lnTo>
                      <a:lnTo>
                        <a:pt x="1080" y="400"/>
                      </a:lnTo>
                      <a:lnTo>
                        <a:pt x="1056" y="400"/>
                      </a:lnTo>
                      <a:lnTo>
                        <a:pt x="1064" y="400"/>
                      </a:lnTo>
                      <a:lnTo>
                        <a:pt x="1088" y="408"/>
                      </a:lnTo>
                      <a:lnTo>
                        <a:pt x="1112" y="416"/>
                      </a:lnTo>
                      <a:lnTo>
                        <a:pt x="1112" y="424"/>
                      </a:lnTo>
                      <a:lnTo>
                        <a:pt x="1096" y="432"/>
                      </a:lnTo>
                      <a:lnTo>
                        <a:pt x="1088" y="424"/>
                      </a:lnTo>
                      <a:lnTo>
                        <a:pt x="1072" y="424"/>
                      </a:lnTo>
                      <a:lnTo>
                        <a:pt x="1064" y="416"/>
                      </a:lnTo>
                      <a:lnTo>
                        <a:pt x="1056" y="416"/>
                      </a:lnTo>
                      <a:lnTo>
                        <a:pt x="1080" y="432"/>
                      </a:lnTo>
                      <a:lnTo>
                        <a:pt x="1056" y="432"/>
                      </a:lnTo>
                      <a:lnTo>
                        <a:pt x="1048" y="440"/>
                      </a:lnTo>
                      <a:lnTo>
                        <a:pt x="1056" y="440"/>
                      </a:lnTo>
                      <a:lnTo>
                        <a:pt x="1072" y="440"/>
                      </a:lnTo>
                      <a:lnTo>
                        <a:pt x="1080" y="448"/>
                      </a:lnTo>
                      <a:lnTo>
                        <a:pt x="1072" y="456"/>
                      </a:lnTo>
                      <a:lnTo>
                        <a:pt x="1096" y="464"/>
                      </a:lnTo>
                      <a:lnTo>
                        <a:pt x="1104" y="456"/>
                      </a:lnTo>
                      <a:lnTo>
                        <a:pt x="1112" y="464"/>
                      </a:lnTo>
                      <a:lnTo>
                        <a:pt x="1104" y="472"/>
                      </a:lnTo>
                      <a:lnTo>
                        <a:pt x="1096" y="480"/>
                      </a:lnTo>
                      <a:lnTo>
                        <a:pt x="1080" y="464"/>
                      </a:lnTo>
                      <a:lnTo>
                        <a:pt x="1056" y="464"/>
                      </a:lnTo>
                      <a:lnTo>
                        <a:pt x="1048" y="472"/>
                      </a:lnTo>
                      <a:lnTo>
                        <a:pt x="1056" y="488"/>
                      </a:lnTo>
                      <a:lnTo>
                        <a:pt x="1064" y="504"/>
                      </a:lnTo>
                      <a:lnTo>
                        <a:pt x="1064" y="496"/>
                      </a:lnTo>
                      <a:lnTo>
                        <a:pt x="1088" y="496"/>
                      </a:lnTo>
                      <a:lnTo>
                        <a:pt x="1088" y="504"/>
                      </a:lnTo>
                      <a:lnTo>
                        <a:pt x="1064" y="512"/>
                      </a:lnTo>
                      <a:lnTo>
                        <a:pt x="1040" y="520"/>
                      </a:lnTo>
                      <a:lnTo>
                        <a:pt x="1024" y="504"/>
                      </a:lnTo>
                      <a:lnTo>
                        <a:pt x="1016" y="504"/>
                      </a:lnTo>
                      <a:lnTo>
                        <a:pt x="1040" y="504"/>
                      </a:lnTo>
                      <a:lnTo>
                        <a:pt x="1016" y="496"/>
                      </a:lnTo>
                      <a:lnTo>
                        <a:pt x="1000" y="496"/>
                      </a:lnTo>
                      <a:lnTo>
                        <a:pt x="984" y="488"/>
                      </a:lnTo>
                      <a:lnTo>
                        <a:pt x="976" y="488"/>
                      </a:lnTo>
                      <a:lnTo>
                        <a:pt x="992" y="504"/>
                      </a:lnTo>
                      <a:lnTo>
                        <a:pt x="984" y="512"/>
                      </a:lnTo>
                      <a:lnTo>
                        <a:pt x="976" y="520"/>
                      </a:lnTo>
                      <a:lnTo>
                        <a:pt x="952" y="512"/>
                      </a:lnTo>
                      <a:lnTo>
                        <a:pt x="944" y="512"/>
                      </a:lnTo>
                      <a:lnTo>
                        <a:pt x="960" y="520"/>
                      </a:lnTo>
                      <a:lnTo>
                        <a:pt x="936" y="520"/>
                      </a:lnTo>
                      <a:lnTo>
                        <a:pt x="944" y="528"/>
                      </a:lnTo>
                      <a:lnTo>
                        <a:pt x="960" y="528"/>
                      </a:lnTo>
                      <a:lnTo>
                        <a:pt x="976" y="520"/>
                      </a:lnTo>
                      <a:lnTo>
                        <a:pt x="984" y="528"/>
                      </a:lnTo>
                      <a:lnTo>
                        <a:pt x="984" y="536"/>
                      </a:lnTo>
                      <a:lnTo>
                        <a:pt x="960" y="536"/>
                      </a:lnTo>
                      <a:lnTo>
                        <a:pt x="960" y="544"/>
                      </a:lnTo>
                      <a:lnTo>
                        <a:pt x="984" y="536"/>
                      </a:lnTo>
                      <a:lnTo>
                        <a:pt x="992" y="552"/>
                      </a:lnTo>
                      <a:lnTo>
                        <a:pt x="976" y="552"/>
                      </a:lnTo>
                      <a:lnTo>
                        <a:pt x="984" y="560"/>
                      </a:lnTo>
                      <a:lnTo>
                        <a:pt x="1008" y="552"/>
                      </a:lnTo>
                      <a:lnTo>
                        <a:pt x="1024" y="568"/>
                      </a:lnTo>
                      <a:lnTo>
                        <a:pt x="1040" y="568"/>
                      </a:lnTo>
                      <a:lnTo>
                        <a:pt x="1048" y="584"/>
                      </a:lnTo>
                      <a:lnTo>
                        <a:pt x="1056" y="592"/>
                      </a:lnTo>
                      <a:lnTo>
                        <a:pt x="1064" y="592"/>
                      </a:lnTo>
                      <a:lnTo>
                        <a:pt x="1064" y="624"/>
                      </a:lnTo>
                      <a:lnTo>
                        <a:pt x="1056" y="624"/>
                      </a:lnTo>
                      <a:lnTo>
                        <a:pt x="1048" y="616"/>
                      </a:lnTo>
                      <a:lnTo>
                        <a:pt x="1040" y="624"/>
                      </a:lnTo>
                      <a:lnTo>
                        <a:pt x="1040" y="632"/>
                      </a:lnTo>
                      <a:lnTo>
                        <a:pt x="1016" y="624"/>
                      </a:lnTo>
                      <a:lnTo>
                        <a:pt x="1000" y="600"/>
                      </a:lnTo>
                      <a:lnTo>
                        <a:pt x="1000" y="592"/>
                      </a:lnTo>
                      <a:lnTo>
                        <a:pt x="976" y="584"/>
                      </a:lnTo>
                      <a:lnTo>
                        <a:pt x="952" y="584"/>
                      </a:lnTo>
                      <a:lnTo>
                        <a:pt x="936" y="568"/>
                      </a:lnTo>
                      <a:lnTo>
                        <a:pt x="920" y="568"/>
                      </a:lnTo>
                      <a:lnTo>
                        <a:pt x="912" y="568"/>
                      </a:lnTo>
                      <a:lnTo>
                        <a:pt x="928" y="576"/>
                      </a:lnTo>
                      <a:lnTo>
                        <a:pt x="928" y="584"/>
                      </a:lnTo>
                      <a:lnTo>
                        <a:pt x="944" y="592"/>
                      </a:lnTo>
                      <a:lnTo>
                        <a:pt x="976" y="592"/>
                      </a:lnTo>
                      <a:lnTo>
                        <a:pt x="976" y="600"/>
                      </a:lnTo>
                      <a:lnTo>
                        <a:pt x="952" y="608"/>
                      </a:lnTo>
                      <a:lnTo>
                        <a:pt x="920" y="608"/>
                      </a:lnTo>
                      <a:lnTo>
                        <a:pt x="928" y="616"/>
                      </a:lnTo>
                      <a:lnTo>
                        <a:pt x="920" y="624"/>
                      </a:lnTo>
                      <a:lnTo>
                        <a:pt x="904" y="624"/>
                      </a:lnTo>
                      <a:lnTo>
                        <a:pt x="904" y="632"/>
                      </a:lnTo>
                      <a:lnTo>
                        <a:pt x="928" y="632"/>
                      </a:lnTo>
                      <a:lnTo>
                        <a:pt x="944" y="632"/>
                      </a:lnTo>
                      <a:lnTo>
                        <a:pt x="944" y="624"/>
                      </a:lnTo>
                      <a:lnTo>
                        <a:pt x="960" y="624"/>
                      </a:lnTo>
                      <a:lnTo>
                        <a:pt x="960" y="640"/>
                      </a:lnTo>
                      <a:lnTo>
                        <a:pt x="936" y="640"/>
                      </a:lnTo>
                      <a:lnTo>
                        <a:pt x="920" y="640"/>
                      </a:lnTo>
                      <a:lnTo>
                        <a:pt x="928" y="648"/>
                      </a:lnTo>
                      <a:lnTo>
                        <a:pt x="944" y="648"/>
                      </a:lnTo>
                      <a:lnTo>
                        <a:pt x="960" y="640"/>
                      </a:lnTo>
                      <a:lnTo>
                        <a:pt x="968" y="640"/>
                      </a:lnTo>
                      <a:lnTo>
                        <a:pt x="976" y="632"/>
                      </a:lnTo>
                      <a:lnTo>
                        <a:pt x="992" y="632"/>
                      </a:lnTo>
                      <a:lnTo>
                        <a:pt x="992" y="640"/>
                      </a:lnTo>
                      <a:lnTo>
                        <a:pt x="1032" y="640"/>
                      </a:lnTo>
                      <a:lnTo>
                        <a:pt x="1040" y="640"/>
                      </a:lnTo>
                      <a:lnTo>
                        <a:pt x="1048" y="640"/>
                      </a:lnTo>
                      <a:lnTo>
                        <a:pt x="1048" y="648"/>
                      </a:lnTo>
                      <a:lnTo>
                        <a:pt x="1016" y="656"/>
                      </a:lnTo>
                      <a:lnTo>
                        <a:pt x="1008" y="656"/>
                      </a:lnTo>
                      <a:lnTo>
                        <a:pt x="1000" y="672"/>
                      </a:lnTo>
                      <a:lnTo>
                        <a:pt x="992" y="672"/>
                      </a:lnTo>
                      <a:lnTo>
                        <a:pt x="984" y="680"/>
                      </a:lnTo>
                      <a:lnTo>
                        <a:pt x="976" y="680"/>
                      </a:lnTo>
                      <a:lnTo>
                        <a:pt x="968" y="688"/>
                      </a:lnTo>
                      <a:lnTo>
                        <a:pt x="952" y="688"/>
                      </a:lnTo>
                      <a:lnTo>
                        <a:pt x="936" y="696"/>
                      </a:lnTo>
                      <a:lnTo>
                        <a:pt x="928" y="696"/>
                      </a:lnTo>
                      <a:lnTo>
                        <a:pt x="904" y="704"/>
                      </a:lnTo>
                      <a:lnTo>
                        <a:pt x="896" y="704"/>
                      </a:lnTo>
                      <a:lnTo>
                        <a:pt x="888" y="704"/>
                      </a:lnTo>
                      <a:lnTo>
                        <a:pt x="880" y="704"/>
                      </a:lnTo>
                      <a:lnTo>
                        <a:pt x="872" y="704"/>
                      </a:lnTo>
                      <a:lnTo>
                        <a:pt x="864" y="712"/>
                      </a:lnTo>
                      <a:lnTo>
                        <a:pt x="856" y="712"/>
                      </a:lnTo>
                      <a:lnTo>
                        <a:pt x="840" y="696"/>
                      </a:lnTo>
                      <a:lnTo>
                        <a:pt x="832" y="696"/>
                      </a:lnTo>
                      <a:lnTo>
                        <a:pt x="832" y="704"/>
                      </a:lnTo>
                      <a:lnTo>
                        <a:pt x="848" y="712"/>
                      </a:lnTo>
                      <a:lnTo>
                        <a:pt x="840" y="720"/>
                      </a:lnTo>
                      <a:lnTo>
                        <a:pt x="824" y="720"/>
                      </a:lnTo>
                      <a:lnTo>
                        <a:pt x="816" y="736"/>
                      </a:lnTo>
                      <a:lnTo>
                        <a:pt x="808" y="752"/>
                      </a:lnTo>
                      <a:lnTo>
                        <a:pt x="792" y="776"/>
                      </a:lnTo>
                      <a:lnTo>
                        <a:pt x="768" y="768"/>
                      </a:lnTo>
                      <a:lnTo>
                        <a:pt x="768" y="784"/>
                      </a:lnTo>
                      <a:lnTo>
                        <a:pt x="752" y="792"/>
                      </a:lnTo>
                      <a:lnTo>
                        <a:pt x="744" y="792"/>
                      </a:lnTo>
                      <a:lnTo>
                        <a:pt x="736" y="792"/>
                      </a:lnTo>
                      <a:lnTo>
                        <a:pt x="728" y="784"/>
                      </a:lnTo>
                      <a:lnTo>
                        <a:pt x="728" y="768"/>
                      </a:lnTo>
                      <a:lnTo>
                        <a:pt x="720" y="768"/>
                      </a:lnTo>
                      <a:lnTo>
                        <a:pt x="720" y="776"/>
                      </a:lnTo>
                      <a:lnTo>
                        <a:pt x="712" y="808"/>
                      </a:lnTo>
                      <a:lnTo>
                        <a:pt x="672" y="808"/>
                      </a:lnTo>
                      <a:lnTo>
                        <a:pt x="672" y="816"/>
                      </a:lnTo>
                      <a:lnTo>
                        <a:pt x="680" y="824"/>
                      </a:lnTo>
                      <a:lnTo>
                        <a:pt x="680" y="832"/>
                      </a:lnTo>
                      <a:lnTo>
                        <a:pt x="664" y="832"/>
                      </a:lnTo>
                      <a:lnTo>
                        <a:pt x="656" y="848"/>
                      </a:lnTo>
                      <a:lnTo>
                        <a:pt x="664" y="856"/>
                      </a:lnTo>
                      <a:lnTo>
                        <a:pt x="664" y="864"/>
                      </a:lnTo>
                      <a:lnTo>
                        <a:pt x="648" y="864"/>
                      </a:lnTo>
                      <a:lnTo>
                        <a:pt x="648" y="880"/>
                      </a:lnTo>
                      <a:lnTo>
                        <a:pt x="664" y="880"/>
                      </a:lnTo>
                      <a:lnTo>
                        <a:pt x="664" y="904"/>
                      </a:lnTo>
                      <a:lnTo>
                        <a:pt x="648" y="896"/>
                      </a:lnTo>
                      <a:lnTo>
                        <a:pt x="656" y="912"/>
                      </a:lnTo>
                      <a:lnTo>
                        <a:pt x="656" y="920"/>
                      </a:lnTo>
                      <a:lnTo>
                        <a:pt x="648" y="920"/>
                      </a:lnTo>
                      <a:lnTo>
                        <a:pt x="648" y="936"/>
                      </a:lnTo>
                      <a:lnTo>
                        <a:pt x="632" y="936"/>
                      </a:lnTo>
                      <a:lnTo>
                        <a:pt x="632" y="944"/>
                      </a:lnTo>
                      <a:lnTo>
                        <a:pt x="632" y="952"/>
                      </a:lnTo>
                      <a:lnTo>
                        <a:pt x="632" y="968"/>
                      </a:lnTo>
                      <a:lnTo>
                        <a:pt x="640" y="992"/>
                      </a:lnTo>
                      <a:lnTo>
                        <a:pt x="632" y="1000"/>
                      </a:lnTo>
                      <a:lnTo>
                        <a:pt x="624" y="1008"/>
                      </a:lnTo>
                      <a:lnTo>
                        <a:pt x="624" y="1016"/>
                      </a:lnTo>
                      <a:lnTo>
                        <a:pt x="616" y="1024"/>
                      </a:lnTo>
                      <a:lnTo>
                        <a:pt x="616" y="1032"/>
                      </a:lnTo>
                      <a:lnTo>
                        <a:pt x="608" y="1040"/>
                      </a:lnTo>
                      <a:lnTo>
                        <a:pt x="616" y="1048"/>
                      </a:lnTo>
                      <a:lnTo>
                        <a:pt x="608" y="106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28" name="Freeform 206">
                  <a:extLst>
                    <a:ext uri="{FF2B5EF4-FFF2-40B4-BE49-F238E27FC236}">
                      <a16:creationId xmlns:a16="http://schemas.microsoft.com/office/drawing/2014/main" id="{84D4D228-3620-6BCD-7B4D-04E01D9F794D}"/>
                    </a:ext>
                  </a:extLst>
                </p:cNvPr>
                <p:cNvSpPr/>
                <p:nvPr/>
              </p:nvSpPr>
              <p:spPr bwMode="gray">
                <a:xfrm>
                  <a:off x="1967" y="1513"/>
                  <a:ext cx="40" cy="29"/>
                </a:xfrm>
                <a:custGeom>
                  <a:avLst/>
                  <a:gdLst>
                    <a:gd name="T0" fmla="*/ 3 w 56"/>
                    <a:gd name="T1" fmla="*/ 0 h 40"/>
                    <a:gd name="T2" fmla="*/ 3 w 56"/>
                    <a:gd name="T3" fmla="*/ 3 h 40"/>
                    <a:gd name="T4" fmla="*/ 9 w 56"/>
                    <a:gd name="T5" fmla="*/ 3 h 40"/>
                    <a:gd name="T6" fmla="*/ 15 w 56"/>
                    <a:gd name="T7" fmla="*/ 7 h 40"/>
                    <a:gd name="T8" fmla="*/ 21 w 56"/>
                    <a:gd name="T9" fmla="*/ 9 h 40"/>
                    <a:gd name="T10" fmla="*/ 21 w 56"/>
                    <a:gd name="T11" fmla="*/ 12 h 40"/>
                    <a:gd name="T12" fmla="*/ 15 w 56"/>
                    <a:gd name="T13" fmla="*/ 15 h 40"/>
                    <a:gd name="T14" fmla="*/ 11 w 56"/>
                    <a:gd name="T15" fmla="*/ 15 h 40"/>
                    <a:gd name="T16" fmla="*/ 6 w 56"/>
                    <a:gd name="T17" fmla="*/ 12 h 40"/>
                    <a:gd name="T18" fmla="*/ 0 w 56"/>
                    <a:gd name="T19" fmla="*/ 12 h 40"/>
                    <a:gd name="T20" fmla="*/ 0 w 56"/>
                    <a:gd name="T21" fmla="*/ 9 h 40"/>
                    <a:gd name="T22" fmla="*/ 0 w 56"/>
                    <a:gd name="T23" fmla="*/ 7 h 40"/>
                    <a:gd name="T24" fmla="*/ 3 w 56"/>
                    <a:gd name="T25" fmla="*/ 0 h 4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6"/>
                    <a:gd name="T40" fmla="*/ 0 h 40"/>
                    <a:gd name="T41" fmla="*/ 56 w 56"/>
                    <a:gd name="T42" fmla="*/ 40 h 4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6" h="40">
                      <a:moveTo>
                        <a:pt x="8" y="0"/>
                      </a:moveTo>
                      <a:lnTo>
                        <a:pt x="8" y="8"/>
                      </a:lnTo>
                      <a:lnTo>
                        <a:pt x="24" y="8"/>
                      </a:lnTo>
                      <a:lnTo>
                        <a:pt x="40" y="16"/>
                      </a:lnTo>
                      <a:lnTo>
                        <a:pt x="56" y="24"/>
                      </a:lnTo>
                      <a:lnTo>
                        <a:pt x="56" y="32"/>
                      </a:lnTo>
                      <a:lnTo>
                        <a:pt x="40" y="40"/>
                      </a:lnTo>
                      <a:lnTo>
                        <a:pt x="32" y="40"/>
                      </a:lnTo>
                      <a:lnTo>
                        <a:pt x="16" y="32"/>
                      </a:lnTo>
                      <a:lnTo>
                        <a:pt x="0" y="32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29" name="Freeform 207">
                  <a:extLst>
                    <a:ext uri="{FF2B5EF4-FFF2-40B4-BE49-F238E27FC236}">
                      <a16:creationId xmlns:a16="http://schemas.microsoft.com/office/drawing/2014/main" id="{FD6E07DE-266D-13DF-C24C-30E04ADF5C30}"/>
                    </a:ext>
                  </a:extLst>
                </p:cNvPr>
                <p:cNvSpPr/>
                <p:nvPr/>
              </p:nvSpPr>
              <p:spPr bwMode="gray">
                <a:xfrm>
                  <a:off x="2063" y="1120"/>
                  <a:ext cx="45" cy="28"/>
                </a:xfrm>
                <a:custGeom>
                  <a:avLst/>
                  <a:gdLst>
                    <a:gd name="T0" fmla="*/ 0 w 64"/>
                    <a:gd name="T1" fmla="*/ 0 h 40"/>
                    <a:gd name="T2" fmla="*/ 3 w 64"/>
                    <a:gd name="T3" fmla="*/ 6 h 40"/>
                    <a:gd name="T4" fmla="*/ 11 w 64"/>
                    <a:gd name="T5" fmla="*/ 10 h 40"/>
                    <a:gd name="T6" fmla="*/ 14 w 64"/>
                    <a:gd name="T7" fmla="*/ 10 h 40"/>
                    <a:gd name="T8" fmla="*/ 14 w 64"/>
                    <a:gd name="T9" fmla="*/ 14 h 40"/>
                    <a:gd name="T10" fmla="*/ 17 w 64"/>
                    <a:gd name="T11" fmla="*/ 14 h 40"/>
                    <a:gd name="T12" fmla="*/ 17 w 64"/>
                    <a:gd name="T13" fmla="*/ 8 h 40"/>
                    <a:gd name="T14" fmla="*/ 23 w 64"/>
                    <a:gd name="T15" fmla="*/ 8 h 40"/>
                    <a:gd name="T16" fmla="*/ 8 w 64"/>
                    <a:gd name="T17" fmla="*/ 0 h 40"/>
                    <a:gd name="T18" fmla="*/ 0 w 64"/>
                    <a:gd name="T19" fmla="*/ 0 h 4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4"/>
                    <a:gd name="T31" fmla="*/ 0 h 40"/>
                    <a:gd name="T32" fmla="*/ 64 w 64"/>
                    <a:gd name="T33" fmla="*/ 40 h 4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4" h="40">
                      <a:moveTo>
                        <a:pt x="0" y="0"/>
                      </a:moveTo>
                      <a:lnTo>
                        <a:pt x="8" y="16"/>
                      </a:lnTo>
                      <a:lnTo>
                        <a:pt x="32" y="32"/>
                      </a:lnTo>
                      <a:lnTo>
                        <a:pt x="40" y="32"/>
                      </a:lnTo>
                      <a:lnTo>
                        <a:pt x="40" y="40"/>
                      </a:lnTo>
                      <a:lnTo>
                        <a:pt x="48" y="40"/>
                      </a:lnTo>
                      <a:lnTo>
                        <a:pt x="48" y="24"/>
                      </a:lnTo>
                      <a:lnTo>
                        <a:pt x="64" y="24"/>
                      </a:lnTo>
                      <a:lnTo>
                        <a:pt x="2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30" name="Freeform 208">
                  <a:extLst>
                    <a:ext uri="{FF2B5EF4-FFF2-40B4-BE49-F238E27FC236}">
                      <a16:creationId xmlns:a16="http://schemas.microsoft.com/office/drawing/2014/main" id="{96D55A58-0EBC-31E3-2C9F-07CCC58E1B34}"/>
                    </a:ext>
                  </a:extLst>
                </p:cNvPr>
                <p:cNvSpPr/>
                <p:nvPr/>
              </p:nvSpPr>
              <p:spPr bwMode="gray">
                <a:xfrm>
                  <a:off x="2412" y="1446"/>
                  <a:ext cx="34" cy="22"/>
                </a:xfrm>
                <a:custGeom>
                  <a:avLst/>
                  <a:gdLst>
                    <a:gd name="T0" fmla="*/ 0 w 48"/>
                    <a:gd name="T1" fmla="*/ 3 h 32"/>
                    <a:gd name="T2" fmla="*/ 0 w 48"/>
                    <a:gd name="T3" fmla="*/ 0 h 32"/>
                    <a:gd name="T4" fmla="*/ 9 w 48"/>
                    <a:gd name="T5" fmla="*/ 0 h 32"/>
                    <a:gd name="T6" fmla="*/ 14 w 48"/>
                    <a:gd name="T7" fmla="*/ 3 h 32"/>
                    <a:gd name="T8" fmla="*/ 17 w 48"/>
                    <a:gd name="T9" fmla="*/ 6 h 32"/>
                    <a:gd name="T10" fmla="*/ 17 w 48"/>
                    <a:gd name="T11" fmla="*/ 8 h 32"/>
                    <a:gd name="T12" fmla="*/ 14 w 48"/>
                    <a:gd name="T13" fmla="*/ 10 h 32"/>
                    <a:gd name="T14" fmla="*/ 6 w 48"/>
                    <a:gd name="T15" fmla="*/ 8 h 32"/>
                    <a:gd name="T16" fmla="*/ 0 w 48"/>
                    <a:gd name="T17" fmla="*/ 3 h 3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8"/>
                    <a:gd name="T28" fmla="*/ 0 h 32"/>
                    <a:gd name="T29" fmla="*/ 48 w 48"/>
                    <a:gd name="T30" fmla="*/ 32 h 3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8" h="32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24" y="0"/>
                      </a:lnTo>
                      <a:lnTo>
                        <a:pt x="40" y="8"/>
                      </a:lnTo>
                      <a:lnTo>
                        <a:pt x="48" y="16"/>
                      </a:lnTo>
                      <a:lnTo>
                        <a:pt x="48" y="24"/>
                      </a:lnTo>
                      <a:lnTo>
                        <a:pt x="40" y="32"/>
                      </a:lnTo>
                      <a:lnTo>
                        <a:pt x="16" y="24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31" name="Freeform 209">
                  <a:extLst>
                    <a:ext uri="{FF2B5EF4-FFF2-40B4-BE49-F238E27FC236}">
                      <a16:creationId xmlns:a16="http://schemas.microsoft.com/office/drawing/2014/main" id="{0E50E1E5-4457-2B51-7B52-264E62655996}"/>
                    </a:ext>
                  </a:extLst>
                </p:cNvPr>
                <p:cNvSpPr/>
                <p:nvPr/>
              </p:nvSpPr>
              <p:spPr bwMode="gray">
                <a:xfrm>
                  <a:off x="2671" y="1857"/>
                  <a:ext cx="112" cy="208"/>
                </a:xfrm>
                <a:custGeom>
                  <a:avLst/>
                  <a:gdLst>
                    <a:gd name="T0" fmla="*/ 3 w 160"/>
                    <a:gd name="T1" fmla="*/ 22 h 296"/>
                    <a:gd name="T2" fmla="*/ 3 w 160"/>
                    <a:gd name="T3" fmla="*/ 31 h 296"/>
                    <a:gd name="T4" fmla="*/ 6 w 160"/>
                    <a:gd name="T5" fmla="*/ 25 h 296"/>
                    <a:gd name="T6" fmla="*/ 8 w 160"/>
                    <a:gd name="T7" fmla="*/ 27 h 296"/>
                    <a:gd name="T8" fmla="*/ 6 w 160"/>
                    <a:gd name="T9" fmla="*/ 33 h 296"/>
                    <a:gd name="T10" fmla="*/ 6 w 160"/>
                    <a:gd name="T11" fmla="*/ 41 h 296"/>
                    <a:gd name="T12" fmla="*/ 8 w 160"/>
                    <a:gd name="T13" fmla="*/ 36 h 296"/>
                    <a:gd name="T14" fmla="*/ 10 w 160"/>
                    <a:gd name="T15" fmla="*/ 36 h 296"/>
                    <a:gd name="T16" fmla="*/ 10 w 160"/>
                    <a:gd name="T17" fmla="*/ 41 h 296"/>
                    <a:gd name="T18" fmla="*/ 8 w 160"/>
                    <a:gd name="T19" fmla="*/ 50 h 296"/>
                    <a:gd name="T20" fmla="*/ 17 w 160"/>
                    <a:gd name="T21" fmla="*/ 50 h 296"/>
                    <a:gd name="T22" fmla="*/ 19 w 160"/>
                    <a:gd name="T23" fmla="*/ 53 h 296"/>
                    <a:gd name="T24" fmla="*/ 22 w 160"/>
                    <a:gd name="T25" fmla="*/ 58 h 296"/>
                    <a:gd name="T26" fmla="*/ 25 w 160"/>
                    <a:gd name="T27" fmla="*/ 64 h 296"/>
                    <a:gd name="T28" fmla="*/ 19 w 160"/>
                    <a:gd name="T29" fmla="*/ 67 h 296"/>
                    <a:gd name="T30" fmla="*/ 14 w 160"/>
                    <a:gd name="T31" fmla="*/ 72 h 296"/>
                    <a:gd name="T32" fmla="*/ 14 w 160"/>
                    <a:gd name="T33" fmla="*/ 81 h 296"/>
                    <a:gd name="T34" fmla="*/ 8 w 160"/>
                    <a:gd name="T35" fmla="*/ 84 h 296"/>
                    <a:gd name="T36" fmla="*/ 17 w 160"/>
                    <a:gd name="T37" fmla="*/ 86 h 296"/>
                    <a:gd name="T38" fmla="*/ 22 w 160"/>
                    <a:gd name="T39" fmla="*/ 89 h 296"/>
                    <a:gd name="T40" fmla="*/ 25 w 160"/>
                    <a:gd name="T41" fmla="*/ 86 h 296"/>
                    <a:gd name="T42" fmla="*/ 22 w 160"/>
                    <a:gd name="T43" fmla="*/ 92 h 296"/>
                    <a:gd name="T44" fmla="*/ 17 w 160"/>
                    <a:gd name="T45" fmla="*/ 94 h 296"/>
                    <a:gd name="T46" fmla="*/ 10 w 160"/>
                    <a:gd name="T47" fmla="*/ 97 h 296"/>
                    <a:gd name="T48" fmla="*/ 10 w 160"/>
                    <a:gd name="T49" fmla="*/ 103 h 296"/>
                    <a:gd name="T50" fmla="*/ 22 w 160"/>
                    <a:gd name="T51" fmla="*/ 100 h 296"/>
                    <a:gd name="T52" fmla="*/ 27 w 160"/>
                    <a:gd name="T53" fmla="*/ 97 h 296"/>
                    <a:gd name="T54" fmla="*/ 41 w 160"/>
                    <a:gd name="T55" fmla="*/ 94 h 296"/>
                    <a:gd name="T56" fmla="*/ 52 w 160"/>
                    <a:gd name="T57" fmla="*/ 92 h 296"/>
                    <a:gd name="T58" fmla="*/ 50 w 160"/>
                    <a:gd name="T59" fmla="*/ 89 h 296"/>
                    <a:gd name="T60" fmla="*/ 47 w 160"/>
                    <a:gd name="T61" fmla="*/ 86 h 296"/>
                    <a:gd name="T62" fmla="*/ 52 w 160"/>
                    <a:gd name="T63" fmla="*/ 84 h 296"/>
                    <a:gd name="T64" fmla="*/ 55 w 160"/>
                    <a:gd name="T65" fmla="*/ 72 h 296"/>
                    <a:gd name="T66" fmla="*/ 44 w 160"/>
                    <a:gd name="T67" fmla="*/ 72 h 296"/>
                    <a:gd name="T68" fmla="*/ 44 w 160"/>
                    <a:gd name="T69" fmla="*/ 56 h 296"/>
                    <a:gd name="T70" fmla="*/ 36 w 160"/>
                    <a:gd name="T71" fmla="*/ 50 h 296"/>
                    <a:gd name="T72" fmla="*/ 30 w 160"/>
                    <a:gd name="T73" fmla="*/ 33 h 296"/>
                    <a:gd name="T74" fmla="*/ 25 w 160"/>
                    <a:gd name="T75" fmla="*/ 33 h 296"/>
                    <a:gd name="T76" fmla="*/ 25 w 160"/>
                    <a:gd name="T77" fmla="*/ 31 h 296"/>
                    <a:gd name="T78" fmla="*/ 30 w 160"/>
                    <a:gd name="T79" fmla="*/ 14 h 296"/>
                    <a:gd name="T80" fmla="*/ 25 w 160"/>
                    <a:gd name="T81" fmla="*/ 11 h 296"/>
                    <a:gd name="T82" fmla="*/ 19 w 160"/>
                    <a:gd name="T83" fmla="*/ 6 h 296"/>
                    <a:gd name="T84" fmla="*/ 25 w 160"/>
                    <a:gd name="T85" fmla="*/ 0 h 296"/>
                    <a:gd name="T86" fmla="*/ 10 w 160"/>
                    <a:gd name="T87" fmla="*/ 0 h 296"/>
                    <a:gd name="T88" fmla="*/ 8 w 160"/>
                    <a:gd name="T89" fmla="*/ 8 h 296"/>
                    <a:gd name="T90" fmla="*/ 3 w 160"/>
                    <a:gd name="T91" fmla="*/ 14 h 296"/>
                    <a:gd name="T92" fmla="*/ 6 w 160"/>
                    <a:gd name="T93" fmla="*/ 19 h 29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160"/>
                    <a:gd name="T142" fmla="*/ 0 h 296"/>
                    <a:gd name="T143" fmla="*/ 160 w 160"/>
                    <a:gd name="T144" fmla="*/ 296 h 29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160" h="296">
                      <a:moveTo>
                        <a:pt x="16" y="56"/>
                      </a:move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88"/>
                      </a:lnTo>
                      <a:lnTo>
                        <a:pt x="8" y="80"/>
                      </a:lnTo>
                      <a:lnTo>
                        <a:pt x="16" y="72"/>
                      </a:lnTo>
                      <a:lnTo>
                        <a:pt x="24" y="72"/>
                      </a:lnTo>
                      <a:lnTo>
                        <a:pt x="24" y="80"/>
                      </a:lnTo>
                      <a:lnTo>
                        <a:pt x="16" y="88"/>
                      </a:lnTo>
                      <a:lnTo>
                        <a:pt x="16" y="96"/>
                      </a:lnTo>
                      <a:lnTo>
                        <a:pt x="16" y="112"/>
                      </a:lnTo>
                      <a:lnTo>
                        <a:pt x="16" y="120"/>
                      </a:lnTo>
                      <a:lnTo>
                        <a:pt x="16" y="112"/>
                      </a:lnTo>
                      <a:lnTo>
                        <a:pt x="24" y="104"/>
                      </a:lnTo>
                      <a:lnTo>
                        <a:pt x="32" y="96"/>
                      </a:lnTo>
                      <a:lnTo>
                        <a:pt x="32" y="104"/>
                      </a:lnTo>
                      <a:lnTo>
                        <a:pt x="32" y="112"/>
                      </a:lnTo>
                      <a:lnTo>
                        <a:pt x="32" y="120"/>
                      </a:lnTo>
                      <a:lnTo>
                        <a:pt x="24" y="128"/>
                      </a:lnTo>
                      <a:lnTo>
                        <a:pt x="24" y="144"/>
                      </a:lnTo>
                      <a:lnTo>
                        <a:pt x="32" y="144"/>
                      </a:lnTo>
                      <a:lnTo>
                        <a:pt x="48" y="144"/>
                      </a:lnTo>
                      <a:lnTo>
                        <a:pt x="64" y="136"/>
                      </a:lnTo>
                      <a:lnTo>
                        <a:pt x="56" y="152"/>
                      </a:lnTo>
                      <a:lnTo>
                        <a:pt x="64" y="160"/>
                      </a:lnTo>
                      <a:lnTo>
                        <a:pt x="64" y="168"/>
                      </a:lnTo>
                      <a:lnTo>
                        <a:pt x="72" y="168"/>
                      </a:lnTo>
                      <a:lnTo>
                        <a:pt x="72" y="184"/>
                      </a:lnTo>
                      <a:lnTo>
                        <a:pt x="64" y="184"/>
                      </a:lnTo>
                      <a:lnTo>
                        <a:pt x="56" y="192"/>
                      </a:lnTo>
                      <a:lnTo>
                        <a:pt x="40" y="192"/>
                      </a:lnTo>
                      <a:lnTo>
                        <a:pt x="40" y="208"/>
                      </a:lnTo>
                      <a:lnTo>
                        <a:pt x="48" y="208"/>
                      </a:lnTo>
                      <a:lnTo>
                        <a:pt x="40" y="232"/>
                      </a:lnTo>
                      <a:lnTo>
                        <a:pt x="32" y="232"/>
                      </a:lnTo>
                      <a:lnTo>
                        <a:pt x="24" y="240"/>
                      </a:lnTo>
                      <a:lnTo>
                        <a:pt x="24" y="248"/>
                      </a:lnTo>
                      <a:lnTo>
                        <a:pt x="48" y="248"/>
                      </a:lnTo>
                      <a:lnTo>
                        <a:pt x="56" y="256"/>
                      </a:lnTo>
                      <a:lnTo>
                        <a:pt x="64" y="256"/>
                      </a:lnTo>
                      <a:lnTo>
                        <a:pt x="64" y="248"/>
                      </a:lnTo>
                      <a:lnTo>
                        <a:pt x="72" y="248"/>
                      </a:lnTo>
                      <a:lnTo>
                        <a:pt x="72" y="256"/>
                      </a:lnTo>
                      <a:lnTo>
                        <a:pt x="64" y="264"/>
                      </a:lnTo>
                      <a:lnTo>
                        <a:pt x="48" y="264"/>
                      </a:lnTo>
                      <a:lnTo>
                        <a:pt x="48" y="272"/>
                      </a:lnTo>
                      <a:lnTo>
                        <a:pt x="40" y="272"/>
                      </a:lnTo>
                      <a:lnTo>
                        <a:pt x="32" y="280"/>
                      </a:lnTo>
                      <a:lnTo>
                        <a:pt x="24" y="296"/>
                      </a:lnTo>
                      <a:lnTo>
                        <a:pt x="32" y="296"/>
                      </a:lnTo>
                      <a:lnTo>
                        <a:pt x="40" y="288"/>
                      </a:lnTo>
                      <a:lnTo>
                        <a:pt x="64" y="288"/>
                      </a:lnTo>
                      <a:lnTo>
                        <a:pt x="64" y="280"/>
                      </a:lnTo>
                      <a:lnTo>
                        <a:pt x="80" y="280"/>
                      </a:lnTo>
                      <a:lnTo>
                        <a:pt x="112" y="272"/>
                      </a:lnTo>
                      <a:lnTo>
                        <a:pt x="120" y="272"/>
                      </a:lnTo>
                      <a:lnTo>
                        <a:pt x="136" y="272"/>
                      </a:lnTo>
                      <a:lnTo>
                        <a:pt x="152" y="264"/>
                      </a:lnTo>
                      <a:lnTo>
                        <a:pt x="152" y="256"/>
                      </a:lnTo>
                      <a:lnTo>
                        <a:pt x="144" y="256"/>
                      </a:lnTo>
                      <a:lnTo>
                        <a:pt x="136" y="256"/>
                      </a:lnTo>
                      <a:lnTo>
                        <a:pt x="136" y="248"/>
                      </a:lnTo>
                      <a:lnTo>
                        <a:pt x="144" y="248"/>
                      </a:lnTo>
                      <a:lnTo>
                        <a:pt x="152" y="240"/>
                      </a:lnTo>
                      <a:lnTo>
                        <a:pt x="160" y="224"/>
                      </a:lnTo>
                      <a:lnTo>
                        <a:pt x="160" y="208"/>
                      </a:lnTo>
                      <a:lnTo>
                        <a:pt x="136" y="208"/>
                      </a:lnTo>
                      <a:lnTo>
                        <a:pt x="128" y="208"/>
                      </a:lnTo>
                      <a:lnTo>
                        <a:pt x="128" y="168"/>
                      </a:lnTo>
                      <a:lnTo>
                        <a:pt x="128" y="160"/>
                      </a:lnTo>
                      <a:lnTo>
                        <a:pt x="112" y="144"/>
                      </a:lnTo>
                      <a:lnTo>
                        <a:pt x="104" y="144"/>
                      </a:lnTo>
                      <a:lnTo>
                        <a:pt x="104" y="120"/>
                      </a:lnTo>
                      <a:lnTo>
                        <a:pt x="88" y="96"/>
                      </a:lnTo>
                      <a:lnTo>
                        <a:pt x="80" y="96"/>
                      </a:lnTo>
                      <a:lnTo>
                        <a:pt x="72" y="96"/>
                      </a:lnTo>
                      <a:lnTo>
                        <a:pt x="64" y="96"/>
                      </a:lnTo>
                      <a:lnTo>
                        <a:pt x="72" y="88"/>
                      </a:lnTo>
                      <a:lnTo>
                        <a:pt x="72" y="72"/>
                      </a:lnTo>
                      <a:lnTo>
                        <a:pt x="88" y="40"/>
                      </a:lnTo>
                      <a:lnTo>
                        <a:pt x="88" y="32"/>
                      </a:lnTo>
                      <a:lnTo>
                        <a:pt x="72" y="32"/>
                      </a:lnTo>
                      <a:lnTo>
                        <a:pt x="48" y="32"/>
                      </a:lnTo>
                      <a:lnTo>
                        <a:pt x="56" y="16"/>
                      </a:lnTo>
                      <a:lnTo>
                        <a:pt x="64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8" y="32"/>
                      </a:lnTo>
                      <a:lnTo>
                        <a:pt x="8" y="40"/>
                      </a:lnTo>
                      <a:lnTo>
                        <a:pt x="16" y="48"/>
                      </a:lnTo>
                      <a:lnTo>
                        <a:pt x="16" y="5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32" name="Freeform 210">
                  <a:extLst>
                    <a:ext uri="{FF2B5EF4-FFF2-40B4-BE49-F238E27FC236}">
                      <a16:creationId xmlns:a16="http://schemas.microsoft.com/office/drawing/2014/main" id="{56C93DEC-AB98-A4D2-36D3-BBBA7A8121B3}"/>
                    </a:ext>
                  </a:extLst>
                </p:cNvPr>
                <p:cNvSpPr/>
                <p:nvPr/>
              </p:nvSpPr>
              <p:spPr bwMode="gray">
                <a:xfrm>
                  <a:off x="2412" y="1603"/>
                  <a:ext cx="158" cy="107"/>
                </a:xfrm>
                <a:custGeom>
                  <a:avLst/>
                  <a:gdLst>
                    <a:gd name="T0" fmla="*/ 56 w 224"/>
                    <a:gd name="T1" fmla="*/ 44 h 152"/>
                    <a:gd name="T2" fmla="*/ 67 w 224"/>
                    <a:gd name="T3" fmla="*/ 39 h 152"/>
                    <a:gd name="T4" fmla="*/ 75 w 224"/>
                    <a:gd name="T5" fmla="*/ 31 h 152"/>
                    <a:gd name="T6" fmla="*/ 75 w 224"/>
                    <a:gd name="T7" fmla="*/ 17 h 152"/>
                    <a:gd name="T8" fmla="*/ 73 w 224"/>
                    <a:gd name="T9" fmla="*/ 14 h 152"/>
                    <a:gd name="T10" fmla="*/ 70 w 224"/>
                    <a:gd name="T11" fmla="*/ 8 h 152"/>
                    <a:gd name="T12" fmla="*/ 73 w 224"/>
                    <a:gd name="T13" fmla="*/ 6 h 152"/>
                    <a:gd name="T14" fmla="*/ 65 w 224"/>
                    <a:gd name="T15" fmla="*/ 3 h 152"/>
                    <a:gd name="T16" fmla="*/ 56 w 224"/>
                    <a:gd name="T17" fmla="*/ 0 h 152"/>
                    <a:gd name="T18" fmla="*/ 51 w 224"/>
                    <a:gd name="T19" fmla="*/ 8 h 152"/>
                    <a:gd name="T20" fmla="*/ 44 w 224"/>
                    <a:gd name="T21" fmla="*/ 8 h 152"/>
                    <a:gd name="T22" fmla="*/ 42 w 224"/>
                    <a:gd name="T23" fmla="*/ 11 h 152"/>
                    <a:gd name="T24" fmla="*/ 34 w 224"/>
                    <a:gd name="T25" fmla="*/ 8 h 152"/>
                    <a:gd name="T26" fmla="*/ 31 w 224"/>
                    <a:gd name="T27" fmla="*/ 11 h 152"/>
                    <a:gd name="T28" fmla="*/ 31 w 224"/>
                    <a:gd name="T29" fmla="*/ 14 h 152"/>
                    <a:gd name="T30" fmla="*/ 25 w 224"/>
                    <a:gd name="T31" fmla="*/ 17 h 152"/>
                    <a:gd name="T32" fmla="*/ 23 w 224"/>
                    <a:gd name="T33" fmla="*/ 19 h 152"/>
                    <a:gd name="T34" fmla="*/ 20 w 224"/>
                    <a:gd name="T35" fmla="*/ 8 h 152"/>
                    <a:gd name="T36" fmla="*/ 8 w 224"/>
                    <a:gd name="T37" fmla="*/ 3 h 152"/>
                    <a:gd name="T38" fmla="*/ 14 w 224"/>
                    <a:gd name="T39" fmla="*/ 11 h 152"/>
                    <a:gd name="T40" fmla="*/ 8 w 224"/>
                    <a:gd name="T41" fmla="*/ 8 h 152"/>
                    <a:gd name="T42" fmla="*/ 0 w 224"/>
                    <a:gd name="T43" fmla="*/ 17 h 152"/>
                    <a:gd name="T44" fmla="*/ 6 w 224"/>
                    <a:gd name="T45" fmla="*/ 17 h 152"/>
                    <a:gd name="T46" fmla="*/ 17 w 224"/>
                    <a:gd name="T47" fmla="*/ 19 h 152"/>
                    <a:gd name="T48" fmla="*/ 20 w 224"/>
                    <a:gd name="T49" fmla="*/ 25 h 152"/>
                    <a:gd name="T50" fmla="*/ 14 w 224"/>
                    <a:gd name="T51" fmla="*/ 27 h 152"/>
                    <a:gd name="T52" fmla="*/ 6 w 224"/>
                    <a:gd name="T53" fmla="*/ 27 h 152"/>
                    <a:gd name="T54" fmla="*/ 11 w 224"/>
                    <a:gd name="T55" fmla="*/ 31 h 152"/>
                    <a:gd name="T56" fmla="*/ 14 w 224"/>
                    <a:gd name="T57" fmla="*/ 34 h 152"/>
                    <a:gd name="T58" fmla="*/ 17 w 224"/>
                    <a:gd name="T59" fmla="*/ 42 h 152"/>
                    <a:gd name="T60" fmla="*/ 11 w 224"/>
                    <a:gd name="T61" fmla="*/ 44 h 152"/>
                    <a:gd name="T62" fmla="*/ 23 w 224"/>
                    <a:gd name="T63" fmla="*/ 48 h 152"/>
                    <a:gd name="T64" fmla="*/ 44 w 224"/>
                    <a:gd name="T65" fmla="*/ 53 h 15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24"/>
                    <a:gd name="T100" fmla="*/ 0 h 152"/>
                    <a:gd name="T101" fmla="*/ 224 w 224"/>
                    <a:gd name="T102" fmla="*/ 152 h 15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24" h="152">
                      <a:moveTo>
                        <a:pt x="144" y="136"/>
                      </a:moveTo>
                      <a:lnTo>
                        <a:pt x="160" y="128"/>
                      </a:lnTo>
                      <a:lnTo>
                        <a:pt x="176" y="112"/>
                      </a:lnTo>
                      <a:lnTo>
                        <a:pt x="192" y="112"/>
                      </a:lnTo>
                      <a:lnTo>
                        <a:pt x="200" y="96"/>
                      </a:lnTo>
                      <a:lnTo>
                        <a:pt x="216" y="88"/>
                      </a:lnTo>
                      <a:lnTo>
                        <a:pt x="224" y="64"/>
                      </a:lnTo>
                      <a:lnTo>
                        <a:pt x="216" y="48"/>
                      </a:lnTo>
                      <a:lnTo>
                        <a:pt x="208" y="48"/>
                      </a:lnTo>
                      <a:lnTo>
                        <a:pt x="208" y="40"/>
                      </a:lnTo>
                      <a:lnTo>
                        <a:pt x="200" y="40"/>
                      </a:lnTo>
                      <a:lnTo>
                        <a:pt x="200" y="24"/>
                      </a:lnTo>
                      <a:lnTo>
                        <a:pt x="200" y="16"/>
                      </a:lnTo>
                      <a:lnTo>
                        <a:pt x="208" y="16"/>
                      </a:lnTo>
                      <a:lnTo>
                        <a:pt x="200" y="8"/>
                      </a:lnTo>
                      <a:lnTo>
                        <a:pt x="184" y="8"/>
                      </a:lnTo>
                      <a:lnTo>
                        <a:pt x="184" y="0"/>
                      </a:lnTo>
                      <a:lnTo>
                        <a:pt x="160" y="0"/>
                      </a:lnTo>
                      <a:lnTo>
                        <a:pt x="168" y="16"/>
                      </a:lnTo>
                      <a:lnTo>
                        <a:pt x="144" y="24"/>
                      </a:lnTo>
                      <a:lnTo>
                        <a:pt x="136" y="16"/>
                      </a:lnTo>
                      <a:lnTo>
                        <a:pt x="128" y="24"/>
                      </a:lnTo>
                      <a:lnTo>
                        <a:pt x="128" y="32"/>
                      </a:lnTo>
                      <a:lnTo>
                        <a:pt x="120" y="32"/>
                      </a:lnTo>
                      <a:lnTo>
                        <a:pt x="120" y="24"/>
                      </a:lnTo>
                      <a:lnTo>
                        <a:pt x="96" y="24"/>
                      </a:lnTo>
                      <a:lnTo>
                        <a:pt x="96" y="40"/>
                      </a:lnTo>
                      <a:lnTo>
                        <a:pt x="88" y="32"/>
                      </a:lnTo>
                      <a:lnTo>
                        <a:pt x="80" y="32"/>
                      </a:lnTo>
                      <a:lnTo>
                        <a:pt x="88" y="40"/>
                      </a:lnTo>
                      <a:lnTo>
                        <a:pt x="80" y="48"/>
                      </a:lnTo>
                      <a:lnTo>
                        <a:pt x="72" y="48"/>
                      </a:lnTo>
                      <a:lnTo>
                        <a:pt x="72" y="56"/>
                      </a:lnTo>
                      <a:lnTo>
                        <a:pt x="64" y="56"/>
                      </a:lnTo>
                      <a:lnTo>
                        <a:pt x="56" y="32"/>
                      </a:lnTo>
                      <a:lnTo>
                        <a:pt x="56" y="24"/>
                      </a:lnTo>
                      <a:lnTo>
                        <a:pt x="40" y="8"/>
                      </a:lnTo>
                      <a:lnTo>
                        <a:pt x="24" y="8"/>
                      </a:lnTo>
                      <a:lnTo>
                        <a:pt x="32" y="16"/>
                      </a:lnTo>
                      <a:lnTo>
                        <a:pt x="40" y="32"/>
                      </a:lnTo>
                      <a:lnTo>
                        <a:pt x="24" y="32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0" y="48"/>
                      </a:lnTo>
                      <a:lnTo>
                        <a:pt x="0" y="56"/>
                      </a:lnTo>
                      <a:lnTo>
                        <a:pt x="16" y="48"/>
                      </a:lnTo>
                      <a:lnTo>
                        <a:pt x="40" y="48"/>
                      </a:lnTo>
                      <a:lnTo>
                        <a:pt x="48" y="56"/>
                      </a:lnTo>
                      <a:lnTo>
                        <a:pt x="40" y="64"/>
                      </a:lnTo>
                      <a:lnTo>
                        <a:pt x="56" y="72"/>
                      </a:lnTo>
                      <a:lnTo>
                        <a:pt x="56" y="80"/>
                      </a:lnTo>
                      <a:lnTo>
                        <a:pt x="40" y="80"/>
                      </a:lnTo>
                      <a:lnTo>
                        <a:pt x="24" y="80"/>
                      </a:lnTo>
                      <a:lnTo>
                        <a:pt x="16" y="80"/>
                      </a:lnTo>
                      <a:lnTo>
                        <a:pt x="8" y="88"/>
                      </a:lnTo>
                      <a:lnTo>
                        <a:pt x="32" y="88"/>
                      </a:lnTo>
                      <a:lnTo>
                        <a:pt x="40" y="88"/>
                      </a:lnTo>
                      <a:lnTo>
                        <a:pt x="40" y="96"/>
                      </a:lnTo>
                      <a:lnTo>
                        <a:pt x="48" y="112"/>
                      </a:lnTo>
                      <a:lnTo>
                        <a:pt x="48" y="120"/>
                      </a:lnTo>
                      <a:lnTo>
                        <a:pt x="32" y="120"/>
                      </a:lnTo>
                      <a:lnTo>
                        <a:pt x="32" y="128"/>
                      </a:lnTo>
                      <a:lnTo>
                        <a:pt x="48" y="136"/>
                      </a:lnTo>
                      <a:lnTo>
                        <a:pt x="64" y="136"/>
                      </a:lnTo>
                      <a:lnTo>
                        <a:pt x="88" y="152"/>
                      </a:lnTo>
                      <a:lnTo>
                        <a:pt x="128" y="152"/>
                      </a:lnTo>
                      <a:lnTo>
                        <a:pt x="144" y="13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33" name="Freeform 211">
                  <a:extLst>
                    <a:ext uri="{FF2B5EF4-FFF2-40B4-BE49-F238E27FC236}">
                      <a16:creationId xmlns:a16="http://schemas.microsoft.com/office/drawing/2014/main" id="{C16B8F1D-EC9F-0390-45AF-8C7554EA00FC}"/>
                    </a:ext>
                  </a:extLst>
                </p:cNvPr>
                <p:cNvSpPr/>
                <p:nvPr/>
              </p:nvSpPr>
              <p:spPr bwMode="gray">
                <a:xfrm>
                  <a:off x="2615" y="1941"/>
                  <a:ext cx="73" cy="96"/>
                </a:xfrm>
                <a:custGeom>
                  <a:avLst/>
                  <a:gdLst>
                    <a:gd name="T0" fmla="*/ 0 w 104"/>
                    <a:gd name="T1" fmla="*/ 40 h 136"/>
                    <a:gd name="T2" fmla="*/ 0 w 104"/>
                    <a:gd name="T3" fmla="*/ 42 h 136"/>
                    <a:gd name="T4" fmla="*/ 3 w 104"/>
                    <a:gd name="T5" fmla="*/ 45 h 136"/>
                    <a:gd name="T6" fmla="*/ 6 w 104"/>
                    <a:gd name="T7" fmla="*/ 48 h 136"/>
                    <a:gd name="T8" fmla="*/ 8 w 104"/>
                    <a:gd name="T9" fmla="*/ 45 h 136"/>
                    <a:gd name="T10" fmla="*/ 14 w 104"/>
                    <a:gd name="T11" fmla="*/ 42 h 136"/>
                    <a:gd name="T12" fmla="*/ 22 w 104"/>
                    <a:gd name="T13" fmla="*/ 40 h 136"/>
                    <a:gd name="T14" fmla="*/ 27 w 104"/>
                    <a:gd name="T15" fmla="*/ 40 h 136"/>
                    <a:gd name="T16" fmla="*/ 27 w 104"/>
                    <a:gd name="T17" fmla="*/ 31 h 136"/>
                    <a:gd name="T18" fmla="*/ 31 w 104"/>
                    <a:gd name="T19" fmla="*/ 25 h 136"/>
                    <a:gd name="T20" fmla="*/ 27 w 104"/>
                    <a:gd name="T21" fmla="*/ 23 h 136"/>
                    <a:gd name="T22" fmla="*/ 27 w 104"/>
                    <a:gd name="T23" fmla="*/ 17 h 136"/>
                    <a:gd name="T24" fmla="*/ 33 w 104"/>
                    <a:gd name="T25" fmla="*/ 14 h 136"/>
                    <a:gd name="T26" fmla="*/ 36 w 104"/>
                    <a:gd name="T27" fmla="*/ 8 h 136"/>
                    <a:gd name="T28" fmla="*/ 33 w 104"/>
                    <a:gd name="T29" fmla="*/ 8 h 136"/>
                    <a:gd name="T30" fmla="*/ 31 w 104"/>
                    <a:gd name="T31" fmla="*/ 3 h 136"/>
                    <a:gd name="T32" fmla="*/ 25 w 104"/>
                    <a:gd name="T33" fmla="*/ 3 h 136"/>
                    <a:gd name="T34" fmla="*/ 25 w 104"/>
                    <a:gd name="T35" fmla="*/ 0 h 136"/>
                    <a:gd name="T36" fmla="*/ 19 w 104"/>
                    <a:gd name="T37" fmla="*/ 0 h 136"/>
                    <a:gd name="T38" fmla="*/ 14 w 104"/>
                    <a:gd name="T39" fmla="*/ 3 h 136"/>
                    <a:gd name="T40" fmla="*/ 11 w 104"/>
                    <a:gd name="T41" fmla="*/ 3 h 136"/>
                    <a:gd name="T42" fmla="*/ 11 w 104"/>
                    <a:gd name="T43" fmla="*/ 8 h 136"/>
                    <a:gd name="T44" fmla="*/ 11 w 104"/>
                    <a:gd name="T45" fmla="*/ 11 h 136"/>
                    <a:gd name="T46" fmla="*/ 8 w 104"/>
                    <a:gd name="T47" fmla="*/ 14 h 136"/>
                    <a:gd name="T48" fmla="*/ 6 w 104"/>
                    <a:gd name="T49" fmla="*/ 14 h 136"/>
                    <a:gd name="T50" fmla="*/ 3 w 104"/>
                    <a:gd name="T51" fmla="*/ 14 h 136"/>
                    <a:gd name="T52" fmla="*/ 0 w 104"/>
                    <a:gd name="T53" fmla="*/ 17 h 136"/>
                    <a:gd name="T54" fmla="*/ 3 w 104"/>
                    <a:gd name="T55" fmla="*/ 20 h 136"/>
                    <a:gd name="T56" fmla="*/ 3 w 104"/>
                    <a:gd name="T57" fmla="*/ 23 h 136"/>
                    <a:gd name="T58" fmla="*/ 0 w 104"/>
                    <a:gd name="T59" fmla="*/ 25 h 136"/>
                    <a:gd name="T60" fmla="*/ 3 w 104"/>
                    <a:gd name="T61" fmla="*/ 25 h 136"/>
                    <a:gd name="T62" fmla="*/ 6 w 104"/>
                    <a:gd name="T63" fmla="*/ 25 h 136"/>
                    <a:gd name="T64" fmla="*/ 8 w 104"/>
                    <a:gd name="T65" fmla="*/ 25 h 136"/>
                    <a:gd name="T66" fmla="*/ 6 w 104"/>
                    <a:gd name="T67" fmla="*/ 28 h 136"/>
                    <a:gd name="T68" fmla="*/ 6 w 104"/>
                    <a:gd name="T69" fmla="*/ 34 h 136"/>
                    <a:gd name="T70" fmla="*/ 8 w 104"/>
                    <a:gd name="T71" fmla="*/ 34 h 136"/>
                    <a:gd name="T72" fmla="*/ 0 w 104"/>
                    <a:gd name="T73" fmla="*/ 37 h 136"/>
                    <a:gd name="T74" fmla="*/ 0 w 104"/>
                    <a:gd name="T75" fmla="*/ 40 h 1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04"/>
                    <a:gd name="T115" fmla="*/ 0 h 136"/>
                    <a:gd name="T116" fmla="*/ 104 w 104"/>
                    <a:gd name="T117" fmla="*/ 136 h 1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04" h="136">
                      <a:moveTo>
                        <a:pt x="0" y="112"/>
                      </a:moveTo>
                      <a:lnTo>
                        <a:pt x="0" y="120"/>
                      </a:lnTo>
                      <a:lnTo>
                        <a:pt x="8" y="128"/>
                      </a:lnTo>
                      <a:lnTo>
                        <a:pt x="16" y="136"/>
                      </a:lnTo>
                      <a:lnTo>
                        <a:pt x="24" y="128"/>
                      </a:lnTo>
                      <a:lnTo>
                        <a:pt x="40" y="120"/>
                      </a:lnTo>
                      <a:lnTo>
                        <a:pt x="64" y="112"/>
                      </a:lnTo>
                      <a:lnTo>
                        <a:pt x="80" y="112"/>
                      </a:lnTo>
                      <a:lnTo>
                        <a:pt x="80" y="88"/>
                      </a:lnTo>
                      <a:lnTo>
                        <a:pt x="88" y="72"/>
                      </a:lnTo>
                      <a:lnTo>
                        <a:pt x="80" y="64"/>
                      </a:lnTo>
                      <a:lnTo>
                        <a:pt x="80" y="48"/>
                      </a:lnTo>
                      <a:lnTo>
                        <a:pt x="96" y="40"/>
                      </a:lnTo>
                      <a:lnTo>
                        <a:pt x="104" y="24"/>
                      </a:lnTo>
                      <a:lnTo>
                        <a:pt x="96" y="24"/>
                      </a:lnTo>
                      <a:lnTo>
                        <a:pt x="88" y="8"/>
                      </a:lnTo>
                      <a:lnTo>
                        <a:pt x="72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40" y="8"/>
                      </a:lnTo>
                      <a:lnTo>
                        <a:pt x="32" y="8"/>
                      </a:lnTo>
                      <a:lnTo>
                        <a:pt x="32" y="24"/>
                      </a:lnTo>
                      <a:lnTo>
                        <a:pt x="32" y="32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8" y="40"/>
                      </a:lnTo>
                      <a:lnTo>
                        <a:pt x="0" y="48"/>
                      </a:lnTo>
                      <a:lnTo>
                        <a:pt x="8" y="56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72"/>
                      </a:lnTo>
                      <a:lnTo>
                        <a:pt x="16" y="72"/>
                      </a:lnTo>
                      <a:lnTo>
                        <a:pt x="24" y="72"/>
                      </a:lnTo>
                      <a:lnTo>
                        <a:pt x="16" y="80"/>
                      </a:lnTo>
                      <a:lnTo>
                        <a:pt x="16" y="96"/>
                      </a:lnTo>
                      <a:lnTo>
                        <a:pt x="24" y="96"/>
                      </a:lnTo>
                      <a:lnTo>
                        <a:pt x="0" y="104"/>
                      </a:lnTo>
                      <a:lnTo>
                        <a:pt x="0" y="112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34" name="Freeform 212">
                  <a:extLst>
                    <a:ext uri="{FF2B5EF4-FFF2-40B4-BE49-F238E27FC236}">
                      <a16:creationId xmlns:a16="http://schemas.microsoft.com/office/drawing/2014/main" id="{07AA0769-7AE6-5622-BD0D-F725A60F9D73}"/>
                    </a:ext>
                  </a:extLst>
                </p:cNvPr>
                <p:cNvSpPr/>
                <p:nvPr/>
              </p:nvSpPr>
              <p:spPr bwMode="gray">
                <a:xfrm>
                  <a:off x="1703" y="1069"/>
                  <a:ext cx="883" cy="748"/>
                </a:xfrm>
                <a:custGeom>
                  <a:avLst/>
                  <a:gdLst>
                    <a:gd name="T0" fmla="*/ 328 w 1256"/>
                    <a:gd name="T1" fmla="*/ 226 h 1064"/>
                    <a:gd name="T2" fmla="*/ 320 w 1256"/>
                    <a:gd name="T3" fmla="*/ 217 h 1064"/>
                    <a:gd name="T4" fmla="*/ 326 w 1256"/>
                    <a:gd name="T5" fmla="*/ 198 h 1064"/>
                    <a:gd name="T6" fmla="*/ 370 w 1256"/>
                    <a:gd name="T7" fmla="*/ 205 h 1064"/>
                    <a:gd name="T8" fmla="*/ 334 w 1256"/>
                    <a:gd name="T9" fmla="*/ 186 h 1064"/>
                    <a:gd name="T10" fmla="*/ 342 w 1256"/>
                    <a:gd name="T11" fmla="*/ 178 h 1064"/>
                    <a:gd name="T12" fmla="*/ 378 w 1256"/>
                    <a:gd name="T13" fmla="*/ 175 h 1064"/>
                    <a:gd name="T14" fmla="*/ 384 w 1256"/>
                    <a:gd name="T15" fmla="*/ 159 h 1064"/>
                    <a:gd name="T16" fmla="*/ 373 w 1256"/>
                    <a:gd name="T17" fmla="*/ 147 h 1064"/>
                    <a:gd name="T18" fmla="*/ 375 w 1256"/>
                    <a:gd name="T19" fmla="*/ 136 h 1064"/>
                    <a:gd name="T20" fmla="*/ 392 w 1256"/>
                    <a:gd name="T21" fmla="*/ 122 h 1064"/>
                    <a:gd name="T22" fmla="*/ 367 w 1256"/>
                    <a:gd name="T23" fmla="*/ 117 h 1064"/>
                    <a:gd name="T24" fmla="*/ 397 w 1256"/>
                    <a:gd name="T25" fmla="*/ 77 h 1064"/>
                    <a:gd name="T26" fmla="*/ 392 w 1256"/>
                    <a:gd name="T27" fmla="*/ 75 h 1064"/>
                    <a:gd name="T28" fmla="*/ 373 w 1256"/>
                    <a:gd name="T29" fmla="*/ 67 h 1064"/>
                    <a:gd name="T30" fmla="*/ 417 w 1256"/>
                    <a:gd name="T31" fmla="*/ 61 h 1064"/>
                    <a:gd name="T32" fmla="*/ 395 w 1256"/>
                    <a:gd name="T33" fmla="*/ 47 h 1064"/>
                    <a:gd name="T34" fmla="*/ 350 w 1256"/>
                    <a:gd name="T35" fmla="*/ 70 h 1064"/>
                    <a:gd name="T36" fmla="*/ 347 w 1256"/>
                    <a:gd name="T37" fmla="*/ 41 h 1064"/>
                    <a:gd name="T38" fmla="*/ 337 w 1256"/>
                    <a:gd name="T39" fmla="*/ 41 h 1064"/>
                    <a:gd name="T40" fmla="*/ 292 w 1256"/>
                    <a:gd name="T41" fmla="*/ 36 h 1064"/>
                    <a:gd name="T42" fmla="*/ 370 w 1256"/>
                    <a:gd name="T43" fmla="*/ 25 h 1064"/>
                    <a:gd name="T44" fmla="*/ 330 w 1256"/>
                    <a:gd name="T45" fmla="*/ 14 h 1064"/>
                    <a:gd name="T46" fmla="*/ 264 w 1256"/>
                    <a:gd name="T47" fmla="*/ 22 h 1064"/>
                    <a:gd name="T48" fmla="*/ 317 w 1256"/>
                    <a:gd name="T49" fmla="*/ 11 h 1064"/>
                    <a:gd name="T50" fmla="*/ 303 w 1256"/>
                    <a:gd name="T51" fmla="*/ 0 h 1064"/>
                    <a:gd name="T52" fmla="*/ 255 w 1256"/>
                    <a:gd name="T53" fmla="*/ 0 h 1064"/>
                    <a:gd name="T54" fmla="*/ 242 w 1256"/>
                    <a:gd name="T55" fmla="*/ 11 h 1064"/>
                    <a:gd name="T56" fmla="*/ 239 w 1256"/>
                    <a:gd name="T57" fmla="*/ 22 h 1064"/>
                    <a:gd name="T58" fmla="*/ 205 w 1256"/>
                    <a:gd name="T59" fmla="*/ 14 h 1064"/>
                    <a:gd name="T60" fmla="*/ 228 w 1256"/>
                    <a:gd name="T61" fmla="*/ 25 h 1064"/>
                    <a:gd name="T62" fmla="*/ 203 w 1256"/>
                    <a:gd name="T63" fmla="*/ 22 h 1064"/>
                    <a:gd name="T64" fmla="*/ 198 w 1256"/>
                    <a:gd name="T65" fmla="*/ 41 h 1064"/>
                    <a:gd name="T66" fmla="*/ 153 w 1256"/>
                    <a:gd name="T67" fmla="*/ 31 h 1064"/>
                    <a:gd name="T68" fmla="*/ 142 w 1256"/>
                    <a:gd name="T69" fmla="*/ 41 h 1064"/>
                    <a:gd name="T70" fmla="*/ 108 w 1256"/>
                    <a:gd name="T71" fmla="*/ 36 h 1064"/>
                    <a:gd name="T72" fmla="*/ 81 w 1256"/>
                    <a:gd name="T73" fmla="*/ 47 h 1064"/>
                    <a:gd name="T74" fmla="*/ 64 w 1256"/>
                    <a:gd name="T75" fmla="*/ 58 h 1064"/>
                    <a:gd name="T76" fmla="*/ 58 w 1256"/>
                    <a:gd name="T77" fmla="*/ 77 h 1064"/>
                    <a:gd name="T78" fmla="*/ 27 w 1256"/>
                    <a:gd name="T79" fmla="*/ 97 h 1064"/>
                    <a:gd name="T80" fmla="*/ 0 w 1256"/>
                    <a:gd name="T81" fmla="*/ 111 h 1064"/>
                    <a:gd name="T82" fmla="*/ 39 w 1256"/>
                    <a:gd name="T83" fmla="*/ 120 h 1064"/>
                    <a:gd name="T84" fmla="*/ 44 w 1256"/>
                    <a:gd name="T85" fmla="*/ 128 h 1064"/>
                    <a:gd name="T86" fmla="*/ 25 w 1256"/>
                    <a:gd name="T87" fmla="*/ 131 h 1064"/>
                    <a:gd name="T88" fmla="*/ 41 w 1256"/>
                    <a:gd name="T89" fmla="*/ 136 h 1064"/>
                    <a:gd name="T90" fmla="*/ 70 w 1256"/>
                    <a:gd name="T91" fmla="*/ 139 h 1064"/>
                    <a:gd name="T92" fmla="*/ 103 w 1256"/>
                    <a:gd name="T93" fmla="*/ 144 h 1064"/>
                    <a:gd name="T94" fmla="*/ 125 w 1256"/>
                    <a:gd name="T95" fmla="*/ 183 h 1064"/>
                    <a:gd name="T96" fmla="*/ 139 w 1256"/>
                    <a:gd name="T97" fmla="*/ 203 h 1064"/>
                    <a:gd name="T98" fmla="*/ 159 w 1256"/>
                    <a:gd name="T99" fmla="*/ 222 h 1064"/>
                    <a:gd name="T100" fmla="*/ 164 w 1256"/>
                    <a:gd name="T101" fmla="*/ 228 h 1064"/>
                    <a:gd name="T102" fmla="*/ 159 w 1256"/>
                    <a:gd name="T103" fmla="*/ 247 h 1064"/>
                    <a:gd name="T104" fmla="*/ 161 w 1256"/>
                    <a:gd name="T105" fmla="*/ 253 h 1064"/>
                    <a:gd name="T106" fmla="*/ 142 w 1256"/>
                    <a:gd name="T107" fmla="*/ 276 h 1064"/>
                    <a:gd name="T108" fmla="*/ 167 w 1256"/>
                    <a:gd name="T109" fmla="*/ 297 h 1064"/>
                    <a:gd name="T110" fmla="*/ 164 w 1256"/>
                    <a:gd name="T111" fmla="*/ 328 h 1064"/>
                    <a:gd name="T112" fmla="*/ 183 w 1256"/>
                    <a:gd name="T113" fmla="*/ 356 h 1064"/>
                    <a:gd name="T114" fmla="*/ 214 w 1256"/>
                    <a:gd name="T115" fmla="*/ 356 h 1064"/>
                    <a:gd name="T116" fmla="*/ 228 w 1256"/>
                    <a:gd name="T117" fmla="*/ 320 h 1064"/>
                    <a:gd name="T118" fmla="*/ 236 w 1256"/>
                    <a:gd name="T119" fmla="*/ 289 h 1064"/>
                    <a:gd name="T120" fmla="*/ 262 w 1256"/>
                    <a:gd name="T121" fmla="*/ 276 h 1064"/>
                    <a:gd name="T122" fmla="*/ 292 w 1256"/>
                    <a:gd name="T123" fmla="*/ 242 h 1064"/>
                    <a:gd name="T124" fmla="*/ 337 w 1256"/>
                    <a:gd name="T125" fmla="*/ 239 h 106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256"/>
                    <a:gd name="T190" fmla="*/ 0 h 1064"/>
                    <a:gd name="T191" fmla="*/ 1256 w 1256"/>
                    <a:gd name="T192" fmla="*/ 1064 h 106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256" h="1064">
                      <a:moveTo>
                        <a:pt x="1016" y="656"/>
                      </a:moveTo>
                      <a:lnTo>
                        <a:pt x="1048" y="648"/>
                      </a:lnTo>
                      <a:lnTo>
                        <a:pt x="1048" y="640"/>
                      </a:lnTo>
                      <a:lnTo>
                        <a:pt x="1040" y="640"/>
                      </a:lnTo>
                      <a:lnTo>
                        <a:pt x="1032" y="640"/>
                      </a:lnTo>
                      <a:lnTo>
                        <a:pt x="992" y="640"/>
                      </a:lnTo>
                      <a:lnTo>
                        <a:pt x="992" y="632"/>
                      </a:lnTo>
                      <a:lnTo>
                        <a:pt x="976" y="632"/>
                      </a:lnTo>
                      <a:lnTo>
                        <a:pt x="968" y="640"/>
                      </a:lnTo>
                      <a:lnTo>
                        <a:pt x="960" y="640"/>
                      </a:lnTo>
                      <a:lnTo>
                        <a:pt x="944" y="648"/>
                      </a:lnTo>
                      <a:lnTo>
                        <a:pt x="928" y="648"/>
                      </a:lnTo>
                      <a:lnTo>
                        <a:pt x="920" y="640"/>
                      </a:lnTo>
                      <a:lnTo>
                        <a:pt x="936" y="640"/>
                      </a:lnTo>
                      <a:lnTo>
                        <a:pt x="960" y="640"/>
                      </a:lnTo>
                      <a:lnTo>
                        <a:pt x="960" y="624"/>
                      </a:lnTo>
                      <a:lnTo>
                        <a:pt x="944" y="624"/>
                      </a:lnTo>
                      <a:lnTo>
                        <a:pt x="944" y="632"/>
                      </a:lnTo>
                      <a:lnTo>
                        <a:pt x="928" y="632"/>
                      </a:lnTo>
                      <a:lnTo>
                        <a:pt x="904" y="632"/>
                      </a:lnTo>
                      <a:lnTo>
                        <a:pt x="904" y="624"/>
                      </a:lnTo>
                      <a:lnTo>
                        <a:pt x="920" y="624"/>
                      </a:lnTo>
                      <a:lnTo>
                        <a:pt x="928" y="616"/>
                      </a:lnTo>
                      <a:lnTo>
                        <a:pt x="920" y="608"/>
                      </a:lnTo>
                      <a:lnTo>
                        <a:pt x="952" y="608"/>
                      </a:lnTo>
                      <a:lnTo>
                        <a:pt x="976" y="600"/>
                      </a:lnTo>
                      <a:lnTo>
                        <a:pt x="976" y="592"/>
                      </a:lnTo>
                      <a:lnTo>
                        <a:pt x="944" y="592"/>
                      </a:lnTo>
                      <a:lnTo>
                        <a:pt x="928" y="584"/>
                      </a:lnTo>
                      <a:lnTo>
                        <a:pt x="928" y="576"/>
                      </a:lnTo>
                      <a:lnTo>
                        <a:pt x="912" y="568"/>
                      </a:lnTo>
                      <a:lnTo>
                        <a:pt x="920" y="568"/>
                      </a:lnTo>
                      <a:lnTo>
                        <a:pt x="936" y="568"/>
                      </a:lnTo>
                      <a:lnTo>
                        <a:pt x="952" y="584"/>
                      </a:lnTo>
                      <a:lnTo>
                        <a:pt x="976" y="584"/>
                      </a:lnTo>
                      <a:lnTo>
                        <a:pt x="1000" y="592"/>
                      </a:lnTo>
                      <a:lnTo>
                        <a:pt x="1000" y="600"/>
                      </a:lnTo>
                      <a:lnTo>
                        <a:pt x="1016" y="624"/>
                      </a:lnTo>
                      <a:lnTo>
                        <a:pt x="1040" y="632"/>
                      </a:lnTo>
                      <a:lnTo>
                        <a:pt x="1040" y="624"/>
                      </a:lnTo>
                      <a:lnTo>
                        <a:pt x="1048" y="616"/>
                      </a:lnTo>
                      <a:lnTo>
                        <a:pt x="1056" y="624"/>
                      </a:lnTo>
                      <a:lnTo>
                        <a:pt x="1064" y="624"/>
                      </a:lnTo>
                      <a:lnTo>
                        <a:pt x="1064" y="592"/>
                      </a:lnTo>
                      <a:lnTo>
                        <a:pt x="1056" y="592"/>
                      </a:lnTo>
                      <a:lnTo>
                        <a:pt x="1048" y="584"/>
                      </a:lnTo>
                      <a:lnTo>
                        <a:pt x="1040" y="568"/>
                      </a:lnTo>
                      <a:lnTo>
                        <a:pt x="1024" y="568"/>
                      </a:lnTo>
                      <a:lnTo>
                        <a:pt x="1008" y="552"/>
                      </a:lnTo>
                      <a:lnTo>
                        <a:pt x="984" y="560"/>
                      </a:lnTo>
                      <a:lnTo>
                        <a:pt x="976" y="552"/>
                      </a:lnTo>
                      <a:lnTo>
                        <a:pt x="992" y="552"/>
                      </a:lnTo>
                      <a:lnTo>
                        <a:pt x="984" y="536"/>
                      </a:lnTo>
                      <a:lnTo>
                        <a:pt x="960" y="544"/>
                      </a:lnTo>
                      <a:lnTo>
                        <a:pt x="960" y="536"/>
                      </a:lnTo>
                      <a:lnTo>
                        <a:pt x="984" y="536"/>
                      </a:lnTo>
                      <a:lnTo>
                        <a:pt x="984" y="528"/>
                      </a:lnTo>
                      <a:lnTo>
                        <a:pt x="976" y="520"/>
                      </a:lnTo>
                      <a:lnTo>
                        <a:pt x="960" y="528"/>
                      </a:lnTo>
                      <a:lnTo>
                        <a:pt x="944" y="528"/>
                      </a:lnTo>
                      <a:lnTo>
                        <a:pt x="936" y="520"/>
                      </a:lnTo>
                      <a:lnTo>
                        <a:pt x="960" y="520"/>
                      </a:lnTo>
                      <a:lnTo>
                        <a:pt x="944" y="512"/>
                      </a:lnTo>
                      <a:lnTo>
                        <a:pt x="952" y="512"/>
                      </a:lnTo>
                      <a:lnTo>
                        <a:pt x="976" y="520"/>
                      </a:lnTo>
                      <a:lnTo>
                        <a:pt x="984" y="512"/>
                      </a:lnTo>
                      <a:lnTo>
                        <a:pt x="992" y="504"/>
                      </a:lnTo>
                      <a:lnTo>
                        <a:pt x="976" y="488"/>
                      </a:lnTo>
                      <a:lnTo>
                        <a:pt x="984" y="488"/>
                      </a:lnTo>
                      <a:lnTo>
                        <a:pt x="1000" y="496"/>
                      </a:lnTo>
                      <a:lnTo>
                        <a:pt x="1016" y="496"/>
                      </a:lnTo>
                      <a:lnTo>
                        <a:pt x="1040" y="504"/>
                      </a:lnTo>
                      <a:lnTo>
                        <a:pt x="1016" y="504"/>
                      </a:lnTo>
                      <a:lnTo>
                        <a:pt x="1024" y="504"/>
                      </a:lnTo>
                      <a:lnTo>
                        <a:pt x="1040" y="520"/>
                      </a:lnTo>
                      <a:lnTo>
                        <a:pt x="1064" y="512"/>
                      </a:lnTo>
                      <a:lnTo>
                        <a:pt x="1088" y="504"/>
                      </a:lnTo>
                      <a:lnTo>
                        <a:pt x="1088" y="496"/>
                      </a:lnTo>
                      <a:lnTo>
                        <a:pt x="1064" y="496"/>
                      </a:lnTo>
                      <a:lnTo>
                        <a:pt x="1064" y="504"/>
                      </a:lnTo>
                      <a:lnTo>
                        <a:pt x="1056" y="488"/>
                      </a:lnTo>
                      <a:lnTo>
                        <a:pt x="1048" y="472"/>
                      </a:lnTo>
                      <a:lnTo>
                        <a:pt x="1056" y="464"/>
                      </a:lnTo>
                      <a:lnTo>
                        <a:pt x="1080" y="464"/>
                      </a:lnTo>
                      <a:lnTo>
                        <a:pt x="1096" y="480"/>
                      </a:lnTo>
                      <a:lnTo>
                        <a:pt x="1104" y="472"/>
                      </a:lnTo>
                      <a:lnTo>
                        <a:pt x="1112" y="464"/>
                      </a:lnTo>
                      <a:lnTo>
                        <a:pt x="1104" y="456"/>
                      </a:lnTo>
                      <a:lnTo>
                        <a:pt x="1096" y="464"/>
                      </a:lnTo>
                      <a:lnTo>
                        <a:pt x="1072" y="456"/>
                      </a:lnTo>
                      <a:lnTo>
                        <a:pt x="1080" y="448"/>
                      </a:lnTo>
                      <a:lnTo>
                        <a:pt x="1072" y="440"/>
                      </a:lnTo>
                      <a:lnTo>
                        <a:pt x="1056" y="440"/>
                      </a:lnTo>
                      <a:lnTo>
                        <a:pt x="1048" y="440"/>
                      </a:lnTo>
                      <a:lnTo>
                        <a:pt x="1056" y="432"/>
                      </a:lnTo>
                      <a:lnTo>
                        <a:pt x="1080" y="432"/>
                      </a:lnTo>
                      <a:lnTo>
                        <a:pt x="1056" y="416"/>
                      </a:lnTo>
                      <a:lnTo>
                        <a:pt x="1064" y="416"/>
                      </a:lnTo>
                      <a:lnTo>
                        <a:pt x="1072" y="424"/>
                      </a:lnTo>
                      <a:lnTo>
                        <a:pt x="1088" y="424"/>
                      </a:lnTo>
                      <a:lnTo>
                        <a:pt x="1096" y="432"/>
                      </a:lnTo>
                      <a:lnTo>
                        <a:pt x="1112" y="424"/>
                      </a:lnTo>
                      <a:lnTo>
                        <a:pt x="1112" y="416"/>
                      </a:lnTo>
                      <a:lnTo>
                        <a:pt x="1088" y="408"/>
                      </a:lnTo>
                      <a:lnTo>
                        <a:pt x="1064" y="400"/>
                      </a:lnTo>
                      <a:lnTo>
                        <a:pt x="1056" y="400"/>
                      </a:lnTo>
                      <a:lnTo>
                        <a:pt x="1080" y="400"/>
                      </a:lnTo>
                      <a:lnTo>
                        <a:pt x="1096" y="400"/>
                      </a:lnTo>
                      <a:lnTo>
                        <a:pt x="1096" y="392"/>
                      </a:lnTo>
                      <a:lnTo>
                        <a:pt x="1080" y="392"/>
                      </a:lnTo>
                      <a:lnTo>
                        <a:pt x="1064" y="392"/>
                      </a:lnTo>
                      <a:lnTo>
                        <a:pt x="1056" y="392"/>
                      </a:lnTo>
                      <a:lnTo>
                        <a:pt x="1056" y="384"/>
                      </a:lnTo>
                      <a:lnTo>
                        <a:pt x="1048" y="376"/>
                      </a:lnTo>
                      <a:lnTo>
                        <a:pt x="1056" y="368"/>
                      </a:lnTo>
                      <a:lnTo>
                        <a:pt x="1072" y="368"/>
                      </a:lnTo>
                      <a:lnTo>
                        <a:pt x="1080" y="368"/>
                      </a:lnTo>
                      <a:lnTo>
                        <a:pt x="1112" y="368"/>
                      </a:lnTo>
                      <a:lnTo>
                        <a:pt x="1128" y="368"/>
                      </a:lnTo>
                      <a:lnTo>
                        <a:pt x="1136" y="360"/>
                      </a:lnTo>
                      <a:lnTo>
                        <a:pt x="1128" y="352"/>
                      </a:lnTo>
                      <a:lnTo>
                        <a:pt x="1112" y="352"/>
                      </a:lnTo>
                      <a:lnTo>
                        <a:pt x="1088" y="344"/>
                      </a:lnTo>
                      <a:lnTo>
                        <a:pt x="1080" y="336"/>
                      </a:lnTo>
                      <a:lnTo>
                        <a:pt x="1088" y="336"/>
                      </a:lnTo>
                      <a:lnTo>
                        <a:pt x="1096" y="336"/>
                      </a:lnTo>
                      <a:lnTo>
                        <a:pt x="1112" y="344"/>
                      </a:lnTo>
                      <a:lnTo>
                        <a:pt x="1112" y="336"/>
                      </a:lnTo>
                      <a:lnTo>
                        <a:pt x="1080" y="320"/>
                      </a:lnTo>
                      <a:lnTo>
                        <a:pt x="1072" y="328"/>
                      </a:lnTo>
                      <a:lnTo>
                        <a:pt x="1064" y="336"/>
                      </a:lnTo>
                      <a:lnTo>
                        <a:pt x="1056" y="336"/>
                      </a:lnTo>
                      <a:lnTo>
                        <a:pt x="1056" y="328"/>
                      </a:lnTo>
                      <a:lnTo>
                        <a:pt x="1072" y="296"/>
                      </a:lnTo>
                      <a:lnTo>
                        <a:pt x="1064" y="296"/>
                      </a:lnTo>
                      <a:lnTo>
                        <a:pt x="1080" y="280"/>
                      </a:lnTo>
                      <a:lnTo>
                        <a:pt x="1096" y="280"/>
                      </a:lnTo>
                      <a:lnTo>
                        <a:pt x="1104" y="272"/>
                      </a:lnTo>
                      <a:lnTo>
                        <a:pt x="1112" y="264"/>
                      </a:lnTo>
                      <a:lnTo>
                        <a:pt x="1096" y="264"/>
                      </a:lnTo>
                      <a:lnTo>
                        <a:pt x="1104" y="240"/>
                      </a:lnTo>
                      <a:lnTo>
                        <a:pt x="1136" y="240"/>
                      </a:lnTo>
                      <a:lnTo>
                        <a:pt x="1144" y="224"/>
                      </a:lnTo>
                      <a:lnTo>
                        <a:pt x="1136" y="224"/>
                      </a:lnTo>
                      <a:lnTo>
                        <a:pt x="1120" y="224"/>
                      </a:lnTo>
                      <a:lnTo>
                        <a:pt x="1104" y="216"/>
                      </a:lnTo>
                      <a:lnTo>
                        <a:pt x="1096" y="224"/>
                      </a:lnTo>
                      <a:lnTo>
                        <a:pt x="1104" y="224"/>
                      </a:lnTo>
                      <a:lnTo>
                        <a:pt x="1104" y="232"/>
                      </a:lnTo>
                      <a:lnTo>
                        <a:pt x="1096" y="240"/>
                      </a:lnTo>
                      <a:lnTo>
                        <a:pt x="1088" y="240"/>
                      </a:lnTo>
                      <a:lnTo>
                        <a:pt x="1088" y="224"/>
                      </a:lnTo>
                      <a:lnTo>
                        <a:pt x="1096" y="216"/>
                      </a:lnTo>
                      <a:lnTo>
                        <a:pt x="1128" y="216"/>
                      </a:lnTo>
                      <a:lnTo>
                        <a:pt x="1144" y="216"/>
                      </a:lnTo>
                      <a:lnTo>
                        <a:pt x="1152" y="216"/>
                      </a:lnTo>
                      <a:lnTo>
                        <a:pt x="1176" y="200"/>
                      </a:lnTo>
                      <a:lnTo>
                        <a:pt x="1152" y="192"/>
                      </a:lnTo>
                      <a:lnTo>
                        <a:pt x="1136" y="200"/>
                      </a:lnTo>
                      <a:lnTo>
                        <a:pt x="1128" y="200"/>
                      </a:lnTo>
                      <a:lnTo>
                        <a:pt x="1104" y="192"/>
                      </a:lnTo>
                      <a:lnTo>
                        <a:pt x="1096" y="192"/>
                      </a:lnTo>
                      <a:lnTo>
                        <a:pt x="1088" y="200"/>
                      </a:lnTo>
                      <a:lnTo>
                        <a:pt x="1072" y="200"/>
                      </a:lnTo>
                      <a:lnTo>
                        <a:pt x="1072" y="192"/>
                      </a:lnTo>
                      <a:lnTo>
                        <a:pt x="1080" y="192"/>
                      </a:lnTo>
                      <a:lnTo>
                        <a:pt x="1088" y="192"/>
                      </a:lnTo>
                      <a:lnTo>
                        <a:pt x="1120" y="192"/>
                      </a:lnTo>
                      <a:lnTo>
                        <a:pt x="1128" y="192"/>
                      </a:lnTo>
                      <a:lnTo>
                        <a:pt x="1128" y="184"/>
                      </a:lnTo>
                      <a:lnTo>
                        <a:pt x="1152" y="192"/>
                      </a:lnTo>
                      <a:lnTo>
                        <a:pt x="1168" y="192"/>
                      </a:lnTo>
                      <a:lnTo>
                        <a:pt x="1176" y="192"/>
                      </a:lnTo>
                      <a:lnTo>
                        <a:pt x="1184" y="184"/>
                      </a:lnTo>
                      <a:lnTo>
                        <a:pt x="1200" y="184"/>
                      </a:lnTo>
                      <a:lnTo>
                        <a:pt x="1200" y="176"/>
                      </a:lnTo>
                      <a:lnTo>
                        <a:pt x="1192" y="168"/>
                      </a:lnTo>
                      <a:lnTo>
                        <a:pt x="1200" y="168"/>
                      </a:lnTo>
                      <a:lnTo>
                        <a:pt x="1216" y="168"/>
                      </a:lnTo>
                      <a:lnTo>
                        <a:pt x="1256" y="144"/>
                      </a:lnTo>
                      <a:lnTo>
                        <a:pt x="1208" y="120"/>
                      </a:lnTo>
                      <a:lnTo>
                        <a:pt x="1168" y="120"/>
                      </a:lnTo>
                      <a:lnTo>
                        <a:pt x="1152" y="128"/>
                      </a:lnTo>
                      <a:lnTo>
                        <a:pt x="1144" y="120"/>
                      </a:lnTo>
                      <a:lnTo>
                        <a:pt x="1136" y="120"/>
                      </a:lnTo>
                      <a:lnTo>
                        <a:pt x="1144" y="128"/>
                      </a:lnTo>
                      <a:lnTo>
                        <a:pt x="1136" y="136"/>
                      </a:lnTo>
                      <a:lnTo>
                        <a:pt x="1128" y="144"/>
                      </a:lnTo>
                      <a:lnTo>
                        <a:pt x="1112" y="144"/>
                      </a:lnTo>
                      <a:lnTo>
                        <a:pt x="1104" y="144"/>
                      </a:lnTo>
                      <a:lnTo>
                        <a:pt x="1088" y="144"/>
                      </a:lnTo>
                      <a:lnTo>
                        <a:pt x="1088" y="136"/>
                      </a:lnTo>
                      <a:lnTo>
                        <a:pt x="1080" y="144"/>
                      </a:lnTo>
                      <a:lnTo>
                        <a:pt x="1056" y="160"/>
                      </a:lnTo>
                      <a:lnTo>
                        <a:pt x="1040" y="176"/>
                      </a:lnTo>
                      <a:lnTo>
                        <a:pt x="1024" y="184"/>
                      </a:lnTo>
                      <a:lnTo>
                        <a:pt x="1024" y="192"/>
                      </a:lnTo>
                      <a:lnTo>
                        <a:pt x="1008" y="200"/>
                      </a:lnTo>
                      <a:lnTo>
                        <a:pt x="1008" y="192"/>
                      </a:lnTo>
                      <a:lnTo>
                        <a:pt x="1016" y="184"/>
                      </a:lnTo>
                      <a:lnTo>
                        <a:pt x="1008" y="184"/>
                      </a:lnTo>
                      <a:lnTo>
                        <a:pt x="1024" y="176"/>
                      </a:lnTo>
                      <a:lnTo>
                        <a:pt x="1024" y="160"/>
                      </a:lnTo>
                      <a:lnTo>
                        <a:pt x="1032" y="160"/>
                      </a:lnTo>
                      <a:lnTo>
                        <a:pt x="1048" y="144"/>
                      </a:lnTo>
                      <a:lnTo>
                        <a:pt x="1040" y="120"/>
                      </a:lnTo>
                      <a:lnTo>
                        <a:pt x="1040" y="112"/>
                      </a:lnTo>
                      <a:lnTo>
                        <a:pt x="1008" y="112"/>
                      </a:lnTo>
                      <a:lnTo>
                        <a:pt x="1000" y="120"/>
                      </a:lnTo>
                      <a:lnTo>
                        <a:pt x="1000" y="136"/>
                      </a:lnTo>
                      <a:lnTo>
                        <a:pt x="968" y="144"/>
                      </a:lnTo>
                      <a:lnTo>
                        <a:pt x="952" y="144"/>
                      </a:lnTo>
                      <a:lnTo>
                        <a:pt x="936" y="152"/>
                      </a:lnTo>
                      <a:lnTo>
                        <a:pt x="936" y="144"/>
                      </a:lnTo>
                      <a:lnTo>
                        <a:pt x="928" y="144"/>
                      </a:lnTo>
                      <a:lnTo>
                        <a:pt x="944" y="136"/>
                      </a:lnTo>
                      <a:lnTo>
                        <a:pt x="952" y="136"/>
                      </a:lnTo>
                      <a:lnTo>
                        <a:pt x="976" y="128"/>
                      </a:lnTo>
                      <a:lnTo>
                        <a:pt x="976" y="120"/>
                      </a:lnTo>
                      <a:lnTo>
                        <a:pt x="968" y="120"/>
                      </a:lnTo>
                      <a:lnTo>
                        <a:pt x="920" y="112"/>
                      </a:lnTo>
                      <a:lnTo>
                        <a:pt x="912" y="112"/>
                      </a:lnTo>
                      <a:lnTo>
                        <a:pt x="880" y="120"/>
                      </a:lnTo>
                      <a:lnTo>
                        <a:pt x="872" y="120"/>
                      </a:lnTo>
                      <a:lnTo>
                        <a:pt x="832" y="128"/>
                      </a:lnTo>
                      <a:lnTo>
                        <a:pt x="832" y="136"/>
                      </a:lnTo>
                      <a:lnTo>
                        <a:pt x="816" y="136"/>
                      </a:lnTo>
                      <a:lnTo>
                        <a:pt x="808" y="128"/>
                      </a:lnTo>
                      <a:lnTo>
                        <a:pt x="816" y="120"/>
                      </a:lnTo>
                      <a:lnTo>
                        <a:pt x="856" y="112"/>
                      </a:lnTo>
                      <a:lnTo>
                        <a:pt x="840" y="104"/>
                      </a:lnTo>
                      <a:lnTo>
                        <a:pt x="864" y="104"/>
                      </a:lnTo>
                      <a:lnTo>
                        <a:pt x="880" y="104"/>
                      </a:lnTo>
                      <a:lnTo>
                        <a:pt x="920" y="104"/>
                      </a:lnTo>
                      <a:lnTo>
                        <a:pt x="944" y="104"/>
                      </a:lnTo>
                      <a:lnTo>
                        <a:pt x="992" y="104"/>
                      </a:lnTo>
                      <a:lnTo>
                        <a:pt x="1008" y="96"/>
                      </a:lnTo>
                      <a:lnTo>
                        <a:pt x="1024" y="96"/>
                      </a:lnTo>
                      <a:lnTo>
                        <a:pt x="1048" y="88"/>
                      </a:lnTo>
                      <a:lnTo>
                        <a:pt x="1048" y="80"/>
                      </a:lnTo>
                      <a:lnTo>
                        <a:pt x="1056" y="80"/>
                      </a:lnTo>
                      <a:lnTo>
                        <a:pt x="1064" y="72"/>
                      </a:lnTo>
                      <a:lnTo>
                        <a:pt x="1048" y="64"/>
                      </a:lnTo>
                      <a:lnTo>
                        <a:pt x="1024" y="56"/>
                      </a:lnTo>
                      <a:lnTo>
                        <a:pt x="1008" y="64"/>
                      </a:lnTo>
                      <a:lnTo>
                        <a:pt x="1008" y="56"/>
                      </a:lnTo>
                      <a:lnTo>
                        <a:pt x="1000" y="56"/>
                      </a:lnTo>
                      <a:lnTo>
                        <a:pt x="976" y="64"/>
                      </a:lnTo>
                      <a:lnTo>
                        <a:pt x="976" y="56"/>
                      </a:lnTo>
                      <a:lnTo>
                        <a:pt x="984" y="56"/>
                      </a:lnTo>
                      <a:lnTo>
                        <a:pt x="984" y="40"/>
                      </a:lnTo>
                      <a:lnTo>
                        <a:pt x="976" y="32"/>
                      </a:lnTo>
                      <a:lnTo>
                        <a:pt x="952" y="40"/>
                      </a:lnTo>
                      <a:lnTo>
                        <a:pt x="944" y="40"/>
                      </a:lnTo>
                      <a:lnTo>
                        <a:pt x="904" y="40"/>
                      </a:lnTo>
                      <a:lnTo>
                        <a:pt x="880" y="40"/>
                      </a:lnTo>
                      <a:lnTo>
                        <a:pt x="864" y="40"/>
                      </a:lnTo>
                      <a:lnTo>
                        <a:pt x="832" y="48"/>
                      </a:lnTo>
                      <a:lnTo>
                        <a:pt x="792" y="56"/>
                      </a:lnTo>
                      <a:lnTo>
                        <a:pt x="792" y="64"/>
                      </a:lnTo>
                      <a:lnTo>
                        <a:pt x="784" y="64"/>
                      </a:lnTo>
                      <a:lnTo>
                        <a:pt x="784" y="56"/>
                      </a:lnTo>
                      <a:lnTo>
                        <a:pt x="776" y="56"/>
                      </a:lnTo>
                      <a:lnTo>
                        <a:pt x="760" y="64"/>
                      </a:lnTo>
                      <a:lnTo>
                        <a:pt x="752" y="64"/>
                      </a:lnTo>
                      <a:lnTo>
                        <a:pt x="760" y="56"/>
                      </a:lnTo>
                      <a:lnTo>
                        <a:pt x="752" y="56"/>
                      </a:lnTo>
                      <a:lnTo>
                        <a:pt x="776" y="48"/>
                      </a:lnTo>
                      <a:lnTo>
                        <a:pt x="808" y="40"/>
                      </a:lnTo>
                      <a:lnTo>
                        <a:pt x="800" y="40"/>
                      </a:lnTo>
                      <a:lnTo>
                        <a:pt x="816" y="40"/>
                      </a:lnTo>
                      <a:lnTo>
                        <a:pt x="824" y="40"/>
                      </a:lnTo>
                      <a:lnTo>
                        <a:pt x="848" y="40"/>
                      </a:lnTo>
                      <a:lnTo>
                        <a:pt x="880" y="32"/>
                      </a:lnTo>
                      <a:lnTo>
                        <a:pt x="912" y="32"/>
                      </a:lnTo>
                      <a:lnTo>
                        <a:pt x="944" y="32"/>
                      </a:lnTo>
                      <a:lnTo>
                        <a:pt x="968" y="24"/>
                      </a:lnTo>
                      <a:lnTo>
                        <a:pt x="960" y="16"/>
                      </a:lnTo>
                      <a:lnTo>
                        <a:pt x="912" y="8"/>
                      </a:lnTo>
                      <a:lnTo>
                        <a:pt x="912" y="16"/>
                      </a:lnTo>
                      <a:lnTo>
                        <a:pt x="896" y="16"/>
                      </a:lnTo>
                      <a:lnTo>
                        <a:pt x="888" y="8"/>
                      </a:lnTo>
                      <a:lnTo>
                        <a:pt x="904" y="8"/>
                      </a:lnTo>
                      <a:lnTo>
                        <a:pt x="896" y="0"/>
                      </a:lnTo>
                      <a:lnTo>
                        <a:pt x="880" y="8"/>
                      </a:lnTo>
                      <a:lnTo>
                        <a:pt x="872" y="0"/>
                      </a:lnTo>
                      <a:lnTo>
                        <a:pt x="864" y="0"/>
                      </a:lnTo>
                      <a:lnTo>
                        <a:pt x="840" y="0"/>
                      </a:lnTo>
                      <a:lnTo>
                        <a:pt x="832" y="0"/>
                      </a:lnTo>
                      <a:lnTo>
                        <a:pt x="816" y="0"/>
                      </a:lnTo>
                      <a:lnTo>
                        <a:pt x="808" y="0"/>
                      </a:lnTo>
                      <a:lnTo>
                        <a:pt x="784" y="0"/>
                      </a:lnTo>
                      <a:lnTo>
                        <a:pt x="776" y="0"/>
                      </a:lnTo>
                      <a:lnTo>
                        <a:pt x="760" y="0"/>
                      </a:lnTo>
                      <a:lnTo>
                        <a:pt x="752" y="0"/>
                      </a:lnTo>
                      <a:lnTo>
                        <a:pt x="744" y="8"/>
                      </a:lnTo>
                      <a:lnTo>
                        <a:pt x="736" y="0"/>
                      </a:lnTo>
                      <a:lnTo>
                        <a:pt x="728" y="8"/>
                      </a:lnTo>
                      <a:lnTo>
                        <a:pt x="736" y="16"/>
                      </a:lnTo>
                      <a:lnTo>
                        <a:pt x="728" y="16"/>
                      </a:lnTo>
                      <a:lnTo>
                        <a:pt x="712" y="8"/>
                      </a:lnTo>
                      <a:lnTo>
                        <a:pt x="704" y="8"/>
                      </a:lnTo>
                      <a:lnTo>
                        <a:pt x="704" y="16"/>
                      </a:lnTo>
                      <a:lnTo>
                        <a:pt x="696" y="16"/>
                      </a:lnTo>
                      <a:lnTo>
                        <a:pt x="688" y="16"/>
                      </a:lnTo>
                      <a:lnTo>
                        <a:pt x="696" y="24"/>
                      </a:lnTo>
                      <a:lnTo>
                        <a:pt x="688" y="32"/>
                      </a:lnTo>
                      <a:lnTo>
                        <a:pt x="696" y="32"/>
                      </a:lnTo>
                      <a:lnTo>
                        <a:pt x="728" y="32"/>
                      </a:lnTo>
                      <a:lnTo>
                        <a:pt x="728" y="40"/>
                      </a:lnTo>
                      <a:lnTo>
                        <a:pt x="704" y="40"/>
                      </a:lnTo>
                      <a:lnTo>
                        <a:pt x="696" y="40"/>
                      </a:lnTo>
                      <a:lnTo>
                        <a:pt x="720" y="40"/>
                      </a:lnTo>
                      <a:lnTo>
                        <a:pt x="712" y="48"/>
                      </a:lnTo>
                      <a:lnTo>
                        <a:pt x="696" y="48"/>
                      </a:lnTo>
                      <a:lnTo>
                        <a:pt x="688" y="48"/>
                      </a:lnTo>
                      <a:lnTo>
                        <a:pt x="696" y="56"/>
                      </a:lnTo>
                      <a:lnTo>
                        <a:pt x="696" y="64"/>
                      </a:lnTo>
                      <a:lnTo>
                        <a:pt x="688" y="64"/>
                      </a:lnTo>
                      <a:lnTo>
                        <a:pt x="680" y="56"/>
                      </a:lnTo>
                      <a:lnTo>
                        <a:pt x="672" y="48"/>
                      </a:lnTo>
                      <a:lnTo>
                        <a:pt x="656" y="48"/>
                      </a:lnTo>
                      <a:lnTo>
                        <a:pt x="640" y="40"/>
                      </a:lnTo>
                      <a:lnTo>
                        <a:pt x="632" y="40"/>
                      </a:lnTo>
                      <a:lnTo>
                        <a:pt x="624" y="32"/>
                      </a:lnTo>
                      <a:lnTo>
                        <a:pt x="608" y="32"/>
                      </a:lnTo>
                      <a:lnTo>
                        <a:pt x="584" y="32"/>
                      </a:lnTo>
                      <a:lnTo>
                        <a:pt x="600" y="40"/>
                      </a:lnTo>
                      <a:lnTo>
                        <a:pt x="608" y="40"/>
                      </a:lnTo>
                      <a:lnTo>
                        <a:pt x="592" y="40"/>
                      </a:lnTo>
                      <a:lnTo>
                        <a:pt x="584" y="40"/>
                      </a:lnTo>
                      <a:lnTo>
                        <a:pt x="560" y="40"/>
                      </a:lnTo>
                      <a:lnTo>
                        <a:pt x="552" y="40"/>
                      </a:lnTo>
                      <a:lnTo>
                        <a:pt x="568" y="48"/>
                      </a:lnTo>
                      <a:lnTo>
                        <a:pt x="584" y="48"/>
                      </a:lnTo>
                      <a:lnTo>
                        <a:pt x="584" y="56"/>
                      </a:lnTo>
                      <a:lnTo>
                        <a:pt x="568" y="56"/>
                      </a:lnTo>
                      <a:lnTo>
                        <a:pt x="568" y="64"/>
                      </a:lnTo>
                      <a:lnTo>
                        <a:pt x="608" y="56"/>
                      </a:lnTo>
                      <a:lnTo>
                        <a:pt x="648" y="64"/>
                      </a:lnTo>
                      <a:lnTo>
                        <a:pt x="656" y="72"/>
                      </a:lnTo>
                      <a:lnTo>
                        <a:pt x="664" y="88"/>
                      </a:lnTo>
                      <a:lnTo>
                        <a:pt x="656" y="88"/>
                      </a:lnTo>
                      <a:lnTo>
                        <a:pt x="656" y="80"/>
                      </a:lnTo>
                      <a:lnTo>
                        <a:pt x="648" y="72"/>
                      </a:lnTo>
                      <a:lnTo>
                        <a:pt x="632" y="64"/>
                      </a:lnTo>
                      <a:lnTo>
                        <a:pt x="632" y="72"/>
                      </a:lnTo>
                      <a:lnTo>
                        <a:pt x="632" y="80"/>
                      </a:lnTo>
                      <a:lnTo>
                        <a:pt x="624" y="80"/>
                      </a:lnTo>
                      <a:lnTo>
                        <a:pt x="624" y="64"/>
                      </a:lnTo>
                      <a:lnTo>
                        <a:pt x="616" y="64"/>
                      </a:lnTo>
                      <a:lnTo>
                        <a:pt x="584" y="64"/>
                      </a:lnTo>
                      <a:lnTo>
                        <a:pt x="560" y="64"/>
                      </a:lnTo>
                      <a:lnTo>
                        <a:pt x="544" y="64"/>
                      </a:lnTo>
                      <a:lnTo>
                        <a:pt x="560" y="72"/>
                      </a:lnTo>
                      <a:lnTo>
                        <a:pt x="592" y="88"/>
                      </a:lnTo>
                      <a:lnTo>
                        <a:pt x="584" y="96"/>
                      </a:lnTo>
                      <a:lnTo>
                        <a:pt x="616" y="96"/>
                      </a:lnTo>
                      <a:lnTo>
                        <a:pt x="608" y="104"/>
                      </a:lnTo>
                      <a:lnTo>
                        <a:pt x="592" y="104"/>
                      </a:lnTo>
                      <a:lnTo>
                        <a:pt x="576" y="96"/>
                      </a:lnTo>
                      <a:lnTo>
                        <a:pt x="568" y="104"/>
                      </a:lnTo>
                      <a:lnTo>
                        <a:pt x="568" y="120"/>
                      </a:lnTo>
                      <a:lnTo>
                        <a:pt x="584" y="128"/>
                      </a:lnTo>
                      <a:lnTo>
                        <a:pt x="568" y="128"/>
                      </a:lnTo>
                      <a:lnTo>
                        <a:pt x="536" y="112"/>
                      </a:lnTo>
                      <a:lnTo>
                        <a:pt x="528" y="104"/>
                      </a:lnTo>
                      <a:lnTo>
                        <a:pt x="512" y="104"/>
                      </a:lnTo>
                      <a:lnTo>
                        <a:pt x="504" y="96"/>
                      </a:lnTo>
                      <a:lnTo>
                        <a:pt x="488" y="96"/>
                      </a:lnTo>
                      <a:lnTo>
                        <a:pt x="488" y="88"/>
                      </a:lnTo>
                      <a:lnTo>
                        <a:pt x="472" y="80"/>
                      </a:lnTo>
                      <a:lnTo>
                        <a:pt x="448" y="80"/>
                      </a:lnTo>
                      <a:lnTo>
                        <a:pt x="440" y="88"/>
                      </a:lnTo>
                      <a:lnTo>
                        <a:pt x="448" y="88"/>
                      </a:lnTo>
                      <a:lnTo>
                        <a:pt x="448" y="104"/>
                      </a:lnTo>
                      <a:lnTo>
                        <a:pt x="464" y="120"/>
                      </a:lnTo>
                      <a:lnTo>
                        <a:pt x="472" y="120"/>
                      </a:lnTo>
                      <a:lnTo>
                        <a:pt x="448" y="120"/>
                      </a:lnTo>
                      <a:lnTo>
                        <a:pt x="480" y="136"/>
                      </a:lnTo>
                      <a:lnTo>
                        <a:pt x="472" y="144"/>
                      </a:lnTo>
                      <a:lnTo>
                        <a:pt x="424" y="120"/>
                      </a:lnTo>
                      <a:lnTo>
                        <a:pt x="408" y="120"/>
                      </a:lnTo>
                      <a:lnTo>
                        <a:pt x="400" y="120"/>
                      </a:lnTo>
                      <a:lnTo>
                        <a:pt x="408" y="120"/>
                      </a:lnTo>
                      <a:lnTo>
                        <a:pt x="400" y="144"/>
                      </a:lnTo>
                      <a:lnTo>
                        <a:pt x="392" y="144"/>
                      </a:lnTo>
                      <a:lnTo>
                        <a:pt x="384" y="144"/>
                      </a:lnTo>
                      <a:lnTo>
                        <a:pt x="392" y="112"/>
                      </a:lnTo>
                      <a:lnTo>
                        <a:pt x="384" y="96"/>
                      </a:lnTo>
                      <a:lnTo>
                        <a:pt x="376" y="96"/>
                      </a:lnTo>
                      <a:lnTo>
                        <a:pt x="352" y="96"/>
                      </a:lnTo>
                      <a:lnTo>
                        <a:pt x="360" y="104"/>
                      </a:lnTo>
                      <a:lnTo>
                        <a:pt x="344" y="104"/>
                      </a:lnTo>
                      <a:lnTo>
                        <a:pt x="328" y="104"/>
                      </a:lnTo>
                      <a:lnTo>
                        <a:pt x="312" y="104"/>
                      </a:lnTo>
                      <a:lnTo>
                        <a:pt x="272" y="112"/>
                      </a:lnTo>
                      <a:lnTo>
                        <a:pt x="288" y="120"/>
                      </a:lnTo>
                      <a:lnTo>
                        <a:pt x="296" y="128"/>
                      </a:lnTo>
                      <a:lnTo>
                        <a:pt x="312" y="144"/>
                      </a:lnTo>
                      <a:lnTo>
                        <a:pt x="312" y="152"/>
                      </a:lnTo>
                      <a:lnTo>
                        <a:pt x="280" y="136"/>
                      </a:lnTo>
                      <a:lnTo>
                        <a:pt x="280" y="128"/>
                      </a:lnTo>
                      <a:lnTo>
                        <a:pt x="272" y="128"/>
                      </a:lnTo>
                      <a:lnTo>
                        <a:pt x="248" y="128"/>
                      </a:lnTo>
                      <a:lnTo>
                        <a:pt x="232" y="128"/>
                      </a:lnTo>
                      <a:lnTo>
                        <a:pt x="232" y="136"/>
                      </a:lnTo>
                      <a:lnTo>
                        <a:pt x="232" y="144"/>
                      </a:lnTo>
                      <a:lnTo>
                        <a:pt x="248" y="144"/>
                      </a:lnTo>
                      <a:lnTo>
                        <a:pt x="240" y="152"/>
                      </a:lnTo>
                      <a:lnTo>
                        <a:pt x="240" y="160"/>
                      </a:lnTo>
                      <a:lnTo>
                        <a:pt x="240" y="168"/>
                      </a:lnTo>
                      <a:lnTo>
                        <a:pt x="224" y="168"/>
                      </a:lnTo>
                      <a:lnTo>
                        <a:pt x="216" y="168"/>
                      </a:lnTo>
                      <a:lnTo>
                        <a:pt x="200" y="168"/>
                      </a:lnTo>
                      <a:lnTo>
                        <a:pt x="200" y="184"/>
                      </a:lnTo>
                      <a:lnTo>
                        <a:pt x="192" y="168"/>
                      </a:lnTo>
                      <a:lnTo>
                        <a:pt x="184" y="168"/>
                      </a:lnTo>
                      <a:lnTo>
                        <a:pt x="152" y="192"/>
                      </a:lnTo>
                      <a:lnTo>
                        <a:pt x="152" y="200"/>
                      </a:lnTo>
                      <a:lnTo>
                        <a:pt x="144" y="200"/>
                      </a:lnTo>
                      <a:lnTo>
                        <a:pt x="136" y="208"/>
                      </a:lnTo>
                      <a:lnTo>
                        <a:pt x="112" y="208"/>
                      </a:lnTo>
                      <a:lnTo>
                        <a:pt x="112" y="216"/>
                      </a:lnTo>
                      <a:lnTo>
                        <a:pt x="120" y="224"/>
                      </a:lnTo>
                      <a:lnTo>
                        <a:pt x="120" y="232"/>
                      </a:lnTo>
                      <a:lnTo>
                        <a:pt x="152" y="232"/>
                      </a:lnTo>
                      <a:lnTo>
                        <a:pt x="160" y="224"/>
                      </a:lnTo>
                      <a:lnTo>
                        <a:pt x="168" y="224"/>
                      </a:lnTo>
                      <a:lnTo>
                        <a:pt x="176" y="224"/>
                      </a:lnTo>
                      <a:lnTo>
                        <a:pt x="184" y="224"/>
                      </a:lnTo>
                      <a:lnTo>
                        <a:pt x="176" y="232"/>
                      </a:lnTo>
                      <a:lnTo>
                        <a:pt x="184" y="240"/>
                      </a:lnTo>
                      <a:lnTo>
                        <a:pt x="160" y="240"/>
                      </a:lnTo>
                      <a:lnTo>
                        <a:pt x="176" y="256"/>
                      </a:lnTo>
                      <a:lnTo>
                        <a:pt x="144" y="280"/>
                      </a:lnTo>
                      <a:lnTo>
                        <a:pt x="136" y="272"/>
                      </a:lnTo>
                      <a:lnTo>
                        <a:pt x="104" y="272"/>
                      </a:lnTo>
                      <a:lnTo>
                        <a:pt x="96" y="280"/>
                      </a:lnTo>
                      <a:lnTo>
                        <a:pt x="80" y="280"/>
                      </a:lnTo>
                      <a:lnTo>
                        <a:pt x="88" y="288"/>
                      </a:lnTo>
                      <a:lnTo>
                        <a:pt x="80" y="288"/>
                      </a:lnTo>
                      <a:lnTo>
                        <a:pt x="64" y="288"/>
                      </a:lnTo>
                      <a:lnTo>
                        <a:pt x="48" y="296"/>
                      </a:lnTo>
                      <a:lnTo>
                        <a:pt x="40" y="296"/>
                      </a:lnTo>
                      <a:lnTo>
                        <a:pt x="24" y="296"/>
                      </a:lnTo>
                      <a:lnTo>
                        <a:pt x="16" y="304"/>
                      </a:lnTo>
                      <a:lnTo>
                        <a:pt x="8" y="304"/>
                      </a:lnTo>
                      <a:lnTo>
                        <a:pt x="0" y="312"/>
                      </a:lnTo>
                      <a:lnTo>
                        <a:pt x="8" y="312"/>
                      </a:lnTo>
                      <a:lnTo>
                        <a:pt x="0" y="320"/>
                      </a:lnTo>
                      <a:lnTo>
                        <a:pt x="16" y="328"/>
                      </a:lnTo>
                      <a:lnTo>
                        <a:pt x="32" y="328"/>
                      </a:lnTo>
                      <a:lnTo>
                        <a:pt x="32" y="336"/>
                      </a:lnTo>
                      <a:lnTo>
                        <a:pt x="48" y="336"/>
                      </a:lnTo>
                      <a:lnTo>
                        <a:pt x="56" y="336"/>
                      </a:lnTo>
                      <a:lnTo>
                        <a:pt x="64" y="336"/>
                      </a:lnTo>
                      <a:lnTo>
                        <a:pt x="64" y="344"/>
                      </a:lnTo>
                      <a:lnTo>
                        <a:pt x="80" y="344"/>
                      </a:lnTo>
                      <a:lnTo>
                        <a:pt x="96" y="344"/>
                      </a:lnTo>
                      <a:lnTo>
                        <a:pt x="104" y="344"/>
                      </a:lnTo>
                      <a:lnTo>
                        <a:pt x="112" y="344"/>
                      </a:lnTo>
                      <a:lnTo>
                        <a:pt x="120" y="336"/>
                      </a:lnTo>
                      <a:lnTo>
                        <a:pt x="136" y="336"/>
                      </a:lnTo>
                      <a:lnTo>
                        <a:pt x="144" y="344"/>
                      </a:lnTo>
                      <a:lnTo>
                        <a:pt x="136" y="352"/>
                      </a:lnTo>
                      <a:lnTo>
                        <a:pt x="120" y="352"/>
                      </a:lnTo>
                      <a:lnTo>
                        <a:pt x="112" y="352"/>
                      </a:lnTo>
                      <a:lnTo>
                        <a:pt x="88" y="352"/>
                      </a:lnTo>
                      <a:lnTo>
                        <a:pt x="88" y="360"/>
                      </a:lnTo>
                      <a:lnTo>
                        <a:pt x="112" y="352"/>
                      </a:lnTo>
                      <a:lnTo>
                        <a:pt x="136" y="360"/>
                      </a:lnTo>
                      <a:lnTo>
                        <a:pt x="128" y="368"/>
                      </a:lnTo>
                      <a:lnTo>
                        <a:pt x="112" y="360"/>
                      </a:lnTo>
                      <a:lnTo>
                        <a:pt x="104" y="360"/>
                      </a:lnTo>
                      <a:lnTo>
                        <a:pt x="88" y="360"/>
                      </a:lnTo>
                      <a:lnTo>
                        <a:pt x="72" y="360"/>
                      </a:lnTo>
                      <a:lnTo>
                        <a:pt x="56" y="360"/>
                      </a:lnTo>
                      <a:lnTo>
                        <a:pt x="32" y="360"/>
                      </a:lnTo>
                      <a:lnTo>
                        <a:pt x="48" y="376"/>
                      </a:lnTo>
                      <a:lnTo>
                        <a:pt x="56" y="368"/>
                      </a:lnTo>
                      <a:lnTo>
                        <a:pt x="64" y="368"/>
                      </a:lnTo>
                      <a:lnTo>
                        <a:pt x="72" y="368"/>
                      </a:lnTo>
                      <a:lnTo>
                        <a:pt x="72" y="376"/>
                      </a:lnTo>
                      <a:lnTo>
                        <a:pt x="104" y="376"/>
                      </a:lnTo>
                      <a:lnTo>
                        <a:pt x="104" y="384"/>
                      </a:lnTo>
                      <a:lnTo>
                        <a:pt x="88" y="384"/>
                      </a:lnTo>
                      <a:lnTo>
                        <a:pt x="72" y="392"/>
                      </a:lnTo>
                      <a:lnTo>
                        <a:pt x="88" y="400"/>
                      </a:lnTo>
                      <a:lnTo>
                        <a:pt x="112" y="400"/>
                      </a:lnTo>
                      <a:lnTo>
                        <a:pt x="120" y="408"/>
                      </a:lnTo>
                      <a:lnTo>
                        <a:pt x="136" y="408"/>
                      </a:lnTo>
                      <a:lnTo>
                        <a:pt x="136" y="400"/>
                      </a:lnTo>
                      <a:lnTo>
                        <a:pt x="120" y="400"/>
                      </a:lnTo>
                      <a:lnTo>
                        <a:pt x="120" y="392"/>
                      </a:lnTo>
                      <a:lnTo>
                        <a:pt x="128" y="392"/>
                      </a:lnTo>
                      <a:lnTo>
                        <a:pt x="136" y="400"/>
                      </a:lnTo>
                      <a:lnTo>
                        <a:pt x="144" y="392"/>
                      </a:lnTo>
                      <a:lnTo>
                        <a:pt x="152" y="392"/>
                      </a:lnTo>
                      <a:lnTo>
                        <a:pt x="152" y="400"/>
                      </a:lnTo>
                      <a:lnTo>
                        <a:pt x="160" y="400"/>
                      </a:lnTo>
                      <a:lnTo>
                        <a:pt x="176" y="400"/>
                      </a:lnTo>
                      <a:lnTo>
                        <a:pt x="176" y="392"/>
                      </a:lnTo>
                      <a:lnTo>
                        <a:pt x="184" y="392"/>
                      </a:lnTo>
                      <a:lnTo>
                        <a:pt x="184" y="400"/>
                      </a:lnTo>
                      <a:lnTo>
                        <a:pt x="200" y="400"/>
                      </a:lnTo>
                      <a:lnTo>
                        <a:pt x="200" y="392"/>
                      </a:lnTo>
                      <a:lnTo>
                        <a:pt x="208" y="392"/>
                      </a:lnTo>
                      <a:lnTo>
                        <a:pt x="216" y="400"/>
                      </a:lnTo>
                      <a:lnTo>
                        <a:pt x="224" y="392"/>
                      </a:lnTo>
                      <a:lnTo>
                        <a:pt x="248" y="400"/>
                      </a:lnTo>
                      <a:lnTo>
                        <a:pt x="240" y="400"/>
                      </a:lnTo>
                      <a:lnTo>
                        <a:pt x="256" y="408"/>
                      </a:lnTo>
                      <a:lnTo>
                        <a:pt x="264" y="400"/>
                      </a:lnTo>
                      <a:lnTo>
                        <a:pt x="272" y="408"/>
                      </a:lnTo>
                      <a:lnTo>
                        <a:pt x="280" y="408"/>
                      </a:lnTo>
                      <a:lnTo>
                        <a:pt x="296" y="416"/>
                      </a:lnTo>
                      <a:lnTo>
                        <a:pt x="296" y="424"/>
                      </a:lnTo>
                      <a:lnTo>
                        <a:pt x="304" y="432"/>
                      </a:lnTo>
                      <a:lnTo>
                        <a:pt x="328" y="456"/>
                      </a:lnTo>
                      <a:lnTo>
                        <a:pt x="336" y="464"/>
                      </a:lnTo>
                      <a:lnTo>
                        <a:pt x="352" y="464"/>
                      </a:lnTo>
                      <a:lnTo>
                        <a:pt x="344" y="472"/>
                      </a:lnTo>
                      <a:lnTo>
                        <a:pt x="344" y="488"/>
                      </a:lnTo>
                      <a:lnTo>
                        <a:pt x="352" y="496"/>
                      </a:lnTo>
                      <a:lnTo>
                        <a:pt x="352" y="504"/>
                      </a:lnTo>
                      <a:lnTo>
                        <a:pt x="368" y="520"/>
                      </a:lnTo>
                      <a:lnTo>
                        <a:pt x="360" y="528"/>
                      </a:lnTo>
                      <a:lnTo>
                        <a:pt x="376" y="536"/>
                      </a:lnTo>
                      <a:lnTo>
                        <a:pt x="384" y="552"/>
                      </a:lnTo>
                      <a:lnTo>
                        <a:pt x="368" y="552"/>
                      </a:lnTo>
                      <a:lnTo>
                        <a:pt x="368" y="560"/>
                      </a:lnTo>
                      <a:lnTo>
                        <a:pt x="368" y="568"/>
                      </a:lnTo>
                      <a:lnTo>
                        <a:pt x="376" y="576"/>
                      </a:lnTo>
                      <a:lnTo>
                        <a:pt x="360" y="584"/>
                      </a:lnTo>
                      <a:lnTo>
                        <a:pt x="368" y="592"/>
                      </a:lnTo>
                      <a:lnTo>
                        <a:pt x="392" y="592"/>
                      </a:lnTo>
                      <a:lnTo>
                        <a:pt x="392" y="584"/>
                      </a:lnTo>
                      <a:lnTo>
                        <a:pt x="400" y="584"/>
                      </a:lnTo>
                      <a:lnTo>
                        <a:pt x="400" y="568"/>
                      </a:lnTo>
                      <a:lnTo>
                        <a:pt x="408" y="568"/>
                      </a:lnTo>
                      <a:lnTo>
                        <a:pt x="408" y="576"/>
                      </a:lnTo>
                      <a:lnTo>
                        <a:pt x="432" y="592"/>
                      </a:lnTo>
                      <a:lnTo>
                        <a:pt x="424" y="592"/>
                      </a:lnTo>
                      <a:lnTo>
                        <a:pt x="440" y="600"/>
                      </a:lnTo>
                      <a:lnTo>
                        <a:pt x="448" y="608"/>
                      </a:lnTo>
                      <a:lnTo>
                        <a:pt x="440" y="616"/>
                      </a:lnTo>
                      <a:lnTo>
                        <a:pt x="448" y="624"/>
                      </a:lnTo>
                      <a:lnTo>
                        <a:pt x="464" y="632"/>
                      </a:lnTo>
                      <a:lnTo>
                        <a:pt x="456" y="640"/>
                      </a:lnTo>
                      <a:lnTo>
                        <a:pt x="432" y="624"/>
                      </a:lnTo>
                      <a:lnTo>
                        <a:pt x="424" y="624"/>
                      </a:lnTo>
                      <a:lnTo>
                        <a:pt x="408" y="624"/>
                      </a:lnTo>
                      <a:lnTo>
                        <a:pt x="384" y="616"/>
                      </a:lnTo>
                      <a:lnTo>
                        <a:pt x="384" y="624"/>
                      </a:lnTo>
                      <a:lnTo>
                        <a:pt x="392" y="632"/>
                      </a:lnTo>
                      <a:lnTo>
                        <a:pt x="408" y="632"/>
                      </a:lnTo>
                      <a:lnTo>
                        <a:pt x="424" y="648"/>
                      </a:lnTo>
                      <a:lnTo>
                        <a:pt x="448" y="648"/>
                      </a:lnTo>
                      <a:lnTo>
                        <a:pt x="464" y="648"/>
                      </a:lnTo>
                      <a:lnTo>
                        <a:pt x="472" y="656"/>
                      </a:lnTo>
                      <a:lnTo>
                        <a:pt x="464" y="656"/>
                      </a:lnTo>
                      <a:lnTo>
                        <a:pt x="472" y="664"/>
                      </a:lnTo>
                      <a:lnTo>
                        <a:pt x="456" y="672"/>
                      </a:lnTo>
                      <a:lnTo>
                        <a:pt x="448" y="688"/>
                      </a:lnTo>
                      <a:lnTo>
                        <a:pt x="456" y="688"/>
                      </a:lnTo>
                      <a:lnTo>
                        <a:pt x="456" y="696"/>
                      </a:lnTo>
                      <a:lnTo>
                        <a:pt x="440" y="696"/>
                      </a:lnTo>
                      <a:lnTo>
                        <a:pt x="424" y="704"/>
                      </a:lnTo>
                      <a:lnTo>
                        <a:pt x="432" y="712"/>
                      </a:lnTo>
                      <a:lnTo>
                        <a:pt x="448" y="704"/>
                      </a:lnTo>
                      <a:lnTo>
                        <a:pt x="456" y="712"/>
                      </a:lnTo>
                      <a:lnTo>
                        <a:pt x="464" y="712"/>
                      </a:lnTo>
                      <a:lnTo>
                        <a:pt x="464" y="720"/>
                      </a:lnTo>
                      <a:lnTo>
                        <a:pt x="440" y="712"/>
                      </a:lnTo>
                      <a:lnTo>
                        <a:pt x="416" y="712"/>
                      </a:lnTo>
                      <a:lnTo>
                        <a:pt x="400" y="720"/>
                      </a:lnTo>
                      <a:lnTo>
                        <a:pt x="400" y="728"/>
                      </a:lnTo>
                      <a:lnTo>
                        <a:pt x="408" y="728"/>
                      </a:lnTo>
                      <a:lnTo>
                        <a:pt x="424" y="720"/>
                      </a:lnTo>
                      <a:lnTo>
                        <a:pt x="432" y="720"/>
                      </a:lnTo>
                      <a:lnTo>
                        <a:pt x="456" y="720"/>
                      </a:lnTo>
                      <a:lnTo>
                        <a:pt x="464" y="728"/>
                      </a:lnTo>
                      <a:lnTo>
                        <a:pt x="456" y="736"/>
                      </a:lnTo>
                      <a:lnTo>
                        <a:pt x="440" y="728"/>
                      </a:lnTo>
                      <a:lnTo>
                        <a:pt x="432" y="728"/>
                      </a:lnTo>
                      <a:lnTo>
                        <a:pt x="400" y="736"/>
                      </a:lnTo>
                      <a:lnTo>
                        <a:pt x="400" y="752"/>
                      </a:lnTo>
                      <a:lnTo>
                        <a:pt x="408" y="752"/>
                      </a:lnTo>
                      <a:lnTo>
                        <a:pt x="424" y="752"/>
                      </a:lnTo>
                      <a:lnTo>
                        <a:pt x="416" y="768"/>
                      </a:lnTo>
                      <a:lnTo>
                        <a:pt x="408" y="768"/>
                      </a:lnTo>
                      <a:lnTo>
                        <a:pt x="400" y="776"/>
                      </a:lnTo>
                      <a:lnTo>
                        <a:pt x="408" y="792"/>
                      </a:lnTo>
                      <a:lnTo>
                        <a:pt x="424" y="792"/>
                      </a:lnTo>
                      <a:lnTo>
                        <a:pt x="424" y="808"/>
                      </a:lnTo>
                      <a:lnTo>
                        <a:pt x="416" y="808"/>
                      </a:lnTo>
                      <a:lnTo>
                        <a:pt x="432" y="824"/>
                      </a:lnTo>
                      <a:lnTo>
                        <a:pt x="432" y="832"/>
                      </a:lnTo>
                      <a:lnTo>
                        <a:pt x="432" y="856"/>
                      </a:lnTo>
                      <a:lnTo>
                        <a:pt x="432" y="872"/>
                      </a:lnTo>
                      <a:lnTo>
                        <a:pt x="440" y="872"/>
                      </a:lnTo>
                      <a:lnTo>
                        <a:pt x="448" y="856"/>
                      </a:lnTo>
                      <a:lnTo>
                        <a:pt x="456" y="848"/>
                      </a:lnTo>
                      <a:lnTo>
                        <a:pt x="480" y="856"/>
                      </a:lnTo>
                      <a:lnTo>
                        <a:pt x="472" y="872"/>
                      </a:lnTo>
                      <a:lnTo>
                        <a:pt x="464" y="864"/>
                      </a:lnTo>
                      <a:lnTo>
                        <a:pt x="464" y="872"/>
                      </a:lnTo>
                      <a:lnTo>
                        <a:pt x="464" y="888"/>
                      </a:lnTo>
                      <a:lnTo>
                        <a:pt x="448" y="888"/>
                      </a:lnTo>
                      <a:lnTo>
                        <a:pt x="448" y="904"/>
                      </a:lnTo>
                      <a:lnTo>
                        <a:pt x="456" y="912"/>
                      </a:lnTo>
                      <a:lnTo>
                        <a:pt x="456" y="920"/>
                      </a:lnTo>
                      <a:lnTo>
                        <a:pt x="464" y="928"/>
                      </a:lnTo>
                      <a:lnTo>
                        <a:pt x="464" y="936"/>
                      </a:lnTo>
                      <a:lnTo>
                        <a:pt x="472" y="944"/>
                      </a:lnTo>
                      <a:lnTo>
                        <a:pt x="464" y="952"/>
                      </a:lnTo>
                      <a:lnTo>
                        <a:pt x="464" y="960"/>
                      </a:lnTo>
                      <a:lnTo>
                        <a:pt x="480" y="968"/>
                      </a:lnTo>
                      <a:lnTo>
                        <a:pt x="480" y="976"/>
                      </a:lnTo>
                      <a:lnTo>
                        <a:pt x="488" y="992"/>
                      </a:lnTo>
                      <a:lnTo>
                        <a:pt x="496" y="1000"/>
                      </a:lnTo>
                      <a:lnTo>
                        <a:pt x="504" y="1008"/>
                      </a:lnTo>
                      <a:lnTo>
                        <a:pt x="512" y="1016"/>
                      </a:lnTo>
                      <a:lnTo>
                        <a:pt x="512" y="1032"/>
                      </a:lnTo>
                      <a:lnTo>
                        <a:pt x="520" y="1032"/>
                      </a:lnTo>
                      <a:lnTo>
                        <a:pt x="528" y="1024"/>
                      </a:lnTo>
                      <a:lnTo>
                        <a:pt x="552" y="1016"/>
                      </a:lnTo>
                      <a:lnTo>
                        <a:pt x="560" y="1032"/>
                      </a:lnTo>
                      <a:lnTo>
                        <a:pt x="584" y="1040"/>
                      </a:lnTo>
                      <a:lnTo>
                        <a:pt x="584" y="1056"/>
                      </a:lnTo>
                      <a:lnTo>
                        <a:pt x="584" y="1064"/>
                      </a:lnTo>
                      <a:lnTo>
                        <a:pt x="600" y="1056"/>
                      </a:lnTo>
                      <a:lnTo>
                        <a:pt x="608" y="1064"/>
                      </a:lnTo>
                      <a:lnTo>
                        <a:pt x="616" y="1048"/>
                      </a:lnTo>
                      <a:lnTo>
                        <a:pt x="608" y="1040"/>
                      </a:lnTo>
                      <a:lnTo>
                        <a:pt x="616" y="1032"/>
                      </a:lnTo>
                      <a:lnTo>
                        <a:pt x="616" y="1024"/>
                      </a:lnTo>
                      <a:lnTo>
                        <a:pt x="624" y="1016"/>
                      </a:lnTo>
                      <a:lnTo>
                        <a:pt x="624" y="1008"/>
                      </a:lnTo>
                      <a:lnTo>
                        <a:pt x="632" y="1000"/>
                      </a:lnTo>
                      <a:lnTo>
                        <a:pt x="640" y="992"/>
                      </a:lnTo>
                      <a:lnTo>
                        <a:pt x="632" y="968"/>
                      </a:lnTo>
                      <a:lnTo>
                        <a:pt x="632" y="952"/>
                      </a:lnTo>
                      <a:lnTo>
                        <a:pt x="632" y="944"/>
                      </a:lnTo>
                      <a:lnTo>
                        <a:pt x="632" y="936"/>
                      </a:lnTo>
                      <a:lnTo>
                        <a:pt x="648" y="936"/>
                      </a:lnTo>
                      <a:lnTo>
                        <a:pt x="648" y="920"/>
                      </a:lnTo>
                      <a:lnTo>
                        <a:pt x="656" y="920"/>
                      </a:lnTo>
                      <a:lnTo>
                        <a:pt x="656" y="912"/>
                      </a:lnTo>
                      <a:lnTo>
                        <a:pt x="648" y="896"/>
                      </a:lnTo>
                      <a:lnTo>
                        <a:pt x="664" y="904"/>
                      </a:lnTo>
                      <a:lnTo>
                        <a:pt x="664" y="880"/>
                      </a:lnTo>
                      <a:lnTo>
                        <a:pt x="648" y="880"/>
                      </a:lnTo>
                      <a:lnTo>
                        <a:pt x="648" y="864"/>
                      </a:lnTo>
                      <a:lnTo>
                        <a:pt x="664" y="864"/>
                      </a:lnTo>
                      <a:lnTo>
                        <a:pt x="664" y="856"/>
                      </a:lnTo>
                      <a:lnTo>
                        <a:pt x="656" y="848"/>
                      </a:lnTo>
                      <a:lnTo>
                        <a:pt x="664" y="832"/>
                      </a:lnTo>
                      <a:lnTo>
                        <a:pt x="680" y="832"/>
                      </a:lnTo>
                      <a:lnTo>
                        <a:pt x="680" y="824"/>
                      </a:lnTo>
                      <a:lnTo>
                        <a:pt x="672" y="816"/>
                      </a:lnTo>
                      <a:lnTo>
                        <a:pt x="672" y="808"/>
                      </a:lnTo>
                      <a:lnTo>
                        <a:pt x="712" y="808"/>
                      </a:lnTo>
                      <a:lnTo>
                        <a:pt x="720" y="776"/>
                      </a:lnTo>
                      <a:lnTo>
                        <a:pt x="720" y="768"/>
                      </a:lnTo>
                      <a:lnTo>
                        <a:pt x="728" y="768"/>
                      </a:lnTo>
                      <a:lnTo>
                        <a:pt x="728" y="784"/>
                      </a:lnTo>
                      <a:lnTo>
                        <a:pt x="736" y="792"/>
                      </a:lnTo>
                      <a:lnTo>
                        <a:pt x="744" y="792"/>
                      </a:lnTo>
                      <a:lnTo>
                        <a:pt x="752" y="792"/>
                      </a:lnTo>
                      <a:lnTo>
                        <a:pt x="768" y="784"/>
                      </a:lnTo>
                      <a:lnTo>
                        <a:pt x="768" y="768"/>
                      </a:lnTo>
                      <a:lnTo>
                        <a:pt x="792" y="776"/>
                      </a:lnTo>
                      <a:lnTo>
                        <a:pt x="808" y="752"/>
                      </a:lnTo>
                      <a:lnTo>
                        <a:pt x="816" y="736"/>
                      </a:lnTo>
                      <a:lnTo>
                        <a:pt x="824" y="720"/>
                      </a:lnTo>
                      <a:lnTo>
                        <a:pt x="840" y="720"/>
                      </a:lnTo>
                      <a:lnTo>
                        <a:pt x="848" y="712"/>
                      </a:lnTo>
                      <a:lnTo>
                        <a:pt x="832" y="704"/>
                      </a:lnTo>
                      <a:lnTo>
                        <a:pt x="832" y="696"/>
                      </a:lnTo>
                      <a:lnTo>
                        <a:pt x="840" y="696"/>
                      </a:lnTo>
                      <a:lnTo>
                        <a:pt x="856" y="712"/>
                      </a:lnTo>
                      <a:lnTo>
                        <a:pt x="864" y="712"/>
                      </a:lnTo>
                      <a:lnTo>
                        <a:pt x="872" y="704"/>
                      </a:lnTo>
                      <a:lnTo>
                        <a:pt x="880" y="704"/>
                      </a:lnTo>
                      <a:lnTo>
                        <a:pt x="888" y="704"/>
                      </a:lnTo>
                      <a:lnTo>
                        <a:pt x="896" y="704"/>
                      </a:lnTo>
                      <a:lnTo>
                        <a:pt x="904" y="704"/>
                      </a:lnTo>
                      <a:lnTo>
                        <a:pt x="928" y="696"/>
                      </a:lnTo>
                      <a:lnTo>
                        <a:pt x="936" y="696"/>
                      </a:lnTo>
                      <a:lnTo>
                        <a:pt x="952" y="688"/>
                      </a:lnTo>
                      <a:lnTo>
                        <a:pt x="968" y="688"/>
                      </a:lnTo>
                      <a:lnTo>
                        <a:pt x="976" y="680"/>
                      </a:lnTo>
                      <a:lnTo>
                        <a:pt x="984" y="680"/>
                      </a:lnTo>
                      <a:lnTo>
                        <a:pt x="992" y="672"/>
                      </a:lnTo>
                      <a:lnTo>
                        <a:pt x="1000" y="672"/>
                      </a:lnTo>
                      <a:lnTo>
                        <a:pt x="1008" y="656"/>
                      </a:lnTo>
                      <a:lnTo>
                        <a:pt x="1016" y="65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35" name="Freeform 213">
                  <a:extLst>
                    <a:ext uri="{FF2B5EF4-FFF2-40B4-BE49-F238E27FC236}">
                      <a16:creationId xmlns:a16="http://schemas.microsoft.com/office/drawing/2014/main" id="{90700960-A464-A2FB-B124-61DC3F2F1180}"/>
                    </a:ext>
                  </a:extLst>
                </p:cNvPr>
                <p:cNvSpPr/>
                <p:nvPr/>
              </p:nvSpPr>
              <p:spPr bwMode="gray">
                <a:xfrm>
                  <a:off x="1967" y="1513"/>
                  <a:ext cx="40" cy="29"/>
                </a:xfrm>
                <a:custGeom>
                  <a:avLst/>
                  <a:gdLst>
                    <a:gd name="T0" fmla="*/ 0 w 56"/>
                    <a:gd name="T1" fmla="*/ 12 h 40"/>
                    <a:gd name="T2" fmla="*/ 6 w 56"/>
                    <a:gd name="T3" fmla="*/ 12 h 40"/>
                    <a:gd name="T4" fmla="*/ 11 w 56"/>
                    <a:gd name="T5" fmla="*/ 15 h 40"/>
                    <a:gd name="T6" fmla="*/ 15 w 56"/>
                    <a:gd name="T7" fmla="*/ 15 h 40"/>
                    <a:gd name="T8" fmla="*/ 21 w 56"/>
                    <a:gd name="T9" fmla="*/ 12 h 40"/>
                    <a:gd name="T10" fmla="*/ 21 w 56"/>
                    <a:gd name="T11" fmla="*/ 9 h 40"/>
                    <a:gd name="T12" fmla="*/ 15 w 56"/>
                    <a:gd name="T13" fmla="*/ 7 h 40"/>
                    <a:gd name="T14" fmla="*/ 9 w 56"/>
                    <a:gd name="T15" fmla="*/ 3 h 40"/>
                    <a:gd name="T16" fmla="*/ 3 w 56"/>
                    <a:gd name="T17" fmla="*/ 3 h 40"/>
                    <a:gd name="T18" fmla="*/ 3 w 56"/>
                    <a:gd name="T19" fmla="*/ 0 h 40"/>
                    <a:gd name="T20" fmla="*/ 0 w 56"/>
                    <a:gd name="T21" fmla="*/ 7 h 40"/>
                    <a:gd name="T22" fmla="*/ 0 w 56"/>
                    <a:gd name="T23" fmla="*/ 9 h 40"/>
                    <a:gd name="T24" fmla="*/ 0 w 56"/>
                    <a:gd name="T25" fmla="*/ 12 h 4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6"/>
                    <a:gd name="T40" fmla="*/ 0 h 40"/>
                    <a:gd name="T41" fmla="*/ 56 w 56"/>
                    <a:gd name="T42" fmla="*/ 40 h 4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6" h="40">
                      <a:moveTo>
                        <a:pt x="0" y="32"/>
                      </a:moveTo>
                      <a:lnTo>
                        <a:pt x="16" y="32"/>
                      </a:lnTo>
                      <a:lnTo>
                        <a:pt x="32" y="40"/>
                      </a:lnTo>
                      <a:lnTo>
                        <a:pt x="40" y="40"/>
                      </a:lnTo>
                      <a:lnTo>
                        <a:pt x="56" y="32"/>
                      </a:lnTo>
                      <a:lnTo>
                        <a:pt x="56" y="24"/>
                      </a:lnTo>
                      <a:lnTo>
                        <a:pt x="40" y="16"/>
                      </a:lnTo>
                      <a:lnTo>
                        <a:pt x="24" y="8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36" name="Freeform 214">
                  <a:extLst>
                    <a:ext uri="{FF2B5EF4-FFF2-40B4-BE49-F238E27FC236}">
                      <a16:creationId xmlns:a16="http://schemas.microsoft.com/office/drawing/2014/main" id="{85F52717-A5D3-DB49-C109-AEC55BD05F04}"/>
                    </a:ext>
                  </a:extLst>
                </p:cNvPr>
                <p:cNvSpPr/>
                <p:nvPr/>
              </p:nvSpPr>
              <p:spPr bwMode="gray">
                <a:xfrm>
                  <a:off x="2063" y="1120"/>
                  <a:ext cx="45" cy="28"/>
                </a:xfrm>
                <a:custGeom>
                  <a:avLst/>
                  <a:gdLst>
                    <a:gd name="T0" fmla="*/ 8 w 64"/>
                    <a:gd name="T1" fmla="*/ 0 h 40"/>
                    <a:gd name="T2" fmla="*/ 0 w 64"/>
                    <a:gd name="T3" fmla="*/ 0 h 40"/>
                    <a:gd name="T4" fmla="*/ 3 w 64"/>
                    <a:gd name="T5" fmla="*/ 6 h 40"/>
                    <a:gd name="T6" fmla="*/ 11 w 64"/>
                    <a:gd name="T7" fmla="*/ 10 h 40"/>
                    <a:gd name="T8" fmla="*/ 14 w 64"/>
                    <a:gd name="T9" fmla="*/ 10 h 40"/>
                    <a:gd name="T10" fmla="*/ 14 w 64"/>
                    <a:gd name="T11" fmla="*/ 14 h 40"/>
                    <a:gd name="T12" fmla="*/ 17 w 64"/>
                    <a:gd name="T13" fmla="*/ 14 h 40"/>
                    <a:gd name="T14" fmla="*/ 17 w 64"/>
                    <a:gd name="T15" fmla="*/ 8 h 40"/>
                    <a:gd name="T16" fmla="*/ 23 w 64"/>
                    <a:gd name="T17" fmla="*/ 8 h 40"/>
                    <a:gd name="T18" fmla="*/ 8 w 64"/>
                    <a:gd name="T19" fmla="*/ 0 h 4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4"/>
                    <a:gd name="T31" fmla="*/ 0 h 40"/>
                    <a:gd name="T32" fmla="*/ 64 w 64"/>
                    <a:gd name="T33" fmla="*/ 40 h 4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4" h="40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8" y="16"/>
                      </a:lnTo>
                      <a:lnTo>
                        <a:pt x="32" y="32"/>
                      </a:lnTo>
                      <a:lnTo>
                        <a:pt x="40" y="32"/>
                      </a:lnTo>
                      <a:lnTo>
                        <a:pt x="40" y="40"/>
                      </a:lnTo>
                      <a:lnTo>
                        <a:pt x="48" y="40"/>
                      </a:lnTo>
                      <a:lnTo>
                        <a:pt x="48" y="24"/>
                      </a:lnTo>
                      <a:lnTo>
                        <a:pt x="64" y="24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37" name="Freeform 215">
                  <a:extLst>
                    <a:ext uri="{FF2B5EF4-FFF2-40B4-BE49-F238E27FC236}">
                      <a16:creationId xmlns:a16="http://schemas.microsoft.com/office/drawing/2014/main" id="{61B1FC6C-4416-F67A-D3A4-8F400F2FC362}"/>
                    </a:ext>
                  </a:extLst>
                </p:cNvPr>
                <p:cNvSpPr/>
                <p:nvPr/>
              </p:nvSpPr>
              <p:spPr bwMode="gray">
                <a:xfrm>
                  <a:off x="2412" y="1446"/>
                  <a:ext cx="34" cy="22"/>
                </a:xfrm>
                <a:custGeom>
                  <a:avLst/>
                  <a:gdLst>
                    <a:gd name="T0" fmla="*/ 17 w 48"/>
                    <a:gd name="T1" fmla="*/ 6 h 32"/>
                    <a:gd name="T2" fmla="*/ 14 w 48"/>
                    <a:gd name="T3" fmla="*/ 3 h 32"/>
                    <a:gd name="T4" fmla="*/ 9 w 48"/>
                    <a:gd name="T5" fmla="*/ 0 h 32"/>
                    <a:gd name="T6" fmla="*/ 0 w 48"/>
                    <a:gd name="T7" fmla="*/ 0 h 32"/>
                    <a:gd name="T8" fmla="*/ 0 w 48"/>
                    <a:gd name="T9" fmla="*/ 3 h 32"/>
                    <a:gd name="T10" fmla="*/ 6 w 48"/>
                    <a:gd name="T11" fmla="*/ 8 h 32"/>
                    <a:gd name="T12" fmla="*/ 14 w 48"/>
                    <a:gd name="T13" fmla="*/ 10 h 32"/>
                    <a:gd name="T14" fmla="*/ 17 w 48"/>
                    <a:gd name="T15" fmla="*/ 8 h 32"/>
                    <a:gd name="T16" fmla="*/ 17 w 48"/>
                    <a:gd name="T17" fmla="*/ 8 h 32"/>
                    <a:gd name="T18" fmla="*/ 17 w 48"/>
                    <a:gd name="T19" fmla="*/ 6 h 3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8"/>
                    <a:gd name="T31" fmla="*/ 0 h 32"/>
                    <a:gd name="T32" fmla="*/ 48 w 48"/>
                    <a:gd name="T33" fmla="*/ 32 h 3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8" h="32">
                      <a:moveTo>
                        <a:pt x="48" y="16"/>
                      </a:moveTo>
                      <a:lnTo>
                        <a:pt x="40" y="8"/>
                      </a:lnTo>
                      <a:lnTo>
                        <a:pt x="24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16" y="24"/>
                      </a:lnTo>
                      <a:lnTo>
                        <a:pt x="40" y="32"/>
                      </a:lnTo>
                      <a:lnTo>
                        <a:pt x="48" y="24"/>
                      </a:lnTo>
                      <a:lnTo>
                        <a:pt x="48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38" name="Freeform 216">
                  <a:extLst>
                    <a:ext uri="{FF2B5EF4-FFF2-40B4-BE49-F238E27FC236}">
                      <a16:creationId xmlns:a16="http://schemas.microsoft.com/office/drawing/2014/main" id="{D644158F-51B4-E85A-4B28-E55389DFCE10}"/>
                    </a:ext>
                  </a:extLst>
                </p:cNvPr>
                <p:cNvSpPr/>
                <p:nvPr/>
              </p:nvSpPr>
              <p:spPr bwMode="gray">
                <a:xfrm>
                  <a:off x="2671" y="1857"/>
                  <a:ext cx="62" cy="101"/>
                </a:xfrm>
                <a:custGeom>
                  <a:avLst/>
                  <a:gdLst>
                    <a:gd name="T0" fmla="*/ 25 w 88"/>
                    <a:gd name="T1" fmla="*/ 33 h 144"/>
                    <a:gd name="T2" fmla="*/ 23 w 88"/>
                    <a:gd name="T3" fmla="*/ 33 h 144"/>
                    <a:gd name="T4" fmla="*/ 25 w 88"/>
                    <a:gd name="T5" fmla="*/ 30 h 144"/>
                    <a:gd name="T6" fmla="*/ 25 w 88"/>
                    <a:gd name="T7" fmla="*/ 25 h 144"/>
                    <a:gd name="T8" fmla="*/ 31 w 88"/>
                    <a:gd name="T9" fmla="*/ 14 h 144"/>
                    <a:gd name="T10" fmla="*/ 31 w 88"/>
                    <a:gd name="T11" fmla="*/ 11 h 144"/>
                    <a:gd name="T12" fmla="*/ 25 w 88"/>
                    <a:gd name="T13" fmla="*/ 11 h 144"/>
                    <a:gd name="T14" fmla="*/ 17 w 88"/>
                    <a:gd name="T15" fmla="*/ 11 h 144"/>
                    <a:gd name="T16" fmla="*/ 19 w 88"/>
                    <a:gd name="T17" fmla="*/ 6 h 144"/>
                    <a:gd name="T18" fmla="*/ 23 w 88"/>
                    <a:gd name="T19" fmla="*/ 3 h 144"/>
                    <a:gd name="T20" fmla="*/ 25 w 88"/>
                    <a:gd name="T21" fmla="*/ 0 h 144"/>
                    <a:gd name="T22" fmla="*/ 19 w 88"/>
                    <a:gd name="T23" fmla="*/ 0 h 144"/>
                    <a:gd name="T24" fmla="*/ 11 w 88"/>
                    <a:gd name="T25" fmla="*/ 0 h 144"/>
                    <a:gd name="T26" fmla="*/ 8 w 88"/>
                    <a:gd name="T27" fmla="*/ 3 h 144"/>
                    <a:gd name="T28" fmla="*/ 8 w 88"/>
                    <a:gd name="T29" fmla="*/ 8 h 144"/>
                    <a:gd name="T30" fmla="*/ 3 w 88"/>
                    <a:gd name="T31" fmla="*/ 11 h 144"/>
                    <a:gd name="T32" fmla="*/ 3 w 88"/>
                    <a:gd name="T33" fmla="*/ 14 h 144"/>
                    <a:gd name="T34" fmla="*/ 6 w 88"/>
                    <a:gd name="T35" fmla="*/ 17 h 144"/>
                    <a:gd name="T36" fmla="*/ 6 w 88"/>
                    <a:gd name="T37" fmla="*/ 19 h 144"/>
                    <a:gd name="T38" fmla="*/ 3 w 88"/>
                    <a:gd name="T39" fmla="*/ 22 h 144"/>
                    <a:gd name="T40" fmla="*/ 0 w 88"/>
                    <a:gd name="T41" fmla="*/ 25 h 144"/>
                    <a:gd name="T42" fmla="*/ 3 w 88"/>
                    <a:gd name="T43" fmla="*/ 30 h 144"/>
                    <a:gd name="T44" fmla="*/ 3 w 88"/>
                    <a:gd name="T45" fmla="*/ 27 h 144"/>
                    <a:gd name="T46" fmla="*/ 6 w 88"/>
                    <a:gd name="T47" fmla="*/ 25 h 144"/>
                    <a:gd name="T48" fmla="*/ 8 w 88"/>
                    <a:gd name="T49" fmla="*/ 25 h 144"/>
                    <a:gd name="T50" fmla="*/ 8 w 88"/>
                    <a:gd name="T51" fmla="*/ 27 h 144"/>
                    <a:gd name="T52" fmla="*/ 6 w 88"/>
                    <a:gd name="T53" fmla="*/ 30 h 144"/>
                    <a:gd name="T54" fmla="*/ 6 w 88"/>
                    <a:gd name="T55" fmla="*/ 33 h 144"/>
                    <a:gd name="T56" fmla="*/ 6 w 88"/>
                    <a:gd name="T57" fmla="*/ 39 h 144"/>
                    <a:gd name="T58" fmla="*/ 6 w 88"/>
                    <a:gd name="T59" fmla="*/ 41 h 144"/>
                    <a:gd name="T60" fmla="*/ 6 w 88"/>
                    <a:gd name="T61" fmla="*/ 39 h 144"/>
                    <a:gd name="T62" fmla="*/ 8 w 88"/>
                    <a:gd name="T63" fmla="*/ 36 h 144"/>
                    <a:gd name="T64" fmla="*/ 11 w 88"/>
                    <a:gd name="T65" fmla="*/ 33 h 144"/>
                    <a:gd name="T66" fmla="*/ 11 w 88"/>
                    <a:gd name="T67" fmla="*/ 36 h 144"/>
                    <a:gd name="T68" fmla="*/ 11 w 88"/>
                    <a:gd name="T69" fmla="*/ 39 h 144"/>
                    <a:gd name="T70" fmla="*/ 11 w 88"/>
                    <a:gd name="T71" fmla="*/ 41 h 144"/>
                    <a:gd name="T72" fmla="*/ 8 w 88"/>
                    <a:gd name="T73" fmla="*/ 44 h 144"/>
                    <a:gd name="T74" fmla="*/ 8 w 88"/>
                    <a:gd name="T75" fmla="*/ 50 h 144"/>
                    <a:gd name="T76" fmla="*/ 11 w 88"/>
                    <a:gd name="T77" fmla="*/ 50 h 144"/>
                    <a:gd name="T78" fmla="*/ 17 w 88"/>
                    <a:gd name="T79" fmla="*/ 50 h 144"/>
                    <a:gd name="T80" fmla="*/ 23 w 88"/>
                    <a:gd name="T81" fmla="*/ 47 h 144"/>
                    <a:gd name="T82" fmla="*/ 25 w 88"/>
                    <a:gd name="T83" fmla="*/ 33 h 144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88"/>
                    <a:gd name="T127" fmla="*/ 0 h 144"/>
                    <a:gd name="T128" fmla="*/ 88 w 88"/>
                    <a:gd name="T129" fmla="*/ 144 h 144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88" h="144">
                      <a:moveTo>
                        <a:pt x="72" y="96"/>
                      </a:moveTo>
                      <a:lnTo>
                        <a:pt x="64" y="96"/>
                      </a:lnTo>
                      <a:lnTo>
                        <a:pt x="72" y="88"/>
                      </a:lnTo>
                      <a:lnTo>
                        <a:pt x="72" y="72"/>
                      </a:lnTo>
                      <a:lnTo>
                        <a:pt x="88" y="40"/>
                      </a:lnTo>
                      <a:lnTo>
                        <a:pt x="88" y="32"/>
                      </a:lnTo>
                      <a:lnTo>
                        <a:pt x="72" y="32"/>
                      </a:lnTo>
                      <a:lnTo>
                        <a:pt x="48" y="32"/>
                      </a:lnTo>
                      <a:lnTo>
                        <a:pt x="56" y="16"/>
                      </a:lnTo>
                      <a:lnTo>
                        <a:pt x="64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8" y="32"/>
                      </a:lnTo>
                      <a:lnTo>
                        <a:pt x="8" y="40"/>
                      </a:lnTo>
                      <a:lnTo>
                        <a:pt x="16" y="48"/>
                      </a:lnTo>
                      <a:lnTo>
                        <a:pt x="16" y="56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88"/>
                      </a:lnTo>
                      <a:lnTo>
                        <a:pt x="8" y="80"/>
                      </a:lnTo>
                      <a:lnTo>
                        <a:pt x="16" y="72"/>
                      </a:lnTo>
                      <a:lnTo>
                        <a:pt x="24" y="72"/>
                      </a:lnTo>
                      <a:lnTo>
                        <a:pt x="24" y="80"/>
                      </a:lnTo>
                      <a:lnTo>
                        <a:pt x="16" y="88"/>
                      </a:lnTo>
                      <a:lnTo>
                        <a:pt x="16" y="96"/>
                      </a:lnTo>
                      <a:lnTo>
                        <a:pt x="16" y="112"/>
                      </a:lnTo>
                      <a:lnTo>
                        <a:pt x="16" y="120"/>
                      </a:lnTo>
                      <a:lnTo>
                        <a:pt x="16" y="112"/>
                      </a:lnTo>
                      <a:lnTo>
                        <a:pt x="24" y="104"/>
                      </a:lnTo>
                      <a:lnTo>
                        <a:pt x="32" y="96"/>
                      </a:lnTo>
                      <a:lnTo>
                        <a:pt x="32" y="104"/>
                      </a:lnTo>
                      <a:lnTo>
                        <a:pt x="32" y="112"/>
                      </a:lnTo>
                      <a:lnTo>
                        <a:pt x="32" y="120"/>
                      </a:lnTo>
                      <a:lnTo>
                        <a:pt x="24" y="128"/>
                      </a:lnTo>
                      <a:lnTo>
                        <a:pt x="24" y="144"/>
                      </a:lnTo>
                      <a:lnTo>
                        <a:pt x="32" y="144"/>
                      </a:lnTo>
                      <a:lnTo>
                        <a:pt x="48" y="144"/>
                      </a:lnTo>
                      <a:lnTo>
                        <a:pt x="64" y="136"/>
                      </a:lnTo>
                      <a:lnTo>
                        <a:pt x="72" y="9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39" name="Freeform 217">
                  <a:extLst>
                    <a:ext uri="{FF2B5EF4-FFF2-40B4-BE49-F238E27FC236}">
                      <a16:creationId xmlns:a16="http://schemas.microsoft.com/office/drawing/2014/main" id="{6FA57730-2C10-DE9E-FED6-F4FD1A690C52}"/>
                    </a:ext>
                  </a:extLst>
                </p:cNvPr>
                <p:cNvSpPr/>
                <p:nvPr/>
              </p:nvSpPr>
              <p:spPr bwMode="gray">
                <a:xfrm>
                  <a:off x="4742" y="1935"/>
                  <a:ext cx="11" cy="12"/>
                </a:xfrm>
                <a:custGeom>
                  <a:avLst/>
                  <a:gdLst>
                    <a:gd name="T0" fmla="*/ 0 w 16"/>
                    <a:gd name="T1" fmla="*/ 4 h 16"/>
                    <a:gd name="T2" fmla="*/ 3 w 16"/>
                    <a:gd name="T3" fmla="*/ 0 h 16"/>
                    <a:gd name="T4" fmla="*/ 6 w 16"/>
                    <a:gd name="T5" fmla="*/ 0 h 16"/>
                    <a:gd name="T6" fmla="*/ 6 w 16"/>
                    <a:gd name="T7" fmla="*/ 4 h 16"/>
                    <a:gd name="T8" fmla="*/ 3 w 16"/>
                    <a:gd name="T9" fmla="*/ 7 h 16"/>
                    <a:gd name="T10" fmla="*/ 0 w 16"/>
                    <a:gd name="T11" fmla="*/ 4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8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40" name="Freeform 218">
                  <a:extLst>
                    <a:ext uri="{FF2B5EF4-FFF2-40B4-BE49-F238E27FC236}">
                      <a16:creationId xmlns:a16="http://schemas.microsoft.com/office/drawing/2014/main" id="{8357352C-671D-476D-0A00-D9360F1950D3}"/>
                    </a:ext>
                  </a:extLst>
                </p:cNvPr>
                <p:cNvSpPr/>
                <p:nvPr/>
              </p:nvSpPr>
              <p:spPr bwMode="gray">
                <a:xfrm>
                  <a:off x="4730" y="1941"/>
                  <a:ext cx="12" cy="1"/>
                </a:xfrm>
                <a:custGeom>
                  <a:avLst/>
                  <a:gdLst>
                    <a:gd name="T0" fmla="*/ 7 w 16"/>
                    <a:gd name="T1" fmla="*/ 0 h 1"/>
                    <a:gd name="T2" fmla="*/ 4 w 16"/>
                    <a:gd name="T3" fmla="*/ 0 h 1"/>
                    <a:gd name="T4" fmla="*/ 0 w 16"/>
                    <a:gd name="T5" fmla="*/ 0 h 1"/>
                    <a:gd name="T6" fmla="*/ 4 w 16"/>
                    <a:gd name="T7" fmla="*/ 0 h 1"/>
                    <a:gd name="T8" fmla="*/ 7 w 16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"/>
                    <a:gd name="T17" fmla="*/ 16 w 16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">
                      <a:moveTo>
                        <a:pt x="16" y="0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41" name="Freeform 219">
                  <a:extLst>
                    <a:ext uri="{FF2B5EF4-FFF2-40B4-BE49-F238E27FC236}">
                      <a16:creationId xmlns:a16="http://schemas.microsoft.com/office/drawing/2014/main" id="{5FB00DC7-FD8E-1312-D4FB-853927A47570}"/>
                    </a:ext>
                  </a:extLst>
                </p:cNvPr>
                <p:cNvSpPr/>
                <p:nvPr/>
              </p:nvSpPr>
              <p:spPr bwMode="gray">
                <a:xfrm>
                  <a:off x="4803" y="1958"/>
                  <a:ext cx="46" cy="186"/>
                </a:xfrm>
                <a:custGeom>
                  <a:avLst/>
                  <a:gdLst>
                    <a:gd name="T0" fmla="*/ 9 w 64"/>
                    <a:gd name="T1" fmla="*/ 0 h 264"/>
                    <a:gd name="T2" fmla="*/ 6 w 64"/>
                    <a:gd name="T3" fmla="*/ 0 h 264"/>
                    <a:gd name="T4" fmla="*/ 6 w 64"/>
                    <a:gd name="T5" fmla="*/ 8 h 264"/>
                    <a:gd name="T6" fmla="*/ 3 w 64"/>
                    <a:gd name="T7" fmla="*/ 8 h 264"/>
                    <a:gd name="T8" fmla="*/ 0 w 64"/>
                    <a:gd name="T9" fmla="*/ 11 h 264"/>
                    <a:gd name="T10" fmla="*/ 3 w 64"/>
                    <a:gd name="T11" fmla="*/ 14 h 264"/>
                    <a:gd name="T12" fmla="*/ 0 w 64"/>
                    <a:gd name="T13" fmla="*/ 23 h 264"/>
                    <a:gd name="T14" fmla="*/ 3 w 64"/>
                    <a:gd name="T15" fmla="*/ 23 h 264"/>
                    <a:gd name="T16" fmla="*/ 0 w 64"/>
                    <a:gd name="T17" fmla="*/ 25 h 264"/>
                    <a:gd name="T18" fmla="*/ 3 w 64"/>
                    <a:gd name="T19" fmla="*/ 34 h 264"/>
                    <a:gd name="T20" fmla="*/ 3 w 64"/>
                    <a:gd name="T21" fmla="*/ 36 h 264"/>
                    <a:gd name="T22" fmla="*/ 3 w 64"/>
                    <a:gd name="T23" fmla="*/ 48 h 264"/>
                    <a:gd name="T24" fmla="*/ 6 w 64"/>
                    <a:gd name="T25" fmla="*/ 53 h 264"/>
                    <a:gd name="T26" fmla="*/ 3 w 64"/>
                    <a:gd name="T27" fmla="*/ 58 h 264"/>
                    <a:gd name="T28" fmla="*/ 3 w 64"/>
                    <a:gd name="T29" fmla="*/ 65 h 264"/>
                    <a:gd name="T30" fmla="*/ 3 w 64"/>
                    <a:gd name="T31" fmla="*/ 70 h 264"/>
                    <a:gd name="T32" fmla="*/ 3 w 64"/>
                    <a:gd name="T33" fmla="*/ 75 h 264"/>
                    <a:gd name="T34" fmla="*/ 3 w 64"/>
                    <a:gd name="T35" fmla="*/ 81 h 264"/>
                    <a:gd name="T36" fmla="*/ 3 w 64"/>
                    <a:gd name="T37" fmla="*/ 92 h 264"/>
                    <a:gd name="T38" fmla="*/ 3 w 64"/>
                    <a:gd name="T39" fmla="*/ 89 h 264"/>
                    <a:gd name="T40" fmla="*/ 6 w 64"/>
                    <a:gd name="T41" fmla="*/ 87 h 264"/>
                    <a:gd name="T42" fmla="*/ 9 w 64"/>
                    <a:gd name="T43" fmla="*/ 87 h 264"/>
                    <a:gd name="T44" fmla="*/ 12 w 64"/>
                    <a:gd name="T45" fmla="*/ 89 h 264"/>
                    <a:gd name="T46" fmla="*/ 15 w 64"/>
                    <a:gd name="T47" fmla="*/ 89 h 264"/>
                    <a:gd name="T48" fmla="*/ 15 w 64"/>
                    <a:gd name="T49" fmla="*/ 84 h 264"/>
                    <a:gd name="T50" fmla="*/ 12 w 64"/>
                    <a:gd name="T51" fmla="*/ 81 h 264"/>
                    <a:gd name="T52" fmla="*/ 9 w 64"/>
                    <a:gd name="T53" fmla="*/ 78 h 264"/>
                    <a:gd name="T54" fmla="*/ 9 w 64"/>
                    <a:gd name="T55" fmla="*/ 70 h 264"/>
                    <a:gd name="T56" fmla="*/ 9 w 64"/>
                    <a:gd name="T57" fmla="*/ 67 h 264"/>
                    <a:gd name="T58" fmla="*/ 12 w 64"/>
                    <a:gd name="T59" fmla="*/ 65 h 264"/>
                    <a:gd name="T60" fmla="*/ 12 w 64"/>
                    <a:gd name="T61" fmla="*/ 56 h 264"/>
                    <a:gd name="T62" fmla="*/ 18 w 64"/>
                    <a:gd name="T63" fmla="*/ 56 h 264"/>
                    <a:gd name="T64" fmla="*/ 21 w 64"/>
                    <a:gd name="T65" fmla="*/ 61 h 264"/>
                    <a:gd name="T66" fmla="*/ 24 w 64"/>
                    <a:gd name="T67" fmla="*/ 61 h 264"/>
                    <a:gd name="T68" fmla="*/ 24 w 64"/>
                    <a:gd name="T69" fmla="*/ 56 h 264"/>
                    <a:gd name="T70" fmla="*/ 18 w 64"/>
                    <a:gd name="T71" fmla="*/ 53 h 264"/>
                    <a:gd name="T72" fmla="*/ 18 w 64"/>
                    <a:gd name="T73" fmla="*/ 44 h 264"/>
                    <a:gd name="T74" fmla="*/ 15 w 64"/>
                    <a:gd name="T75" fmla="*/ 36 h 264"/>
                    <a:gd name="T76" fmla="*/ 12 w 64"/>
                    <a:gd name="T77" fmla="*/ 25 h 264"/>
                    <a:gd name="T78" fmla="*/ 12 w 64"/>
                    <a:gd name="T79" fmla="*/ 17 h 264"/>
                    <a:gd name="T80" fmla="*/ 12 w 64"/>
                    <a:gd name="T81" fmla="*/ 11 h 264"/>
                    <a:gd name="T82" fmla="*/ 12 w 64"/>
                    <a:gd name="T83" fmla="*/ 3 h 264"/>
                    <a:gd name="T84" fmla="*/ 9 w 64"/>
                    <a:gd name="T85" fmla="*/ 0 h 264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64"/>
                    <a:gd name="T130" fmla="*/ 0 h 264"/>
                    <a:gd name="T131" fmla="*/ 64 w 64"/>
                    <a:gd name="T132" fmla="*/ 264 h 264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64" h="264">
                      <a:moveTo>
                        <a:pt x="24" y="0"/>
                      </a:moveTo>
                      <a:lnTo>
                        <a:pt x="16" y="0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8" y="40"/>
                      </a:lnTo>
                      <a:lnTo>
                        <a:pt x="0" y="64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96"/>
                      </a:lnTo>
                      <a:lnTo>
                        <a:pt x="8" y="104"/>
                      </a:lnTo>
                      <a:lnTo>
                        <a:pt x="8" y="136"/>
                      </a:lnTo>
                      <a:lnTo>
                        <a:pt x="16" y="152"/>
                      </a:lnTo>
                      <a:lnTo>
                        <a:pt x="8" y="168"/>
                      </a:lnTo>
                      <a:lnTo>
                        <a:pt x="8" y="184"/>
                      </a:lnTo>
                      <a:lnTo>
                        <a:pt x="8" y="200"/>
                      </a:lnTo>
                      <a:lnTo>
                        <a:pt x="8" y="216"/>
                      </a:lnTo>
                      <a:lnTo>
                        <a:pt x="8" y="232"/>
                      </a:lnTo>
                      <a:lnTo>
                        <a:pt x="8" y="264"/>
                      </a:lnTo>
                      <a:lnTo>
                        <a:pt x="8" y="256"/>
                      </a:lnTo>
                      <a:lnTo>
                        <a:pt x="16" y="248"/>
                      </a:lnTo>
                      <a:lnTo>
                        <a:pt x="24" y="248"/>
                      </a:lnTo>
                      <a:lnTo>
                        <a:pt x="32" y="256"/>
                      </a:lnTo>
                      <a:lnTo>
                        <a:pt x="40" y="256"/>
                      </a:lnTo>
                      <a:lnTo>
                        <a:pt x="40" y="240"/>
                      </a:lnTo>
                      <a:lnTo>
                        <a:pt x="32" y="232"/>
                      </a:lnTo>
                      <a:lnTo>
                        <a:pt x="24" y="224"/>
                      </a:lnTo>
                      <a:lnTo>
                        <a:pt x="24" y="200"/>
                      </a:lnTo>
                      <a:lnTo>
                        <a:pt x="24" y="192"/>
                      </a:lnTo>
                      <a:lnTo>
                        <a:pt x="32" y="184"/>
                      </a:lnTo>
                      <a:lnTo>
                        <a:pt x="32" y="160"/>
                      </a:lnTo>
                      <a:lnTo>
                        <a:pt x="48" y="160"/>
                      </a:lnTo>
                      <a:lnTo>
                        <a:pt x="56" y="176"/>
                      </a:lnTo>
                      <a:lnTo>
                        <a:pt x="64" y="176"/>
                      </a:lnTo>
                      <a:lnTo>
                        <a:pt x="64" y="160"/>
                      </a:lnTo>
                      <a:lnTo>
                        <a:pt x="48" y="152"/>
                      </a:lnTo>
                      <a:lnTo>
                        <a:pt x="48" y="128"/>
                      </a:lnTo>
                      <a:lnTo>
                        <a:pt x="40" y="104"/>
                      </a:lnTo>
                      <a:lnTo>
                        <a:pt x="32" y="72"/>
                      </a:lnTo>
                      <a:lnTo>
                        <a:pt x="32" y="48"/>
                      </a:lnTo>
                      <a:lnTo>
                        <a:pt x="32" y="32"/>
                      </a:lnTo>
                      <a:lnTo>
                        <a:pt x="32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42" name="Freeform 220">
                  <a:extLst>
                    <a:ext uri="{FF2B5EF4-FFF2-40B4-BE49-F238E27FC236}">
                      <a16:creationId xmlns:a16="http://schemas.microsoft.com/office/drawing/2014/main" id="{D86F72CF-C101-6412-E7C3-F26C429E18B5}"/>
                    </a:ext>
                  </a:extLst>
                </p:cNvPr>
                <p:cNvSpPr/>
                <p:nvPr/>
              </p:nvSpPr>
              <p:spPr bwMode="gray">
                <a:xfrm>
                  <a:off x="4742" y="1935"/>
                  <a:ext cx="11" cy="12"/>
                </a:xfrm>
                <a:custGeom>
                  <a:avLst/>
                  <a:gdLst>
                    <a:gd name="T0" fmla="*/ 3 w 16"/>
                    <a:gd name="T1" fmla="*/ 0 h 16"/>
                    <a:gd name="T2" fmla="*/ 0 w 16"/>
                    <a:gd name="T3" fmla="*/ 4 h 16"/>
                    <a:gd name="T4" fmla="*/ 3 w 16"/>
                    <a:gd name="T5" fmla="*/ 7 h 16"/>
                    <a:gd name="T6" fmla="*/ 6 w 16"/>
                    <a:gd name="T7" fmla="*/ 4 h 16"/>
                    <a:gd name="T8" fmla="*/ 6 w 16"/>
                    <a:gd name="T9" fmla="*/ 0 h 16"/>
                    <a:gd name="T10" fmla="*/ 3 w 16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8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43" name="Freeform 221">
                  <a:extLst>
                    <a:ext uri="{FF2B5EF4-FFF2-40B4-BE49-F238E27FC236}">
                      <a16:creationId xmlns:a16="http://schemas.microsoft.com/office/drawing/2014/main" id="{7A58F1D4-FBD6-2DEA-EF0D-D81569A1653E}"/>
                    </a:ext>
                  </a:extLst>
                </p:cNvPr>
                <p:cNvSpPr/>
                <p:nvPr/>
              </p:nvSpPr>
              <p:spPr bwMode="gray">
                <a:xfrm>
                  <a:off x="5332" y="1474"/>
                  <a:ext cx="57" cy="23"/>
                </a:xfrm>
                <a:custGeom>
                  <a:avLst/>
                  <a:gdLst>
                    <a:gd name="T0" fmla="*/ 3 w 80"/>
                    <a:gd name="T1" fmla="*/ 0 h 32"/>
                    <a:gd name="T2" fmla="*/ 9 w 80"/>
                    <a:gd name="T3" fmla="*/ 3 h 32"/>
                    <a:gd name="T4" fmla="*/ 17 w 80"/>
                    <a:gd name="T5" fmla="*/ 3 h 32"/>
                    <a:gd name="T6" fmla="*/ 24 w 80"/>
                    <a:gd name="T7" fmla="*/ 3 h 32"/>
                    <a:gd name="T8" fmla="*/ 26 w 80"/>
                    <a:gd name="T9" fmla="*/ 3 h 32"/>
                    <a:gd name="T10" fmla="*/ 29 w 80"/>
                    <a:gd name="T11" fmla="*/ 3 h 32"/>
                    <a:gd name="T12" fmla="*/ 29 w 80"/>
                    <a:gd name="T13" fmla="*/ 6 h 32"/>
                    <a:gd name="T14" fmla="*/ 29 w 80"/>
                    <a:gd name="T15" fmla="*/ 9 h 32"/>
                    <a:gd name="T16" fmla="*/ 24 w 80"/>
                    <a:gd name="T17" fmla="*/ 12 h 32"/>
                    <a:gd name="T18" fmla="*/ 11 w 80"/>
                    <a:gd name="T19" fmla="*/ 9 h 32"/>
                    <a:gd name="T20" fmla="*/ 6 w 80"/>
                    <a:gd name="T21" fmla="*/ 9 h 32"/>
                    <a:gd name="T22" fmla="*/ 0 w 80"/>
                    <a:gd name="T23" fmla="*/ 3 h 32"/>
                    <a:gd name="T24" fmla="*/ 3 w 80"/>
                    <a:gd name="T25" fmla="*/ 0 h 3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0"/>
                    <a:gd name="T40" fmla="*/ 0 h 32"/>
                    <a:gd name="T41" fmla="*/ 80 w 80"/>
                    <a:gd name="T42" fmla="*/ 32 h 3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0" h="32">
                      <a:moveTo>
                        <a:pt x="8" y="0"/>
                      </a:moveTo>
                      <a:lnTo>
                        <a:pt x="24" y="8"/>
                      </a:lnTo>
                      <a:lnTo>
                        <a:pt x="48" y="8"/>
                      </a:lnTo>
                      <a:lnTo>
                        <a:pt x="64" y="8"/>
                      </a:lnTo>
                      <a:lnTo>
                        <a:pt x="72" y="8"/>
                      </a:lnTo>
                      <a:lnTo>
                        <a:pt x="80" y="8"/>
                      </a:lnTo>
                      <a:lnTo>
                        <a:pt x="80" y="16"/>
                      </a:lnTo>
                      <a:lnTo>
                        <a:pt x="80" y="24"/>
                      </a:lnTo>
                      <a:lnTo>
                        <a:pt x="64" y="32"/>
                      </a:lnTo>
                      <a:lnTo>
                        <a:pt x="32" y="24"/>
                      </a:lnTo>
                      <a:lnTo>
                        <a:pt x="16" y="24"/>
                      </a:lnTo>
                      <a:lnTo>
                        <a:pt x="0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44" name="Freeform 222">
                  <a:extLst>
                    <a:ext uri="{FF2B5EF4-FFF2-40B4-BE49-F238E27FC236}">
                      <a16:creationId xmlns:a16="http://schemas.microsoft.com/office/drawing/2014/main" id="{65C28996-12DA-9F1A-2B32-4CE689D490C5}"/>
                    </a:ext>
                  </a:extLst>
                </p:cNvPr>
                <p:cNvSpPr/>
                <p:nvPr/>
              </p:nvSpPr>
              <p:spPr bwMode="gray">
                <a:xfrm>
                  <a:off x="4787" y="1412"/>
                  <a:ext cx="45" cy="17"/>
                </a:xfrm>
                <a:custGeom>
                  <a:avLst/>
                  <a:gdLst>
                    <a:gd name="T0" fmla="*/ 6 w 64"/>
                    <a:gd name="T1" fmla="*/ 0 h 24"/>
                    <a:gd name="T2" fmla="*/ 14 w 64"/>
                    <a:gd name="T3" fmla="*/ 0 h 24"/>
                    <a:gd name="T4" fmla="*/ 19 w 64"/>
                    <a:gd name="T5" fmla="*/ 3 h 24"/>
                    <a:gd name="T6" fmla="*/ 23 w 64"/>
                    <a:gd name="T7" fmla="*/ 6 h 24"/>
                    <a:gd name="T8" fmla="*/ 23 w 64"/>
                    <a:gd name="T9" fmla="*/ 9 h 24"/>
                    <a:gd name="T10" fmla="*/ 11 w 64"/>
                    <a:gd name="T11" fmla="*/ 9 h 24"/>
                    <a:gd name="T12" fmla="*/ 6 w 64"/>
                    <a:gd name="T13" fmla="*/ 9 h 24"/>
                    <a:gd name="T14" fmla="*/ 6 w 64"/>
                    <a:gd name="T15" fmla="*/ 6 h 24"/>
                    <a:gd name="T16" fmla="*/ 0 w 64"/>
                    <a:gd name="T17" fmla="*/ 6 h 24"/>
                    <a:gd name="T18" fmla="*/ 3 w 64"/>
                    <a:gd name="T19" fmla="*/ 3 h 24"/>
                    <a:gd name="T20" fmla="*/ 6 w 64"/>
                    <a:gd name="T21" fmla="*/ 0 h 2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4"/>
                    <a:gd name="T34" fmla="*/ 0 h 24"/>
                    <a:gd name="T35" fmla="*/ 64 w 64"/>
                    <a:gd name="T36" fmla="*/ 24 h 2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4" h="24">
                      <a:moveTo>
                        <a:pt x="16" y="0"/>
                      </a:moveTo>
                      <a:lnTo>
                        <a:pt x="40" y="0"/>
                      </a:lnTo>
                      <a:lnTo>
                        <a:pt x="56" y="8"/>
                      </a:lnTo>
                      <a:lnTo>
                        <a:pt x="64" y="16"/>
                      </a:lnTo>
                      <a:lnTo>
                        <a:pt x="64" y="24"/>
                      </a:lnTo>
                      <a:lnTo>
                        <a:pt x="32" y="24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45" name="Freeform 223">
                  <a:extLst>
                    <a:ext uri="{FF2B5EF4-FFF2-40B4-BE49-F238E27FC236}">
                      <a16:creationId xmlns:a16="http://schemas.microsoft.com/office/drawing/2014/main" id="{D2572630-EEE9-9CB7-B47E-F22242995F29}"/>
                    </a:ext>
                  </a:extLst>
                </p:cNvPr>
                <p:cNvSpPr/>
                <p:nvPr/>
              </p:nvSpPr>
              <p:spPr bwMode="gray">
                <a:xfrm>
                  <a:off x="4730" y="1345"/>
                  <a:ext cx="124" cy="45"/>
                </a:xfrm>
                <a:custGeom>
                  <a:avLst/>
                  <a:gdLst>
                    <a:gd name="T0" fmla="*/ 14 w 176"/>
                    <a:gd name="T1" fmla="*/ 0 h 64"/>
                    <a:gd name="T2" fmla="*/ 8 w 176"/>
                    <a:gd name="T3" fmla="*/ 3 h 64"/>
                    <a:gd name="T4" fmla="*/ 6 w 176"/>
                    <a:gd name="T5" fmla="*/ 3 h 64"/>
                    <a:gd name="T6" fmla="*/ 6 w 176"/>
                    <a:gd name="T7" fmla="*/ 6 h 64"/>
                    <a:gd name="T8" fmla="*/ 3 w 176"/>
                    <a:gd name="T9" fmla="*/ 6 h 64"/>
                    <a:gd name="T10" fmla="*/ 3 w 176"/>
                    <a:gd name="T11" fmla="*/ 11 h 64"/>
                    <a:gd name="T12" fmla="*/ 0 w 176"/>
                    <a:gd name="T13" fmla="*/ 11 h 64"/>
                    <a:gd name="T14" fmla="*/ 6 w 176"/>
                    <a:gd name="T15" fmla="*/ 17 h 64"/>
                    <a:gd name="T16" fmla="*/ 8 w 176"/>
                    <a:gd name="T17" fmla="*/ 17 h 64"/>
                    <a:gd name="T18" fmla="*/ 8 w 176"/>
                    <a:gd name="T19" fmla="*/ 19 h 64"/>
                    <a:gd name="T20" fmla="*/ 19 w 176"/>
                    <a:gd name="T21" fmla="*/ 23 h 64"/>
                    <a:gd name="T22" fmla="*/ 19 w 176"/>
                    <a:gd name="T23" fmla="*/ 19 h 64"/>
                    <a:gd name="T24" fmla="*/ 19 w 176"/>
                    <a:gd name="T25" fmla="*/ 17 h 64"/>
                    <a:gd name="T26" fmla="*/ 23 w 176"/>
                    <a:gd name="T27" fmla="*/ 17 h 64"/>
                    <a:gd name="T28" fmla="*/ 25 w 176"/>
                    <a:gd name="T29" fmla="*/ 17 h 64"/>
                    <a:gd name="T30" fmla="*/ 31 w 176"/>
                    <a:gd name="T31" fmla="*/ 17 h 64"/>
                    <a:gd name="T32" fmla="*/ 36 w 176"/>
                    <a:gd name="T33" fmla="*/ 14 h 64"/>
                    <a:gd name="T34" fmla="*/ 39 w 176"/>
                    <a:gd name="T35" fmla="*/ 14 h 64"/>
                    <a:gd name="T36" fmla="*/ 39 w 176"/>
                    <a:gd name="T37" fmla="*/ 17 h 64"/>
                    <a:gd name="T38" fmla="*/ 44 w 176"/>
                    <a:gd name="T39" fmla="*/ 19 h 64"/>
                    <a:gd name="T40" fmla="*/ 50 w 176"/>
                    <a:gd name="T41" fmla="*/ 17 h 64"/>
                    <a:gd name="T42" fmla="*/ 44 w 176"/>
                    <a:gd name="T43" fmla="*/ 14 h 64"/>
                    <a:gd name="T44" fmla="*/ 39 w 176"/>
                    <a:gd name="T45" fmla="*/ 14 h 64"/>
                    <a:gd name="T46" fmla="*/ 39 w 176"/>
                    <a:gd name="T47" fmla="*/ 8 h 64"/>
                    <a:gd name="T48" fmla="*/ 42 w 176"/>
                    <a:gd name="T49" fmla="*/ 6 h 64"/>
                    <a:gd name="T50" fmla="*/ 44 w 176"/>
                    <a:gd name="T51" fmla="*/ 6 h 64"/>
                    <a:gd name="T52" fmla="*/ 44 w 176"/>
                    <a:gd name="T53" fmla="*/ 8 h 64"/>
                    <a:gd name="T54" fmla="*/ 42 w 176"/>
                    <a:gd name="T55" fmla="*/ 8 h 64"/>
                    <a:gd name="T56" fmla="*/ 42 w 176"/>
                    <a:gd name="T57" fmla="*/ 11 h 64"/>
                    <a:gd name="T58" fmla="*/ 48 w 176"/>
                    <a:gd name="T59" fmla="*/ 14 h 64"/>
                    <a:gd name="T60" fmla="*/ 50 w 176"/>
                    <a:gd name="T61" fmla="*/ 14 h 64"/>
                    <a:gd name="T62" fmla="*/ 53 w 176"/>
                    <a:gd name="T63" fmla="*/ 14 h 64"/>
                    <a:gd name="T64" fmla="*/ 58 w 176"/>
                    <a:gd name="T65" fmla="*/ 11 h 64"/>
                    <a:gd name="T66" fmla="*/ 56 w 176"/>
                    <a:gd name="T67" fmla="*/ 8 h 64"/>
                    <a:gd name="T68" fmla="*/ 61 w 176"/>
                    <a:gd name="T69" fmla="*/ 8 h 64"/>
                    <a:gd name="T70" fmla="*/ 61 w 176"/>
                    <a:gd name="T71" fmla="*/ 6 h 64"/>
                    <a:gd name="T72" fmla="*/ 56 w 176"/>
                    <a:gd name="T73" fmla="*/ 6 h 64"/>
                    <a:gd name="T74" fmla="*/ 50 w 176"/>
                    <a:gd name="T75" fmla="*/ 3 h 64"/>
                    <a:gd name="T76" fmla="*/ 48 w 176"/>
                    <a:gd name="T77" fmla="*/ 6 h 64"/>
                    <a:gd name="T78" fmla="*/ 42 w 176"/>
                    <a:gd name="T79" fmla="*/ 6 h 64"/>
                    <a:gd name="T80" fmla="*/ 39 w 176"/>
                    <a:gd name="T81" fmla="*/ 3 h 64"/>
                    <a:gd name="T82" fmla="*/ 39 w 176"/>
                    <a:gd name="T83" fmla="*/ 0 h 64"/>
                    <a:gd name="T84" fmla="*/ 36 w 176"/>
                    <a:gd name="T85" fmla="*/ 0 h 64"/>
                    <a:gd name="T86" fmla="*/ 34 w 176"/>
                    <a:gd name="T87" fmla="*/ 0 h 64"/>
                    <a:gd name="T88" fmla="*/ 31 w 176"/>
                    <a:gd name="T89" fmla="*/ 3 h 64"/>
                    <a:gd name="T90" fmla="*/ 31 w 176"/>
                    <a:gd name="T91" fmla="*/ 8 h 64"/>
                    <a:gd name="T92" fmla="*/ 27 w 176"/>
                    <a:gd name="T93" fmla="*/ 8 h 64"/>
                    <a:gd name="T94" fmla="*/ 25 w 176"/>
                    <a:gd name="T95" fmla="*/ 6 h 64"/>
                    <a:gd name="T96" fmla="*/ 19 w 176"/>
                    <a:gd name="T97" fmla="*/ 6 h 64"/>
                    <a:gd name="T98" fmla="*/ 19 w 176"/>
                    <a:gd name="T99" fmla="*/ 3 h 64"/>
                    <a:gd name="T100" fmla="*/ 23 w 176"/>
                    <a:gd name="T101" fmla="*/ 3 h 64"/>
                    <a:gd name="T102" fmla="*/ 14 w 176"/>
                    <a:gd name="T103" fmla="*/ 0 h 6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76"/>
                    <a:gd name="T157" fmla="*/ 0 h 64"/>
                    <a:gd name="T158" fmla="*/ 176 w 176"/>
                    <a:gd name="T159" fmla="*/ 64 h 6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76" h="64">
                      <a:moveTo>
                        <a:pt x="40" y="0"/>
                      </a:moveTo>
                      <a:lnTo>
                        <a:pt x="24" y="8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16" y="48"/>
                      </a:lnTo>
                      <a:lnTo>
                        <a:pt x="24" y="48"/>
                      </a:lnTo>
                      <a:lnTo>
                        <a:pt x="24" y="56"/>
                      </a:lnTo>
                      <a:lnTo>
                        <a:pt x="56" y="64"/>
                      </a:lnTo>
                      <a:lnTo>
                        <a:pt x="56" y="56"/>
                      </a:lnTo>
                      <a:lnTo>
                        <a:pt x="56" y="48"/>
                      </a:lnTo>
                      <a:lnTo>
                        <a:pt x="64" y="48"/>
                      </a:lnTo>
                      <a:lnTo>
                        <a:pt x="72" y="48"/>
                      </a:lnTo>
                      <a:lnTo>
                        <a:pt x="88" y="48"/>
                      </a:lnTo>
                      <a:lnTo>
                        <a:pt x="104" y="40"/>
                      </a:lnTo>
                      <a:lnTo>
                        <a:pt x="112" y="40"/>
                      </a:lnTo>
                      <a:lnTo>
                        <a:pt x="112" y="48"/>
                      </a:lnTo>
                      <a:lnTo>
                        <a:pt x="128" y="56"/>
                      </a:lnTo>
                      <a:lnTo>
                        <a:pt x="144" y="48"/>
                      </a:lnTo>
                      <a:lnTo>
                        <a:pt x="128" y="40"/>
                      </a:lnTo>
                      <a:lnTo>
                        <a:pt x="112" y="40"/>
                      </a:lnTo>
                      <a:lnTo>
                        <a:pt x="112" y="24"/>
                      </a:lnTo>
                      <a:lnTo>
                        <a:pt x="120" y="16"/>
                      </a:lnTo>
                      <a:lnTo>
                        <a:pt x="128" y="16"/>
                      </a:lnTo>
                      <a:lnTo>
                        <a:pt x="128" y="24"/>
                      </a:lnTo>
                      <a:lnTo>
                        <a:pt x="120" y="24"/>
                      </a:lnTo>
                      <a:lnTo>
                        <a:pt x="120" y="32"/>
                      </a:lnTo>
                      <a:lnTo>
                        <a:pt x="136" y="40"/>
                      </a:lnTo>
                      <a:lnTo>
                        <a:pt x="144" y="40"/>
                      </a:lnTo>
                      <a:lnTo>
                        <a:pt x="152" y="40"/>
                      </a:lnTo>
                      <a:lnTo>
                        <a:pt x="168" y="32"/>
                      </a:lnTo>
                      <a:lnTo>
                        <a:pt x="160" y="24"/>
                      </a:lnTo>
                      <a:lnTo>
                        <a:pt x="176" y="24"/>
                      </a:lnTo>
                      <a:lnTo>
                        <a:pt x="176" y="16"/>
                      </a:lnTo>
                      <a:lnTo>
                        <a:pt x="160" y="16"/>
                      </a:lnTo>
                      <a:lnTo>
                        <a:pt x="144" y="8"/>
                      </a:lnTo>
                      <a:lnTo>
                        <a:pt x="136" y="16"/>
                      </a:lnTo>
                      <a:lnTo>
                        <a:pt x="120" y="16"/>
                      </a:lnTo>
                      <a:lnTo>
                        <a:pt x="112" y="8"/>
                      </a:lnTo>
                      <a:lnTo>
                        <a:pt x="112" y="0"/>
                      </a:lnTo>
                      <a:lnTo>
                        <a:pt x="104" y="0"/>
                      </a:lnTo>
                      <a:lnTo>
                        <a:pt x="96" y="0"/>
                      </a:lnTo>
                      <a:lnTo>
                        <a:pt x="88" y="8"/>
                      </a:lnTo>
                      <a:lnTo>
                        <a:pt x="88" y="24"/>
                      </a:lnTo>
                      <a:lnTo>
                        <a:pt x="80" y="24"/>
                      </a:lnTo>
                      <a:lnTo>
                        <a:pt x="72" y="16"/>
                      </a:lnTo>
                      <a:lnTo>
                        <a:pt x="56" y="16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4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46" name="Freeform 224">
                  <a:extLst>
                    <a:ext uri="{FF2B5EF4-FFF2-40B4-BE49-F238E27FC236}">
                      <a16:creationId xmlns:a16="http://schemas.microsoft.com/office/drawing/2014/main" id="{5A902DDB-7BD4-2013-7513-C915B758106D}"/>
                    </a:ext>
                  </a:extLst>
                </p:cNvPr>
                <p:cNvSpPr/>
                <p:nvPr/>
              </p:nvSpPr>
              <p:spPr bwMode="gray">
                <a:xfrm>
                  <a:off x="4871" y="1362"/>
                  <a:ext cx="68" cy="22"/>
                </a:xfrm>
                <a:custGeom>
                  <a:avLst/>
                  <a:gdLst>
                    <a:gd name="T0" fmla="*/ 0 w 96"/>
                    <a:gd name="T1" fmla="*/ 0 h 32"/>
                    <a:gd name="T2" fmla="*/ 3 w 96"/>
                    <a:gd name="T3" fmla="*/ 0 h 32"/>
                    <a:gd name="T4" fmla="*/ 6 w 96"/>
                    <a:gd name="T5" fmla="*/ 0 h 32"/>
                    <a:gd name="T6" fmla="*/ 17 w 96"/>
                    <a:gd name="T7" fmla="*/ 0 h 32"/>
                    <a:gd name="T8" fmla="*/ 17 w 96"/>
                    <a:gd name="T9" fmla="*/ 3 h 32"/>
                    <a:gd name="T10" fmla="*/ 26 w 96"/>
                    <a:gd name="T11" fmla="*/ 3 h 32"/>
                    <a:gd name="T12" fmla="*/ 31 w 96"/>
                    <a:gd name="T13" fmla="*/ 6 h 32"/>
                    <a:gd name="T14" fmla="*/ 34 w 96"/>
                    <a:gd name="T15" fmla="*/ 6 h 32"/>
                    <a:gd name="T16" fmla="*/ 31 w 96"/>
                    <a:gd name="T17" fmla="*/ 8 h 32"/>
                    <a:gd name="T18" fmla="*/ 26 w 96"/>
                    <a:gd name="T19" fmla="*/ 10 h 32"/>
                    <a:gd name="T20" fmla="*/ 17 w 96"/>
                    <a:gd name="T21" fmla="*/ 10 h 32"/>
                    <a:gd name="T22" fmla="*/ 11 w 96"/>
                    <a:gd name="T23" fmla="*/ 6 h 32"/>
                    <a:gd name="T24" fmla="*/ 6 w 96"/>
                    <a:gd name="T25" fmla="*/ 6 h 32"/>
                    <a:gd name="T26" fmla="*/ 6 w 96"/>
                    <a:gd name="T27" fmla="*/ 3 h 32"/>
                    <a:gd name="T28" fmla="*/ 3 w 96"/>
                    <a:gd name="T29" fmla="*/ 0 h 32"/>
                    <a:gd name="T30" fmla="*/ 0 w 96"/>
                    <a:gd name="T31" fmla="*/ 0 h 3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6"/>
                    <a:gd name="T49" fmla="*/ 0 h 32"/>
                    <a:gd name="T50" fmla="*/ 96 w 96"/>
                    <a:gd name="T51" fmla="*/ 32 h 3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6" h="32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48" y="0"/>
                      </a:lnTo>
                      <a:lnTo>
                        <a:pt x="48" y="8"/>
                      </a:lnTo>
                      <a:lnTo>
                        <a:pt x="72" y="8"/>
                      </a:lnTo>
                      <a:lnTo>
                        <a:pt x="88" y="16"/>
                      </a:lnTo>
                      <a:lnTo>
                        <a:pt x="96" y="16"/>
                      </a:lnTo>
                      <a:lnTo>
                        <a:pt x="88" y="24"/>
                      </a:lnTo>
                      <a:lnTo>
                        <a:pt x="72" y="32"/>
                      </a:lnTo>
                      <a:lnTo>
                        <a:pt x="48" y="32"/>
                      </a:lnTo>
                      <a:lnTo>
                        <a:pt x="32" y="16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47" name="Freeform 225">
                  <a:extLst>
                    <a:ext uri="{FF2B5EF4-FFF2-40B4-BE49-F238E27FC236}">
                      <a16:creationId xmlns:a16="http://schemas.microsoft.com/office/drawing/2014/main" id="{F1908070-68E1-0F7A-0426-B837B4DF600C}"/>
                    </a:ext>
                  </a:extLst>
                </p:cNvPr>
                <p:cNvSpPr/>
                <p:nvPr/>
              </p:nvSpPr>
              <p:spPr bwMode="gray">
                <a:xfrm>
                  <a:off x="4190" y="1249"/>
                  <a:ext cx="85" cy="51"/>
                </a:xfrm>
                <a:custGeom>
                  <a:avLst/>
                  <a:gdLst>
                    <a:gd name="T0" fmla="*/ 43 w 120"/>
                    <a:gd name="T1" fmla="*/ 17 h 72"/>
                    <a:gd name="T2" fmla="*/ 43 w 120"/>
                    <a:gd name="T3" fmla="*/ 14 h 72"/>
                    <a:gd name="T4" fmla="*/ 40 w 120"/>
                    <a:gd name="T5" fmla="*/ 11 h 72"/>
                    <a:gd name="T6" fmla="*/ 40 w 120"/>
                    <a:gd name="T7" fmla="*/ 8 h 72"/>
                    <a:gd name="T8" fmla="*/ 34 w 120"/>
                    <a:gd name="T9" fmla="*/ 6 h 72"/>
                    <a:gd name="T10" fmla="*/ 34 w 120"/>
                    <a:gd name="T11" fmla="*/ 3 h 72"/>
                    <a:gd name="T12" fmla="*/ 31 w 120"/>
                    <a:gd name="T13" fmla="*/ 3 h 72"/>
                    <a:gd name="T14" fmla="*/ 28 w 120"/>
                    <a:gd name="T15" fmla="*/ 6 h 72"/>
                    <a:gd name="T16" fmla="*/ 26 w 120"/>
                    <a:gd name="T17" fmla="*/ 6 h 72"/>
                    <a:gd name="T18" fmla="*/ 26 w 120"/>
                    <a:gd name="T19" fmla="*/ 3 h 72"/>
                    <a:gd name="T20" fmla="*/ 28 w 120"/>
                    <a:gd name="T21" fmla="*/ 3 h 72"/>
                    <a:gd name="T22" fmla="*/ 28 w 120"/>
                    <a:gd name="T23" fmla="*/ 0 h 72"/>
                    <a:gd name="T24" fmla="*/ 23 w 120"/>
                    <a:gd name="T25" fmla="*/ 0 h 72"/>
                    <a:gd name="T26" fmla="*/ 23 w 120"/>
                    <a:gd name="T27" fmla="*/ 3 h 72"/>
                    <a:gd name="T28" fmla="*/ 20 w 120"/>
                    <a:gd name="T29" fmla="*/ 3 h 72"/>
                    <a:gd name="T30" fmla="*/ 20 w 120"/>
                    <a:gd name="T31" fmla="*/ 0 h 72"/>
                    <a:gd name="T32" fmla="*/ 17 w 120"/>
                    <a:gd name="T33" fmla="*/ 0 h 72"/>
                    <a:gd name="T34" fmla="*/ 17 w 120"/>
                    <a:gd name="T35" fmla="*/ 3 h 72"/>
                    <a:gd name="T36" fmla="*/ 14 w 120"/>
                    <a:gd name="T37" fmla="*/ 3 h 72"/>
                    <a:gd name="T38" fmla="*/ 11 w 120"/>
                    <a:gd name="T39" fmla="*/ 6 h 72"/>
                    <a:gd name="T40" fmla="*/ 14 w 120"/>
                    <a:gd name="T41" fmla="*/ 6 h 72"/>
                    <a:gd name="T42" fmla="*/ 11 w 120"/>
                    <a:gd name="T43" fmla="*/ 8 h 72"/>
                    <a:gd name="T44" fmla="*/ 11 w 120"/>
                    <a:gd name="T45" fmla="*/ 11 h 72"/>
                    <a:gd name="T46" fmla="*/ 6 w 120"/>
                    <a:gd name="T47" fmla="*/ 11 h 72"/>
                    <a:gd name="T48" fmla="*/ 6 w 120"/>
                    <a:gd name="T49" fmla="*/ 14 h 72"/>
                    <a:gd name="T50" fmla="*/ 6 w 120"/>
                    <a:gd name="T51" fmla="*/ 17 h 72"/>
                    <a:gd name="T52" fmla="*/ 0 w 120"/>
                    <a:gd name="T53" fmla="*/ 20 h 72"/>
                    <a:gd name="T54" fmla="*/ 0 w 120"/>
                    <a:gd name="T55" fmla="*/ 23 h 72"/>
                    <a:gd name="T56" fmla="*/ 3 w 120"/>
                    <a:gd name="T57" fmla="*/ 26 h 72"/>
                    <a:gd name="T58" fmla="*/ 9 w 120"/>
                    <a:gd name="T59" fmla="*/ 23 h 72"/>
                    <a:gd name="T60" fmla="*/ 14 w 120"/>
                    <a:gd name="T61" fmla="*/ 20 h 72"/>
                    <a:gd name="T62" fmla="*/ 20 w 120"/>
                    <a:gd name="T63" fmla="*/ 20 h 72"/>
                    <a:gd name="T64" fmla="*/ 23 w 120"/>
                    <a:gd name="T65" fmla="*/ 20 h 72"/>
                    <a:gd name="T66" fmla="*/ 26 w 120"/>
                    <a:gd name="T67" fmla="*/ 23 h 72"/>
                    <a:gd name="T68" fmla="*/ 28 w 120"/>
                    <a:gd name="T69" fmla="*/ 20 h 72"/>
                    <a:gd name="T70" fmla="*/ 34 w 120"/>
                    <a:gd name="T71" fmla="*/ 20 h 72"/>
                    <a:gd name="T72" fmla="*/ 43 w 120"/>
                    <a:gd name="T73" fmla="*/ 17 h 7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20"/>
                    <a:gd name="T112" fmla="*/ 0 h 72"/>
                    <a:gd name="T113" fmla="*/ 120 w 120"/>
                    <a:gd name="T114" fmla="*/ 72 h 7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20" h="72">
                      <a:moveTo>
                        <a:pt x="120" y="48"/>
                      </a:moveTo>
                      <a:lnTo>
                        <a:pt x="120" y="40"/>
                      </a:lnTo>
                      <a:lnTo>
                        <a:pt x="112" y="32"/>
                      </a:lnTo>
                      <a:lnTo>
                        <a:pt x="112" y="24"/>
                      </a:lnTo>
                      <a:lnTo>
                        <a:pt x="96" y="16"/>
                      </a:lnTo>
                      <a:lnTo>
                        <a:pt x="96" y="8"/>
                      </a:lnTo>
                      <a:lnTo>
                        <a:pt x="88" y="8"/>
                      </a:lnTo>
                      <a:lnTo>
                        <a:pt x="80" y="16"/>
                      </a:lnTo>
                      <a:lnTo>
                        <a:pt x="72" y="16"/>
                      </a:lnTo>
                      <a:lnTo>
                        <a:pt x="72" y="8"/>
                      </a:lnTo>
                      <a:lnTo>
                        <a:pt x="80" y="8"/>
                      </a:lnTo>
                      <a:lnTo>
                        <a:pt x="80" y="0"/>
                      </a:lnTo>
                      <a:lnTo>
                        <a:pt x="64" y="0"/>
                      </a:lnTo>
                      <a:lnTo>
                        <a:pt x="64" y="8"/>
                      </a:lnTo>
                      <a:lnTo>
                        <a:pt x="56" y="8"/>
                      </a:lnTo>
                      <a:lnTo>
                        <a:pt x="56" y="0"/>
                      </a:lnTo>
                      <a:lnTo>
                        <a:pt x="48" y="0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32" y="16"/>
                      </a:lnTo>
                      <a:lnTo>
                        <a:pt x="40" y="16"/>
                      </a:lnTo>
                      <a:lnTo>
                        <a:pt x="32" y="24"/>
                      </a:lnTo>
                      <a:lnTo>
                        <a:pt x="32" y="32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16" y="48"/>
                      </a:lnTo>
                      <a:lnTo>
                        <a:pt x="0" y="56"/>
                      </a:lnTo>
                      <a:lnTo>
                        <a:pt x="0" y="64"/>
                      </a:lnTo>
                      <a:lnTo>
                        <a:pt x="8" y="72"/>
                      </a:lnTo>
                      <a:lnTo>
                        <a:pt x="24" y="64"/>
                      </a:lnTo>
                      <a:lnTo>
                        <a:pt x="40" y="56"/>
                      </a:lnTo>
                      <a:lnTo>
                        <a:pt x="56" y="56"/>
                      </a:lnTo>
                      <a:lnTo>
                        <a:pt x="64" y="56"/>
                      </a:lnTo>
                      <a:lnTo>
                        <a:pt x="72" y="64"/>
                      </a:lnTo>
                      <a:lnTo>
                        <a:pt x="80" y="56"/>
                      </a:lnTo>
                      <a:lnTo>
                        <a:pt x="96" y="56"/>
                      </a:lnTo>
                      <a:lnTo>
                        <a:pt x="120" y="4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48" name="Freeform 226">
                  <a:extLst>
                    <a:ext uri="{FF2B5EF4-FFF2-40B4-BE49-F238E27FC236}">
                      <a16:creationId xmlns:a16="http://schemas.microsoft.com/office/drawing/2014/main" id="{99EC9914-2D4A-509B-579D-50DDCD5D3C52}"/>
                    </a:ext>
                  </a:extLst>
                </p:cNvPr>
                <p:cNvSpPr/>
                <p:nvPr/>
              </p:nvSpPr>
              <p:spPr bwMode="gray">
                <a:xfrm>
                  <a:off x="4100" y="1221"/>
                  <a:ext cx="101" cy="51"/>
                </a:xfrm>
                <a:custGeom>
                  <a:avLst/>
                  <a:gdLst>
                    <a:gd name="T0" fmla="*/ 41 w 144"/>
                    <a:gd name="T1" fmla="*/ 3 h 72"/>
                    <a:gd name="T2" fmla="*/ 44 w 144"/>
                    <a:gd name="T3" fmla="*/ 3 h 72"/>
                    <a:gd name="T4" fmla="*/ 50 w 144"/>
                    <a:gd name="T5" fmla="*/ 8 h 72"/>
                    <a:gd name="T6" fmla="*/ 47 w 144"/>
                    <a:gd name="T7" fmla="*/ 14 h 72"/>
                    <a:gd name="T8" fmla="*/ 44 w 144"/>
                    <a:gd name="T9" fmla="*/ 17 h 72"/>
                    <a:gd name="T10" fmla="*/ 41 w 144"/>
                    <a:gd name="T11" fmla="*/ 17 h 72"/>
                    <a:gd name="T12" fmla="*/ 47 w 144"/>
                    <a:gd name="T13" fmla="*/ 23 h 72"/>
                    <a:gd name="T14" fmla="*/ 33 w 144"/>
                    <a:gd name="T15" fmla="*/ 26 h 72"/>
                    <a:gd name="T16" fmla="*/ 30 w 144"/>
                    <a:gd name="T17" fmla="*/ 26 h 72"/>
                    <a:gd name="T18" fmla="*/ 30 w 144"/>
                    <a:gd name="T19" fmla="*/ 23 h 72"/>
                    <a:gd name="T20" fmla="*/ 17 w 144"/>
                    <a:gd name="T21" fmla="*/ 20 h 72"/>
                    <a:gd name="T22" fmla="*/ 14 w 144"/>
                    <a:gd name="T23" fmla="*/ 20 h 72"/>
                    <a:gd name="T24" fmla="*/ 8 w 144"/>
                    <a:gd name="T25" fmla="*/ 20 h 72"/>
                    <a:gd name="T26" fmla="*/ 8 w 144"/>
                    <a:gd name="T27" fmla="*/ 17 h 72"/>
                    <a:gd name="T28" fmla="*/ 8 w 144"/>
                    <a:gd name="T29" fmla="*/ 14 h 72"/>
                    <a:gd name="T30" fmla="*/ 6 w 144"/>
                    <a:gd name="T31" fmla="*/ 14 h 72"/>
                    <a:gd name="T32" fmla="*/ 0 w 144"/>
                    <a:gd name="T33" fmla="*/ 11 h 72"/>
                    <a:gd name="T34" fmla="*/ 3 w 144"/>
                    <a:gd name="T35" fmla="*/ 11 h 72"/>
                    <a:gd name="T36" fmla="*/ 6 w 144"/>
                    <a:gd name="T37" fmla="*/ 8 h 72"/>
                    <a:gd name="T38" fmla="*/ 8 w 144"/>
                    <a:gd name="T39" fmla="*/ 8 h 72"/>
                    <a:gd name="T40" fmla="*/ 8 w 144"/>
                    <a:gd name="T41" fmla="*/ 6 h 72"/>
                    <a:gd name="T42" fmla="*/ 11 w 144"/>
                    <a:gd name="T43" fmla="*/ 3 h 72"/>
                    <a:gd name="T44" fmla="*/ 14 w 144"/>
                    <a:gd name="T45" fmla="*/ 3 h 72"/>
                    <a:gd name="T46" fmla="*/ 22 w 144"/>
                    <a:gd name="T47" fmla="*/ 3 h 72"/>
                    <a:gd name="T48" fmla="*/ 30 w 144"/>
                    <a:gd name="T49" fmla="*/ 0 h 72"/>
                    <a:gd name="T50" fmla="*/ 36 w 144"/>
                    <a:gd name="T51" fmla="*/ 3 h 72"/>
                    <a:gd name="T52" fmla="*/ 30 w 144"/>
                    <a:gd name="T53" fmla="*/ 6 h 72"/>
                    <a:gd name="T54" fmla="*/ 33 w 144"/>
                    <a:gd name="T55" fmla="*/ 6 h 72"/>
                    <a:gd name="T56" fmla="*/ 36 w 144"/>
                    <a:gd name="T57" fmla="*/ 6 h 72"/>
                    <a:gd name="T58" fmla="*/ 41 w 144"/>
                    <a:gd name="T59" fmla="*/ 3 h 7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44"/>
                    <a:gd name="T91" fmla="*/ 0 h 72"/>
                    <a:gd name="T92" fmla="*/ 144 w 144"/>
                    <a:gd name="T93" fmla="*/ 72 h 72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44" h="72">
                      <a:moveTo>
                        <a:pt x="120" y="8"/>
                      </a:moveTo>
                      <a:lnTo>
                        <a:pt x="128" y="8"/>
                      </a:lnTo>
                      <a:lnTo>
                        <a:pt x="144" y="24"/>
                      </a:lnTo>
                      <a:lnTo>
                        <a:pt x="136" y="40"/>
                      </a:lnTo>
                      <a:lnTo>
                        <a:pt x="128" y="48"/>
                      </a:lnTo>
                      <a:lnTo>
                        <a:pt x="120" y="48"/>
                      </a:lnTo>
                      <a:lnTo>
                        <a:pt x="136" y="64"/>
                      </a:lnTo>
                      <a:lnTo>
                        <a:pt x="96" y="72"/>
                      </a:lnTo>
                      <a:lnTo>
                        <a:pt x="88" y="72"/>
                      </a:lnTo>
                      <a:lnTo>
                        <a:pt x="88" y="64"/>
                      </a:lnTo>
                      <a:lnTo>
                        <a:pt x="48" y="56"/>
                      </a:lnTo>
                      <a:lnTo>
                        <a:pt x="40" y="56"/>
                      </a:lnTo>
                      <a:lnTo>
                        <a:pt x="24" y="56"/>
                      </a:lnTo>
                      <a:lnTo>
                        <a:pt x="24" y="48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0" y="32"/>
                      </a:lnTo>
                      <a:lnTo>
                        <a:pt x="8" y="32"/>
                      </a:ln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24" y="16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64" y="8"/>
                      </a:lnTo>
                      <a:lnTo>
                        <a:pt x="88" y="0"/>
                      </a:lnTo>
                      <a:lnTo>
                        <a:pt x="104" y="8"/>
                      </a:lnTo>
                      <a:lnTo>
                        <a:pt x="88" y="16"/>
                      </a:lnTo>
                      <a:lnTo>
                        <a:pt x="96" y="16"/>
                      </a:lnTo>
                      <a:lnTo>
                        <a:pt x="104" y="16"/>
                      </a:lnTo>
                      <a:lnTo>
                        <a:pt x="12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49" name="Freeform 227">
                  <a:extLst>
                    <a:ext uri="{FF2B5EF4-FFF2-40B4-BE49-F238E27FC236}">
                      <a16:creationId xmlns:a16="http://schemas.microsoft.com/office/drawing/2014/main" id="{E7756105-6625-D6B1-A4D9-756E7D4455A6}"/>
                    </a:ext>
                  </a:extLst>
                </p:cNvPr>
                <p:cNvSpPr/>
                <p:nvPr/>
              </p:nvSpPr>
              <p:spPr bwMode="gray">
                <a:xfrm>
                  <a:off x="4072" y="1182"/>
                  <a:ext cx="96" cy="45"/>
                </a:xfrm>
                <a:custGeom>
                  <a:avLst/>
                  <a:gdLst>
                    <a:gd name="T0" fmla="*/ 48 w 136"/>
                    <a:gd name="T1" fmla="*/ 11 h 64"/>
                    <a:gd name="T2" fmla="*/ 42 w 136"/>
                    <a:gd name="T3" fmla="*/ 14 h 64"/>
                    <a:gd name="T4" fmla="*/ 42 w 136"/>
                    <a:gd name="T5" fmla="*/ 17 h 64"/>
                    <a:gd name="T6" fmla="*/ 45 w 136"/>
                    <a:gd name="T7" fmla="*/ 19 h 64"/>
                    <a:gd name="T8" fmla="*/ 31 w 136"/>
                    <a:gd name="T9" fmla="*/ 19 h 64"/>
                    <a:gd name="T10" fmla="*/ 25 w 136"/>
                    <a:gd name="T11" fmla="*/ 19 h 64"/>
                    <a:gd name="T12" fmla="*/ 23 w 136"/>
                    <a:gd name="T13" fmla="*/ 23 h 64"/>
                    <a:gd name="T14" fmla="*/ 14 w 136"/>
                    <a:gd name="T15" fmla="*/ 23 h 64"/>
                    <a:gd name="T16" fmla="*/ 8 w 136"/>
                    <a:gd name="T17" fmla="*/ 19 h 64"/>
                    <a:gd name="T18" fmla="*/ 3 w 136"/>
                    <a:gd name="T19" fmla="*/ 19 h 64"/>
                    <a:gd name="T20" fmla="*/ 0 w 136"/>
                    <a:gd name="T21" fmla="*/ 17 h 64"/>
                    <a:gd name="T22" fmla="*/ 3 w 136"/>
                    <a:gd name="T23" fmla="*/ 14 h 64"/>
                    <a:gd name="T24" fmla="*/ 8 w 136"/>
                    <a:gd name="T25" fmla="*/ 14 h 64"/>
                    <a:gd name="T26" fmla="*/ 11 w 136"/>
                    <a:gd name="T27" fmla="*/ 14 h 64"/>
                    <a:gd name="T28" fmla="*/ 8 w 136"/>
                    <a:gd name="T29" fmla="*/ 11 h 64"/>
                    <a:gd name="T30" fmla="*/ 14 w 136"/>
                    <a:gd name="T31" fmla="*/ 8 h 64"/>
                    <a:gd name="T32" fmla="*/ 28 w 136"/>
                    <a:gd name="T33" fmla="*/ 3 h 64"/>
                    <a:gd name="T34" fmla="*/ 28 w 136"/>
                    <a:gd name="T35" fmla="*/ 0 h 64"/>
                    <a:gd name="T36" fmla="*/ 34 w 136"/>
                    <a:gd name="T37" fmla="*/ 0 h 64"/>
                    <a:gd name="T38" fmla="*/ 37 w 136"/>
                    <a:gd name="T39" fmla="*/ 3 h 64"/>
                    <a:gd name="T40" fmla="*/ 40 w 136"/>
                    <a:gd name="T41" fmla="*/ 6 h 64"/>
                    <a:gd name="T42" fmla="*/ 48 w 136"/>
                    <a:gd name="T43" fmla="*/ 8 h 64"/>
                    <a:gd name="T44" fmla="*/ 48 w 136"/>
                    <a:gd name="T45" fmla="*/ 11 h 6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36"/>
                    <a:gd name="T70" fmla="*/ 0 h 64"/>
                    <a:gd name="T71" fmla="*/ 136 w 136"/>
                    <a:gd name="T72" fmla="*/ 64 h 6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36" h="64">
                      <a:moveTo>
                        <a:pt x="136" y="32"/>
                      </a:moveTo>
                      <a:lnTo>
                        <a:pt x="120" y="40"/>
                      </a:lnTo>
                      <a:lnTo>
                        <a:pt x="120" y="48"/>
                      </a:lnTo>
                      <a:lnTo>
                        <a:pt x="128" y="56"/>
                      </a:lnTo>
                      <a:lnTo>
                        <a:pt x="88" y="56"/>
                      </a:lnTo>
                      <a:lnTo>
                        <a:pt x="72" y="56"/>
                      </a:lnTo>
                      <a:lnTo>
                        <a:pt x="64" y="64"/>
                      </a:lnTo>
                      <a:lnTo>
                        <a:pt x="40" y="64"/>
                      </a:lnTo>
                      <a:lnTo>
                        <a:pt x="24" y="56"/>
                      </a:lnTo>
                      <a:lnTo>
                        <a:pt x="8" y="56"/>
                      </a:lnTo>
                      <a:lnTo>
                        <a:pt x="0" y="48"/>
                      </a:lnTo>
                      <a:lnTo>
                        <a:pt x="8" y="40"/>
                      </a:lnTo>
                      <a:lnTo>
                        <a:pt x="24" y="40"/>
                      </a:lnTo>
                      <a:lnTo>
                        <a:pt x="32" y="40"/>
                      </a:lnTo>
                      <a:lnTo>
                        <a:pt x="24" y="32"/>
                      </a:lnTo>
                      <a:lnTo>
                        <a:pt x="40" y="24"/>
                      </a:lnTo>
                      <a:lnTo>
                        <a:pt x="80" y="8"/>
                      </a:lnTo>
                      <a:lnTo>
                        <a:pt x="80" y="0"/>
                      </a:lnTo>
                      <a:lnTo>
                        <a:pt x="96" y="0"/>
                      </a:lnTo>
                      <a:lnTo>
                        <a:pt x="104" y="8"/>
                      </a:lnTo>
                      <a:lnTo>
                        <a:pt x="112" y="16"/>
                      </a:lnTo>
                      <a:lnTo>
                        <a:pt x="136" y="24"/>
                      </a:lnTo>
                      <a:lnTo>
                        <a:pt x="136" y="3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50" name="Freeform 228">
                  <a:extLst>
                    <a:ext uri="{FF2B5EF4-FFF2-40B4-BE49-F238E27FC236}">
                      <a16:creationId xmlns:a16="http://schemas.microsoft.com/office/drawing/2014/main" id="{4F64F13E-7690-CA60-C99E-C0D9A4B5466D}"/>
                    </a:ext>
                  </a:extLst>
                </p:cNvPr>
                <p:cNvSpPr/>
                <p:nvPr/>
              </p:nvSpPr>
              <p:spPr bwMode="gray">
                <a:xfrm>
                  <a:off x="4066" y="1227"/>
                  <a:ext cx="40" cy="16"/>
                </a:xfrm>
                <a:custGeom>
                  <a:avLst/>
                  <a:gdLst>
                    <a:gd name="T0" fmla="*/ 21 w 56"/>
                    <a:gd name="T1" fmla="*/ 2 h 24"/>
                    <a:gd name="T2" fmla="*/ 17 w 56"/>
                    <a:gd name="T3" fmla="*/ 2 h 24"/>
                    <a:gd name="T4" fmla="*/ 15 w 56"/>
                    <a:gd name="T5" fmla="*/ 2 h 24"/>
                    <a:gd name="T6" fmla="*/ 9 w 56"/>
                    <a:gd name="T7" fmla="*/ 0 h 24"/>
                    <a:gd name="T8" fmla="*/ 0 w 56"/>
                    <a:gd name="T9" fmla="*/ 0 h 24"/>
                    <a:gd name="T10" fmla="*/ 3 w 56"/>
                    <a:gd name="T11" fmla="*/ 0 h 24"/>
                    <a:gd name="T12" fmla="*/ 6 w 56"/>
                    <a:gd name="T13" fmla="*/ 2 h 24"/>
                    <a:gd name="T14" fmla="*/ 6 w 56"/>
                    <a:gd name="T15" fmla="*/ 5 h 24"/>
                    <a:gd name="T16" fmla="*/ 9 w 56"/>
                    <a:gd name="T17" fmla="*/ 5 h 24"/>
                    <a:gd name="T18" fmla="*/ 11 w 56"/>
                    <a:gd name="T19" fmla="*/ 5 h 24"/>
                    <a:gd name="T20" fmla="*/ 9 w 56"/>
                    <a:gd name="T21" fmla="*/ 5 h 24"/>
                    <a:gd name="T22" fmla="*/ 11 w 56"/>
                    <a:gd name="T23" fmla="*/ 7 h 24"/>
                    <a:gd name="T24" fmla="*/ 15 w 56"/>
                    <a:gd name="T25" fmla="*/ 5 h 24"/>
                    <a:gd name="T26" fmla="*/ 21 w 56"/>
                    <a:gd name="T27" fmla="*/ 2 h 2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24"/>
                    <a:gd name="T44" fmla="*/ 56 w 56"/>
                    <a:gd name="T45" fmla="*/ 24 h 2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24">
                      <a:moveTo>
                        <a:pt x="56" y="8"/>
                      </a:move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24" y="0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40" y="16"/>
                      </a:lnTo>
                      <a:lnTo>
                        <a:pt x="56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51" name="Freeform 229">
                  <a:extLst>
                    <a:ext uri="{FF2B5EF4-FFF2-40B4-BE49-F238E27FC236}">
                      <a16:creationId xmlns:a16="http://schemas.microsoft.com/office/drawing/2014/main" id="{2037636A-008B-B7FF-FD96-4E82C024A9EB}"/>
                    </a:ext>
                  </a:extLst>
                </p:cNvPr>
                <p:cNvSpPr/>
                <p:nvPr/>
              </p:nvSpPr>
              <p:spPr bwMode="gray">
                <a:xfrm>
                  <a:off x="3656" y="1176"/>
                  <a:ext cx="39" cy="22"/>
                </a:xfrm>
                <a:custGeom>
                  <a:avLst/>
                  <a:gdLst>
                    <a:gd name="T0" fmla="*/ 10 w 56"/>
                    <a:gd name="T1" fmla="*/ 0 h 32"/>
                    <a:gd name="T2" fmla="*/ 10 w 56"/>
                    <a:gd name="T3" fmla="*/ 3 h 32"/>
                    <a:gd name="T4" fmla="*/ 6 w 56"/>
                    <a:gd name="T5" fmla="*/ 3 h 32"/>
                    <a:gd name="T6" fmla="*/ 3 w 56"/>
                    <a:gd name="T7" fmla="*/ 6 h 32"/>
                    <a:gd name="T8" fmla="*/ 0 w 56"/>
                    <a:gd name="T9" fmla="*/ 8 h 32"/>
                    <a:gd name="T10" fmla="*/ 3 w 56"/>
                    <a:gd name="T11" fmla="*/ 8 h 32"/>
                    <a:gd name="T12" fmla="*/ 6 w 56"/>
                    <a:gd name="T13" fmla="*/ 10 h 32"/>
                    <a:gd name="T14" fmla="*/ 8 w 56"/>
                    <a:gd name="T15" fmla="*/ 10 h 32"/>
                    <a:gd name="T16" fmla="*/ 10 w 56"/>
                    <a:gd name="T17" fmla="*/ 8 h 32"/>
                    <a:gd name="T18" fmla="*/ 19 w 56"/>
                    <a:gd name="T19" fmla="*/ 8 h 32"/>
                    <a:gd name="T20" fmla="*/ 19 w 56"/>
                    <a:gd name="T21" fmla="*/ 6 h 32"/>
                    <a:gd name="T22" fmla="*/ 14 w 56"/>
                    <a:gd name="T23" fmla="*/ 3 h 32"/>
                    <a:gd name="T24" fmla="*/ 16 w 56"/>
                    <a:gd name="T25" fmla="*/ 0 h 32"/>
                    <a:gd name="T26" fmla="*/ 10 w 56"/>
                    <a:gd name="T27" fmla="*/ 0 h 3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32"/>
                    <a:gd name="T44" fmla="*/ 56 w 56"/>
                    <a:gd name="T45" fmla="*/ 32 h 3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32">
                      <a:moveTo>
                        <a:pt x="32" y="0"/>
                      </a:moveTo>
                      <a:lnTo>
                        <a:pt x="32" y="8"/>
                      </a:lnTo>
                      <a:lnTo>
                        <a:pt x="16" y="8"/>
                      </a:lnTo>
                      <a:lnTo>
                        <a:pt x="8" y="16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16" y="32"/>
                      </a:lnTo>
                      <a:lnTo>
                        <a:pt x="24" y="32"/>
                      </a:lnTo>
                      <a:lnTo>
                        <a:pt x="32" y="24"/>
                      </a:lnTo>
                      <a:lnTo>
                        <a:pt x="56" y="24"/>
                      </a:lnTo>
                      <a:lnTo>
                        <a:pt x="56" y="16"/>
                      </a:lnTo>
                      <a:lnTo>
                        <a:pt x="40" y="8"/>
                      </a:lnTo>
                      <a:lnTo>
                        <a:pt x="48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52" name="Freeform 230">
                  <a:extLst>
                    <a:ext uri="{FF2B5EF4-FFF2-40B4-BE49-F238E27FC236}">
                      <a16:creationId xmlns:a16="http://schemas.microsoft.com/office/drawing/2014/main" id="{82AABCCF-89ED-957E-9B70-EC7D25902623}"/>
                    </a:ext>
                  </a:extLst>
                </p:cNvPr>
                <p:cNvSpPr/>
                <p:nvPr/>
              </p:nvSpPr>
              <p:spPr bwMode="gray">
                <a:xfrm>
                  <a:off x="3611" y="1198"/>
                  <a:ext cx="39" cy="17"/>
                </a:xfrm>
                <a:custGeom>
                  <a:avLst/>
                  <a:gdLst>
                    <a:gd name="T0" fmla="*/ 19 w 56"/>
                    <a:gd name="T1" fmla="*/ 0 h 24"/>
                    <a:gd name="T2" fmla="*/ 14 w 56"/>
                    <a:gd name="T3" fmla="*/ 3 h 24"/>
                    <a:gd name="T4" fmla="*/ 16 w 56"/>
                    <a:gd name="T5" fmla="*/ 6 h 24"/>
                    <a:gd name="T6" fmla="*/ 14 w 56"/>
                    <a:gd name="T7" fmla="*/ 9 h 24"/>
                    <a:gd name="T8" fmla="*/ 3 w 56"/>
                    <a:gd name="T9" fmla="*/ 6 h 24"/>
                    <a:gd name="T10" fmla="*/ 0 w 56"/>
                    <a:gd name="T11" fmla="*/ 6 h 24"/>
                    <a:gd name="T12" fmla="*/ 0 w 56"/>
                    <a:gd name="T13" fmla="*/ 3 h 24"/>
                    <a:gd name="T14" fmla="*/ 3 w 56"/>
                    <a:gd name="T15" fmla="*/ 3 h 24"/>
                    <a:gd name="T16" fmla="*/ 3 w 56"/>
                    <a:gd name="T17" fmla="*/ 0 h 24"/>
                    <a:gd name="T18" fmla="*/ 14 w 56"/>
                    <a:gd name="T19" fmla="*/ 0 h 24"/>
                    <a:gd name="T20" fmla="*/ 16 w 56"/>
                    <a:gd name="T21" fmla="*/ 0 h 24"/>
                    <a:gd name="T22" fmla="*/ 19 w 56"/>
                    <a:gd name="T23" fmla="*/ 0 h 2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56"/>
                    <a:gd name="T37" fmla="*/ 0 h 24"/>
                    <a:gd name="T38" fmla="*/ 56 w 56"/>
                    <a:gd name="T39" fmla="*/ 24 h 2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56" h="24">
                      <a:moveTo>
                        <a:pt x="56" y="0"/>
                      </a:moveTo>
                      <a:lnTo>
                        <a:pt x="40" y="8"/>
                      </a:lnTo>
                      <a:lnTo>
                        <a:pt x="48" y="16"/>
                      </a:lnTo>
                      <a:lnTo>
                        <a:pt x="40" y="24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40" y="0"/>
                      </a:lnTo>
                      <a:lnTo>
                        <a:pt x="48" y="0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53" name="Freeform 231">
                  <a:extLst>
                    <a:ext uri="{FF2B5EF4-FFF2-40B4-BE49-F238E27FC236}">
                      <a16:creationId xmlns:a16="http://schemas.microsoft.com/office/drawing/2014/main" id="{C9938DDC-1202-DC0E-8702-AA93A5DF28B7}"/>
                    </a:ext>
                  </a:extLst>
                </p:cNvPr>
                <p:cNvSpPr/>
                <p:nvPr/>
              </p:nvSpPr>
              <p:spPr bwMode="gray">
                <a:xfrm>
                  <a:off x="3571" y="1170"/>
                  <a:ext cx="23" cy="6"/>
                </a:xfrm>
                <a:custGeom>
                  <a:avLst/>
                  <a:gdLst>
                    <a:gd name="T0" fmla="*/ 6 w 32"/>
                    <a:gd name="T1" fmla="*/ 0 h 8"/>
                    <a:gd name="T2" fmla="*/ 12 w 32"/>
                    <a:gd name="T3" fmla="*/ 0 h 8"/>
                    <a:gd name="T4" fmla="*/ 6 w 32"/>
                    <a:gd name="T5" fmla="*/ 4 h 8"/>
                    <a:gd name="T6" fmla="*/ 0 w 32"/>
                    <a:gd name="T7" fmla="*/ 4 h 8"/>
                    <a:gd name="T8" fmla="*/ 0 w 32"/>
                    <a:gd name="T9" fmla="*/ 0 h 8"/>
                    <a:gd name="T10" fmla="*/ 6 w 32"/>
                    <a:gd name="T11" fmla="*/ 0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8"/>
                    <a:gd name="T20" fmla="*/ 32 w 32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8">
                      <a:moveTo>
                        <a:pt x="16" y="0"/>
                      </a:moveTo>
                      <a:lnTo>
                        <a:pt x="32" y="0"/>
                      </a:lnTo>
                      <a:lnTo>
                        <a:pt x="16" y="8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54" name="Freeform 232">
                  <a:extLst>
                    <a:ext uri="{FF2B5EF4-FFF2-40B4-BE49-F238E27FC236}">
                      <a16:creationId xmlns:a16="http://schemas.microsoft.com/office/drawing/2014/main" id="{C58600B7-DDCF-E196-11F1-0912AB7684A4}"/>
                    </a:ext>
                  </a:extLst>
                </p:cNvPr>
                <p:cNvSpPr/>
                <p:nvPr/>
              </p:nvSpPr>
              <p:spPr bwMode="gray">
                <a:xfrm>
                  <a:off x="3554" y="1176"/>
                  <a:ext cx="28" cy="6"/>
                </a:xfrm>
                <a:custGeom>
                  <a:avLst/>
                  <a:gdLst>
                    <a:gd name="T0" fmla="*/ 6 w 40"/>
                    <a:gd name="T1" fmla="*/ 0 h 8"/>
                    <a:gd name="T2" fmla="*/ 10 w 40"/>
                    <a:gd name="T3" fmla="*/ 0 h 8"/>
                    <a:gd name="T4" fmla="*/ 14 w 40"/>
                    <a:gd name="T5" fmla="*/ 0 h 8"/>
                    <a:gd name="T6" fmla="*/ 14 w 40"/>
                    <a:gd name="T7" fmla="*/ 4 h 8"/>
                    <a:gd name="T8" fmla="*/ 8 w 40"/>
                    <a:gd name="T9" fmla="*/ 4 h 8"/>
                    <a:gd name="T10" fmla="*/ 0 w 40"/>
                    <a:gd name="T11" fmla="*/ 4 h 8"/>
                    <a:gd name="T12" fmla="*/ 3 w 40"/>
                    <a:gd name="T13" fmla="*/ 4 h 8"/>
                    <a:gd name="T14" fmla="*/ 6 w 40"/>
                    <a:gd name="T15" fmla="*/ 4 h 8"/>
                    <a:gd name="T16" fmla="*/ 6 w 40"/>
                    <a:gd name="T17" fmla="*/ 0 h 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0"/>
                    <a:gd name="T28" fmla="*/ 0 h 8"/>
                    <a:gd name="T29" fmla="*/ 40 w 40"/>
                    <a:gd name="T30" fmla="*/ 8 h 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0" h="8">
                      <a:moveTo>
                        <a:pt x="16" y="0"/>
                      </a:moveTo>
                      <a:lnTo>
                        <a:pt x="32" y="0"/>
                      </a:lnTo>
                      <a:lnTo>
                        <a:pt x="40" y="0"/>
                      </a:lnTo>
                      <a:lnTo>
                        <a:pt x="40" y="8"/>
                      </a:lnTo>
                      <a:lnTo>
                        <a:pt x="24" y="8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55" name="Freeform 233">
                  <a:extLst>
                    <a:ext uri="{FF2B5EF4-FFF2-40B4-BE49-F238E27FC236}">
                      <a16:creationId xmlns:a16="http://schemas.microsoft.com/office/drawing/2014/main" id="{B64196AB-387B-7E65-49A9-E1FC29DBDC50}"/>
                    </a:ext>
                  </a:extLst>
                </p:cNvPr>
                <p:cNvSpPr/>
                <p:nvPr/>
              </p:nvSpPr>
              <p:spPr bwMode="gray">
                <a:xfrm>
                  <a:off x="3566" y="1187"/>
                  <a:ext cx="22" cy="11"/>
                </a:xfrm>
                <a:custGeom>
                  <a:avLst/>
                  <a:gdLst>
                    <a:gd name="T0" fmla="*/ 0 w 32"/>
                    <a:gd name="T1" fmla="*/ 0 h 16"/>
                    <a:gd name="T2" fmla="*/ 6 w 32"/>
                    <a:gd name="T3" fmla="*/ 0 h 16"/>
                    <a:gd name="T4" fmla="*/ 8 w 32"/>
                    <a:gd name="T5" fmla="*/ 3 h 16"/>
                    <a:gd name="T6" fmla="*/ 10 w 32"/>
                    <a:gd name="T7" fmla="*/ 3 h 16"/>
                    <a:gd name="T8" fmla="*/ 10 w 32"/>
                    <a:gd name="T9" fmla="*/ 6 h 16"/>
                    <a:gd name="T10" fmla="*/ 8 w 32"/>
                    <a:gd name="T11" fmla="*/ 6 h 16"/>
                    <a:gd name="T12" fmla="*/ 3 w 32"/>
                    <a:gd name="T13" fmla="*/ 3 h 16"/>
                    <a:gd name="T14" fmla="*/ 0 w 32"/>
                    <a:gd name="T15" fmla="*/ 0 h 1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2"/>
                    <a:gd name="T25" fmla="*/ 0 h 16"/>
                    <a:gd name="T26" fmla="*/ 32 w 32"/>
                    <a:gd name="T27" fmla="*/ 16 h 1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2" h="16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56" name="Freeform 234">
                  <a:extLst>
                    <a:ext uri="{FF2B5EF4-FFF2-40B4-BE49-F238E27FC236}">
                      <a16:creationId xmlns:a16="http://schemas.microsoft.com/office/drawing/2014/main" id="{6CCD448B-99F4-C4B0-1318-EDDECCEC02F7}"/>
                    </a:ext>
                  </a:extLst>
                </p:cNvPr>
                <p:cNvSpPr/>
                <p:nvPr/>
              </p:nvSpPr>
              <p:spPr bwMode="gray">
                <a:xfrm>
                  <a:off x="3537" y="1187"/>
                  <a:ext cx="51" cy="17"/>
                </a:xfrm>
                <a:custGeom>
                  <a:avLst/>
                  <a:gdLst>
                    <a:gd name="T0" fmla="*/ 3 w 72"/>
                    <a:gd name="T1" fmla="*/ 0 h 24"/>
                    <a:gd name="T2" fmla="*/ 8 w 72"/>
                    <a:gd name="T3" fmla="*/ 3 h 24"/>
                    <a:gd name="T4" fmla="*/ 11 w 72"/>
                    <a:gd name="T5" fmla="*/ 3 h 24"/>
                    <a:gd name="T6" fmla="*/ 14 w 72"/>
                    <a:gd name="T7" fmla="*/ 3 h 24"/>
                    <a:gd name="T8" fmla="*/ 20 w 72"/>
                    <a:gd name="T9" fmla="*/ 6 h 24"/>
                    <a:gd name="T10" fmla="*/ 26 w 72"/>
                    <a:gd name="T11" fmla="*/ 6 h 24"/>
                    <a:gd name="T12" fmla="*/ 23 w 72"/>
                    <a:gd name="T13" fmla="*/ 9 h 24"/>
                    <a:gd name="T14" fmla="*/ 20 w 72"/>
                    <a:gd name="T15" fmla="*/ 9 h 24"/>
                    <a:gd name="T16" fmla="*/ 17 w 72"/>
                    <a:gd name="T17" fmla="*/ 6 h 24"/>
                    <a:gd name="T18" fmla="*/ 11 w 72"/>
                    <a:gd name="T19" fmla="*/ 6 h 24"/>
                    <a:gd name="T20" fmla="*/ 8 w 72"/>
                    <a:gd name="T21" fmla="*/ 6 h 24"/>
                    <a:gd name="T22" fmla="*/ 8 w 72"/>
                    <a:gd name="T23" fmla="*/ 3 h 24"/>
                    <a:gd name="T24" fmla="*/ 3 w 72"/>
                    <a:gd name="T25" fmla="*/ 3 h 24"/>
                    <a:gd name="T26" fmla="*/ 0 w 72"/>
                    <a:gd name="T27" fmla="*/ 0 h 24"/>
                    <a:gd name="T28" fmla="*/ 3 w 72"/>
                    <a:gd name="T29" fmla="*/ 0 h 2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2"/>
                    <a:gd name="T46" fmla="*/ 0 h 24"/>
                    <a:gd name="T47" fmla="*/ 72 w 72"/>
                    <a:gd name="T48" fmla="*/ 24 h 2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2" h="24">
                      <a:moveTo>
                        <a:pt x="8" y="0"/>
                      </a:move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56" y="16"/>
                      </a:lnTo>
                      <a:lnTo>
                        <a:pt x="72" y="16"/>
                      </a:lnTo>
                      <a:lnTo>
                        <a:pt x="64" y="24"/>
                      </a:lnTo>
                      <a:lnTo>
                        <a:pt x="56" y="24"/>
                      </a:lnTo>
                      <a:lnTo>
                        <a:pt x="48" y="16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57" name="Freeform 235">
                  <a:extLst>
                    <a:ext uri="{FF2B5EF4-FFF2-40B4-BE49-F238E27FC236}">
                      <a16:creationId xmlns:a16="http://schemas.microsoft.com/office/drawing/2014/main" id="{0F2556FA-5302-D8AA-314F-A86A53EC6A6E}"/>
                    </a:ext>
                  </a:extLst>
                </p:cNvPr>
                <p:cNvSpPr/>
                <p:nvPr/>
              </p:nvSpPr>
              <p:spPr bwMode="gray">
                <a:xfrm>
                  <a:off x="3532" y="1193"/>
                  <a:ext cx="17" cy="5"/>
                </a:xfrm>
                <a:custGeom>
                  <a:avLst/>
                  <a:gdLst>
                    <a:gd name="T0" fmla="*/ 9 w 24"/>
                    <a:gd name="T1" fmla="*/ 2 h 8"/>
                    <a:gd name="T2" fmla="*/ 6 w 24"/>
                    <a:gd name="T3" fmla="*/ 2 h 8"/>
                    <a:gd name="T4" fmla="*/ 3 w 24"/>
                    <a:gd name="T5" fmla="*/ 2 h 8"/>
                    <a:gd name="T6" fmla="*/ 0 w 24"/>
                    <a:gd name="T7" fmla="*/ 0 h 8"/>
                    <a:gd name="T8" fmla="*/ 6 w 24"/>
                    <a:gd name="T9" fmla="*/ 0 h 8"/>
                    <a:gd name="T10" fmla="*/ 9 w 24"/>
                    <a:gd name="T11" fmla="*/ 2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8"/>
                    <a:gd name="T20" fmla="*/ 24 w 24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8">
                      <a:moveTo>
                        <a:pt x="24" y="8"/>
                      </a:move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16" y="0"/>
                      </a:lnTo>
                      <a:lnTo>
                        <a:pt x="24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58" name="Freeform 236">
                  <a:extLst>
                    <a:ext uri="{FF2B5EF4-FFF2-40B4-BE49-F238E27FC236}">
                      <a16:creationId xmlns:a16="http://schemas.microsoft.com/office/drawing/2014/main" id="{703AD645-26AF-8DB0-C432-FD5BFEB84846}"/>
                    </a:ext>
                  </a:extLst>
                </p:cNvPr>
                <p:cNvSpPr/>
                <p:nvPr/>
              </p:nvSpPr>
              <p:spPr bwMode="gray">
                <a:xfrm>
                  <a:off x="3582" y="1210"/>
                  <a:ext cx="23" cy="17"/>
                </a:xfrm>
                <a:custGeom>
                  <a:avLst/>
                  <a:gdLst>
                    <a:gd name="T0" fmla="*/ 3 w 32"/>
                    <a:gd name="T1" fmla="*/ 0 h 24"/>
                    <a:gd name="T2" fmla="*/ 0 w 32"/>
                    <a:gd name="T3" fmla="*/ 0 h 24"/>
                    <a:gd name="T4" fmla="*/ 0 w 32"/>
                    <a:gd name="T5" fmla="*/ 3 h 24"/>
                    <a:gd name="T6" fmla="*/ 0 w 32"/>
                    <a:gd name="T7" fmla="*/ 6 h 24"/>
                    <a:gd name="T8" fmla="*/ 3 w 32"/>
                    <a:gd name="T9" fmla="*/ 9 h 24"/>
                    <a:gd name="T10" fmla="*/ 3 w 32"/>
                    <a:gd name="T11" fmla="*/ 6 h 24"/>
                    <a:gd name="T12" fmla="*/ 9 w 32"/>
                    <a:gd name="T13" fmla="*/ 3 h 24"/>
                    <a:gd name="T14" fmla="*/ 12 w 32"/>
                    <a:gd name="T15" fmla="*/ 3 h 24"/>
                    <a:gd name="T16" fmla="*/ 9 w 32"/>
                    <a:gd name="T17" fmla="*/ 3 h 24"/>
                    <a:gd name="T18" fmla="*/ 3 w 32"/>
                    <a:gd name="T19" fmla="*/ 0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2"/>
                    <a:gd name="T31" fmla="*/ 0 h 24"/>
                    <a:gd name="T32" fmla="*/ 32 w 32"/>
                    <a:gd name="T33" fmla="*/ 24 h 2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2" h="24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8" y="16"/>
                      </a:ln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24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59" name="Freeform 237">
                  <a:extLst>
                    <a:ext uri="{FF2B5EF4-FFF2-40B4-BE49-F238E27FC236}">
                      <a16:creationId xmlns:a16="http://schemas.microsoft.com/office/drawing/2014/main" id="{D98B2587-FBFF-3A7F-1721-A6A1B754A4CE}"/>
                    </a:ext>
                  </a:extLst>
                </p:cNvPr>
                <p:cNvSpPr/>
                <p:nvPr/>
              </p:nvSpPr>
              <p:spPr bwMode="gray">
                <a:xfrm>
                  <a:off x="3599" y="1227"/>
                  <a:ext cx="17" cy="5"/>
                </a:xfrm>
                <a:custGeom>
                  <a:avLst/>
                  <a:gdLst>
                    <a:gd name="T0" fmla="*/ 6 w 24"/>
                    <a:gd name="T1" fmla="*/ 0 h 8"/>
                    <a:gd name="T2" fmla="*/ 0 w 24"/>
                    <a:gd name="T3" fmla="*/ 0 h 8"/>
                    <a:gd name="T4" fmla="*/ 3 w 24"/>
                    <a:gd name="T5" fmla="*/ 2 h 8"/>
                    <a:gd name="T6" fmla="*/ 6 w 24"/>
                    <a:gd name="T7" fmla="*/ 2 h 8"/>
                    <a:gd name="T8" fmla="*/ 9 w 24"/>
                    <a:gd name="T9" fmla="*/ 2 h 8"/>
                    <a:gd name="T10" fmla="*/ 9 w 24"/>
                    <a:gd name="T11" fmla="*/ 0 h 8"/>
                    <a:gd name="T12" fmla="*/ 6 w 24"/>
                    <a:gd name="T13" fmla="*/ 0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8"/>
                    <a:gd name="T23" fmla="*/ 24 w 24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8">
                      <a:moveTo>
                        <a:pt x="16" y="0"/>
                      </a:moveTo>
                      <a:lnTo>
                        <a:pt x="0" y="0"/>
                      </a:ln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60" name="Freeform 238">
                  <a:extLst>
                    <a:ext uri="{FF2B5EF4-FFF2-40B4-BE49-F238E27FC236}">
                      <a16:creationId xmlns:a16="http://schemas.microsoft.com/office/drawing/2014/main" id="{6EBE60A5-6968-FEBE-02E0-04F54DED8DB3}"/>
                    </a:ext>
                  </a:extLst>
                </p:cNvPr>
                <p:cNvSpPr/>
                <p:nvPr/>
              </p:nvSpPr>
              <p:spPr bwMode="gray">
                <a:xfrm>
                  <a:off x="3560" y="1215"/>
                  <a:ext cx="11" cy="12"/>
                </a:xfrm>
                <a:custGeom>
                  <a:avLst/>
                  <a:gdLst>
                    <a:gd name="T0" fmla="*/ 6 w 16"/>
                    <a:gd name="T1" fmla="*/ 0 h 16"/>
                    <a:gd name="T2" fmla="*/ 6 w 16"/>
                    <a:gd name="T3" fmla="*/ 4 h 16"/>
                    <a:gd name="T4" fmla="*/ 0 w 16"/>
                    <a:gd name="T5" fmla="*/ 7 h 16"/>
                    <a:gd name="T6" fmla="*/ 0 w 16"/>
                    <a:gd name="T7" fmla="*/ 4 h 16"/>
                    <a:gd name="T8" fmla="*/ 0 w 16"/>
                    <a:gd name="T9" fmla="*/ 0 h 16"/>
                    <a:gd name="T10" fmla="*/ 6 w 16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16" y="0"/>
                      </a:moveTo>
                      <a:lnTo>
                        <a:pt x="16" y="8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61" name="Freeform 239">
                  <a:extLst>
                    <a:ext uri="{FF2B5EF4-FFF2-40B4-BE49-F238E27FC236}">
                      <a16:creationId xmlns:a16="http://schemas.microsoft.com/office/drawing/2014/main" id="{55350FA5-CE95-2EA1-7BF7-1C3EAC1E6652}"/>
                    </a:ext>
                  </a:extLst>
                </p:cNvPr>
                <p:cNvSpPr/>
                <p:nvPr/>
              </p:nvSpPr>
              <p:spPr bwMode="gray">
                <a:xfrm>
                  <a:off x="3504" y="1215"/>
                  <a:ext cx="22" cy="6"/>
                </a:xfrm>
                <a:custGeom>
                  <a:avLst/>
                  <a:gdLst>
                    <a:gd name="T0" fmla="*/ 6 w 32"/>
                    <a:gd name="T1" fmla="*/ 0 h 8"/>
                    <a:gd name="T2" fmla="*/ 8 w 32"/>
                    <a:gd name="T3" fmla="*/ 0 h 8"/>
                    <a:gd name="T4" fmla="*/ 10 w 32"/>
                    <a:gd name="T5" fmla="*/ 0 h 8"/>
                    <a:gd name="T6" fmla="*/ 10 w 32"/>
                    <a:gd name="T7" fmla="*/ 4 h 8"/>
                    <a:gd name="T8" fmla="*/ 6 w 32"/>
                    <a:gd name="T9" fmla="*/ 4 h 8"/>
                    <a:gd name="T10" fmla="*/ 0 w 32"/>
                    <a:gd name="T11" fmla="*/ 4 h 8"/>
                    <a:gd name="T12" fmla="*/ 6 w 32"/>
                    <a:gd name="T13" fmla="*/ 0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8"/>
                    <a:gd name="T23" fmla="*/ 32 w 32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8">
                      <a:moveTo>
                        <a:pt x="16" y="0"/>
                      </a:moveTo>
                      <a:lnTo>
                        <a:pt x="24" y="0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16" y="8"/>
                      </a:lnTo>
                      <a:lnTo>
                        <a:pt x="0" y="8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62" name="Freeform 240">
                  <a:extLst>
                    <a:ext uri="{FF2B5EF4-FFF2-40B4-BE49-F238E27FC236}">
                      <a16:creationId xmlns:a16="http://schemas.microsoft.com/office/drawing/2014/main" id="{C18AF95A-76DB-1C52-1119-CABC7589BDD5}"/>
                    </a:ext>
                  </a:extLst>
                </p:cNvPr>
                <p:cNvSpPr/>
                <p:nvPr/>
              </p:nvSpPr>
              <p:spPr bwMode="gray">
                <a:xfrm>
                  <a:off x="3425" y="1193"/>
                  <a:ext cx="67" cy="39"/>
                </a:xfrm>
                <a:custGeom>
                  <a:avLst/>
                  <a:gdLst>
                    <a:gd name="T0" fmla="*/ 30 w 96"/>
                    <a:gd name="T1" fmla="*/ 0 h 56"/>
                    <a:gd name="T2" fmla="*/ 27 w 96"/>
                    <a:gd name="T3" fmla="*/ 3 h 56"/>
                    <a:gd name="T4" fmla="*/ 33 w 96"/>
                    <a:gd name="T5" fmla="*/ 3 h 56"/>
                    <a:gd name="T6" fmla="*/ 33 w 96"/>
                    <a:gd name="T7" fmla="*/ 6 h 56"/>
                    <a:gd name="T8" fmla="*/ 33 w 96"/>
                    <a:gd name="T9" fmla="*/ 8 h 56"/>
                    <a:gd name="T10" fmla="*/ 27 w 96"/>
                    <a:gd name="T11" fmla="*/ 8 h 56"/>
                    <a:gd name="T12" fmla="*/ 24 w 96"/>
                    <a:gd name="T13" fmla="*/ 8 h 56"/>
                    <a:gd name="T14" fmla="*/ 27 w 96"/>
                    <a:gd name="T15" fmla="*/ 10 h 56"/>
                    <a:gd name="T16" fmla="*/ 24 w 96"/>
                    <a:gd name="T17" fmla="*/ 10 h 56"/>
                    <a:gd name="T18" fmla="*/ 17 w 96"/>
                    <a:gd name="T19" fmla="*/ 10 h 56"/>
                    <a:gd name="T20" fmla="*/ 17 w 96"/>
                    <a:gd name="T21" fmla="*/ 14 h 56"/>
                    <a:gd name="T22" fmla="*/ 14 w 96"/>
                    <a:gd name="T23" fmla="*/ 14 h 56"/>
                    <a:gd name="T24" fmla="*/ 8 w 96"/>
                    <a:gd name="T25" fmla="*/ 19 h 56"/>
                    <a:gd name="T26" fmla="*/ 6 w 96"/>
                    <a:gd name="T27" fmla="*/ 16 h 56"/>
                    <a:gd name="T28" fmla="*/ 8 w 96"/>
                    <a:gd name="T29" fmla="*/ 16 h 56"/>
                    <a:gd name="T30" fmla="*/ 8 w 96"/>
                    <a:gd name="T31" fmla="*/ 14 h 56"/>
                    <a:gd name="T32" fmla="*/ 3 w 96"/>
                    <a:gd name="T33" fmla="*/ 14 h 56"/>
                    <a:gd name="T34" fmla="*/ 0 w 96"/>
                    <a:gd name="T35" fmla="*/ 14 h 56"/>
                    <a:gd name="T36" fmla="*/ 3 w 96"/>
                    <a:gd name="T37" fmla="*/ 10 h 56"/>
                    <a:gd name="T38" fmla="*/ 6 w 96"/>
                    <a:gd name="T39" fmla="*/ 10 h 56"/>
                    <a:gd name="T40" fmla="*/ 0 w 96"/>
                    <a:gd name="T41" fmla="*/ 6 h 56"/>
                    <a:gd name="T42" fmla="*/ 17 w 96"/>
                    <a:gd name="T43" fmla="*/ 6 h 56"/>
                    <a:gd name="T44" fmla="*/ 19 w 96"/>
                    <a:gd name="T45" fmla="*/ 3 h 56"/>
                    <a:gd name="T46" fmla="*/ 22 w 96"/>
                    <a:gd name="T47" fmla="*/ 3 h 56"/>
                    <a:gd name="T48" fmla="*/ 24 w 96"/>
                    <a:gd name="T49" fmla="*/ 3 h 56"/>
                    <a:gd name="T50" fmla="*/ 22 w 96"/>
                    <a:gd name="T51" fmla="*/ 0 h 56"/>
                    <a:gd name="T52" fmla="*/ 30 w 96"/>
                    <a:gd name="T53" fmla="*/ 0 h 5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96"/>
                    <a:gd name="T82" fmla="*/ 0 h 56"/>
                    <a:gd name="T83" fmla="*/ 96 w 96"/>
                    <a:gd name="T84" fmla="*/ 56 h 5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96" h="56">
                      <a:moveTo>
                        <a:pt x="88" y="0"/>
                      </a:moveTo>
                      <a:lnTo>
                        <a:pt x="80" y="8"/>
                      </a:lnTo>
                      <a:lnTo>
                        <a:pt x="96" y="8"/>
                      </a:lnTo>
                      <a:lnTo>
                        <a:pt x="96" y="16"/>
                      </a:lnTo>
                      <a:lnTo>
                        <a:pt x="96" y="24"/>
                      </a:lnTo>
                      <a:lnTo>
                        <a:pt x="80" y="24"/>
                      </a:lnTo>
                      <a:lnTo>
                        <a:pt x="72" y="24"/>
                      </a:lnTo>
                      <a:lnTo>
                        <a:pt x="80" y="32"/>
                      </a:lnTo>
                      <a:lnTo>
                        <a:pt x="72" y="32"/>
                      </a:lnTo>
                      <a:lnTo>
                        <a:pt x="48" y="32"/>
                      </a:lnTo>
                      <a:lnTo>
                        <a:pt x="48" y="40"/>
                      </a:lnTo>
                      <a:lnTo>
                        <a:pt x="40" y="40"/>
                      </a:lnTo>
                      <a:lnTo>
                        <a:pt x="24" y="56"/>
                      </a:lnTo>
                      <a:lnTo>
                        <a:pt x="16" y="48"/>
                      </a:lnTo>
                      <a:lnTo>
                        <a:pt x="24" y="48"/>
                      </a:lnTo>
                      <a:lnTo>
                        <a:pt x="24" y="40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8" y="32"/>
                      </a:lnTo>
                      <a:lnTo>
                        <a:pt x="16" y="32"/>
                      </a:lnTo>
                      <a:lnTo>
                        <a:pt x="0" y="16"/>
                      </a:lnTo>
                      <a:lnTo>
                        <a:pt x="48" y="16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72" y="8"/>
                      </a:lnTo>
                      <a:lnTo>
                        <a:pt x="64" y="0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63" name="Freeform 241">
                  <a:extLst>
                    <a:ext uri="{FF2B5EF4-FFF2-40B4-BE49-F238E27FC236}">
                      <a16:creationId xmlns:a16="http://schemas.microsoft.com/office/drawing/2014/main" id="{82C7789B-1BD9-FD74-F9AD-E1432A19AA86}"/>
                    </a:ext>
                  </a:extLst>
                </p:cNvPr>
                <p:cNvSpPr/>
                <p:nvPr/>
              </p:nvSpPr>
              <p:spPr bwMode="gray">
                <a:xfrm>
                  <a:off x="3391" y="1193"/>
                  <a:ext cx="68" cy="17"/>
                </a:xfrm>
                <a:custGeom>
                  <a:avLst/>
                  <a:gdLst>
                    <a:gd name="T0" fmla="*/ 34 w 96"/>
                    <a:gd name="T1" fmla="*/ 3 h 24"/>
                    <a:gd name="T2" fmla="*/ 31 w 96"/>
                    <a:gd name="T3" fmla="*/ 3 h 24"/>
                    <a:gd name="T4" fmla="*/ 26 w 96"/>
                    <a:gd name="T5" fmla="*/ 0 h 24"/>
                    <a:gd name="T6" fmla="*/ 14 w 96"/>
                    <a:gd name="T7" fmla="*/ 0 h 24"/>
                    <a:gd name="T8" fmla="*/ 11 w 96"/>
                    <a:gd name="T9" fmla="*/ 3 h 24"/>
                    <a:gd name="T10" fmla="*/ 0 w 96"/>
                    <a:gd name="T11" fmla="*/ 3 h 24"/>
                    <a:gd name="T12" fmla="*/ 0 w 96"/>
                    <a:gd name="T13" fmla="*/ 6 h 24"/>
                    <a:gd name="T14" fmla="*/ 0 w 96"/>
                    <a:gd name="T15" fmla="*/ 9 h 24"/>
                    <a:gd name="T16" fmla="*/ 3 w 96"/>
                    <a:gd name="T17" fmla="*/ 9 h 24"/>
                    <a:gd name="T18" fmla="*/ 9 w 96"/>
                    <a:gd name="T19" fmla="*/ 9 h 24"/>
                    <a:gd name="T20" fmla="*/ 11 w 96"/>
                    <a:gd name="T21" fmla="*/ 9 h 24"/>
                    <a:gd name="T22" fmla="*/ 14 w 96"/>
                    <a:gd name="T23" fmla="*/ 9 h 24"/>
                    <a:gd name="T24" fmla="*/ 11 w 96"/>
                    <a:gd name="T25" fmla="*/ 9 h 24"/>
                    <a:gd name="T26" fmla="*/ 11 w 96"/>
                    <a:gd name="T27" fmla="*/ 6 h 24"/>
                    <a:gd name="T28" fmla="*/ 17 w 96"/>
                    <a:gd name="T29" fmla="*/ 3 h 24"/>
                    <a:gd name="T30" fmla="*/ 26 w 96"/>
                    <a:gd name="T31" fmla="*/ 3 h 24"/>
                    <a:gd name="T32" fmla="*/ 28 w 96"/>
                    <a:gd name="T33" fmla="*/ 6 h 24"/>
                    <a:gd name="T34" fmla="*/ 34 w 96"/>
                    <a:gd name="T35" fmla="*/ 3 h 24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96"/>
                    <a:gd name="T55" fmla="*/ 0 h 24"/>
                    <a:gd name="T56" fmla="*/ 96 w 96"/>
                    <a:gd name="T57" fmla="*/ 24 h 24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96" h="24">
                      <a:moveTo>
                        <a:pt x="96" y="8"/>
                      </a:moveTo>
                      <a:lnTo>
                        <a:pt x="88" y="8"/>
                      </a:lnTo>
                      <a:lnTo>
                        <a:pt x="72" y="0"/>
                      </a:lnTo>
                      <a:lnTo>
                        <a:pt x="40" y="0"/>
                      </a:lnTo>
                      <a:lnTo>
                        <a:pt x="32" y="8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24" y="24"/>
                      </a:lnTo>
                      <a:lnTo>
                        <a:pt x="32" y="24"/>
                      </a:lnTo>
                      <a:lnTo>
                        <a:pt x="40" y="24"/>
                      </a:lnTo>
                      <a:lnTo>
                        <a:pt x="32" y="24"/>
                      </a:lnTo>
                      <a:lnTo>
                        <a:pt x="32" y="16"/>
                      </a:lnTo>
                      <a:lnTo>
                        <a:pt x="48" y="8"/>
                      </a:lnTo>
                      <a:lnTo>
                        <a:pt x="72" y="8"/>
                      </a:lnTo>
                      <a:lnTo>
                        <a:pt x="80" y="16"/>
                      </a:lnTo>
                      <a:lnTo>
                        <a:pt x="96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64" name="Freeform 242">
                  <a:extLst>
                    <a:ext uri="{FF2B5EF4-FFF2-40B4-BE49-F238E27FC236}">
                      <a16:creationId xmlns:a16="http://schemas.microsoft.com/office/drawing/2014/main" id="{2EEED0BC-AE12-E54C-6E1E-4701F4C24BE7}"/>
                    </a:ext>
                  </a:extLst>
                </p:cNvPr>
                <p:cNvSpPr/>
                <p:nvPr/>
              </p:nvSpPr>
              <p:spPr bwMode="gray">
                <a:xfrm>
                  <a:off x="3526" y="1322"/>
                  <a:ext cx="225" cy="107"/>
                </a:xfrm>
                <a:custGeom>
                  <a:avLst/>
                  <a:gdLst>
                    <a:gd name="T0" fmla="*/ 108 w 320"/>
                    <a:gd name="T1" fmla="*/ 3 h 152"/>
                    <a:gd name="T2" fmla="*/ 108 w 320"/>
                    <a:gd name="T3" fmla="*/ 8 h 152"/>
                    <a:gd name="T4" fmla="*/ 101 w 320"/>
                    <a:gd name="T5" fmla="*/ 11 h 152"/>
                    <a:gd name="T6" fmla="*/ 84 w 320"/>
                    <a:gd name="T7" fmla="*/ 17 h 152"/>
                    <a:gd name="T8" fmla="*/ 72 w 320"/>
                    <a:gd name="T9" fmla="*/ 17 h 152"/>
                    <a:gd name="T10" fmla="*/ 64 w 320"/>
                    <a:gd name="T11" fmla="*/ 19 h 152"/>
                    <a:gd name="T12" fmla="*/ 58 w 320"/>
                    <a:gd name="T13" fmla="*/ 25 h 152"/>
                    <a:gd name="T14" fmla="*/ 50 w 320"/>
                    <a:gd name="T15" fmla="*/ 31 h 152"/>
                    <a:gd name="T16" fmla="*/ 44 w 320"/>
                    <a:gd name="T17" fmla="*/ 34 h 152"/>
                    <a:gd name="T18" fmla="*/ 39 w 320"/>
                    <a:gd name="T19" fmla="*/ 36 h 152"/>
                    <a:gd name="T20" fmla="*/ 36 w 320"/>
                    <a:gd name="T21" fmla="*/ 39 h 152"/>
                    <a:gd name="T22" fmla="*/ 31 w 320"/>
                    <a:gd name="T23" fmla="*/ 42 h 152"/>
                    <a:gd name="T24" fmla="*/ 23 w 320"/>
                    <a:gd name="T25" fmla="*/ 53 h 152"/>
                    <a:gd name="T26" fmla="*/ 14 w 320"/>
                    <a:gd name="T27" fmla="*/ 50 h 152"/>
                    <a:gd name="T28" fmla="*/ 6 w 320"/>
                    <a:gd name="T29" fmla="*/ 50 h 152"/>
                    <a:gd name="T30" fmla="*/ 14 w 320"/>
                    <a:gd name="T31" fmla="*/ 48 h 152"/>
                    <a:gd name="T32" fmla="*/ 6 w 320"/>
                    <a:gd name="T33" fmla="*/ 48 h 152"/>
                    <a:gd name="T34" fmla="*/ 3 w 320"/>
                    <a:gd name="T35" fmla="*/ 44 h 152"/>
                    <a:gd name="T36" fmla="*/ 8 w 320"/>
                    <a:gd name="T37" fmla="*/ 42 h 152"/>
                    <a:gd name="T38" fmla="*/ 14 w 320"/>
                    <a:gd name="T39" fmla="*/ 42 h 152"/>
                    <a:gd name="T40" fmla="*/ 14 w 320"/>
                    <a:gd name="T41" fmla="*/ 36 h 152"/>
                    <a:gd name="T42" fmla="*/ 17 w 320"/>
                    <a:gd name="T43" fmla="*/ 34 h 152"/>
                    <a:gd name="T44" fmla="*/ 19 w 320"/>
                    <a:gd name="T45" fmla="*/ 31 h 152"/>
                    <a:gd name="T46" fmla="*/ 14 w 320"/>
                    <a:gd name="T47" fmla="*/ 25 h 152"/>
                    <a:gd name="T48" fmla="*/ 19 w 320"/>
                    <a:gd name="T49" fmla="*/ 25 h 152"/>
                    <a:gd name="T50" fmla="*/ 31 w 320"/>
                    <a:gd name="T51" fmla="*/ 23 h 152"/>
                    <a:gd name="T52" fmla="*/ 36 w 320"/>
                    <a:gd name="T53" fmla="*/ 17 h 152"/>
                    <a:gd name="T54" fmla="*/ 48 w 320"/>
                    <a:gd name="T55" fmla="*/ 14 h 152"/>
                    <a:gd name="T56" fmla="*/ 56 w 320"/>
                    <a:gd name="T57" fmla="*/ 14 h 152"/>
                    <a:gd name="T58" fmla="*/ 61 w 320"/>
                    <a:gd name="T59" fmla="*/ 11 h 152"/>
                    <a:gd name="T60" fmla="*/ 89 w 320"/>
                    <a:gd name="T61" fmla="*/ 6 h 152"/>
                    <a:gd name="T62" fmla="*/ 94 w 320"/>
                    <a:gd name="T63" fmla="*/ 3 h 152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20"/>
                    <a:gd name="T97" fmla="*/ 0 h 152"/>
                    <a:gd name="T98" fmla="*/ 320 w 320"/>
                    <a:gd name="T99" fmla="*/ 152 h 152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20" h="152">
                      <a:moveTo>
                        <a:pt x="288" y="0"/>
                      </a:moveTo>
                      <a:lnTo>
                        <a:pt x="312" y="8"/>
                      </a:lnTo>
                      <a:lnTo>
                        <a:pt x="320" y="16"/>
                      </a:lnTo>
                      <a:lnTo>
                        <a:pt x="312" y="24"/>
                      </a:lnTo>
                      <a:lnTo>
                        <a:pt x="312" y="32"/>
                      </a:lnTo>
                      <a:lnTo>
                        <a:pt x="288" y="32"/>
                      </a:lnTo>
                      <a:lnTo>
                        <a:pt x="264" y="40"/>
                      </a:lnTo>
                      <a:lnTo>
                        <a:pt x="240" y="48"/>
                      </a:lnTo>
                      <a:lnTo>
                        <a:pt x="224" y="48"/>
                      </a:lnTo>
                      <a:lnTo>
                        <a:pt x="208" y="48"/>
                      </a:lnTo>
                      <a:lnTo>
                        <a:pt x="200" y="56"/>
                      </a:lnTo>
                      <a:lnTo>
                        <a:pt x="184" y="56"/>
                      </a:lnTo>
                      <a:lnTo>
                        <a:pt x="176" y="64"/>
                      </a:lnTo>
                      <a:lnTo>
                        <a:pt x="168" y="72"/>
                      </a:lnTo>
                      <a:lnTo>
                        <a:pt x="144" y="80"/>
                      </a:lnTo>
                      <a:lnTo>
                        <a:pt x="144" y="88"/>
                      </a:lnTo>
                      <a:lnTo>
                        <a:pt x="136" y="88"/>
                      </a:lnTo>
                      <a:lnTo>
                        <a:pt x="128" y="96"/>
                      </a:lnTo>
                      <a:lnTo>
                        <a:pt x="112" y="96"/>
                      </a:lnTo>
                      <a:lnTo>
                        <a:pt x="112" y="104"/>
                      </a:lnTo>
                      <a:lnTo>
                        <a:pt x="104" y="104"/>
                      </a:lnTo>
                      <a:lnTo>
                        <a:pt x="104" y="112"/>
                      </a:lnTo>
                      <a:lnTo>
                        <a:pt x="96" y="120"/>
                      </a:lnTo>
                      <a:lnTo>
                        <a:pt x="88" y="120"/>
                      </a:lnTo>
                      <a:lnTo>
                        <a:pt x="80" y="128"/>
                      </a:lnTo>
                      <a:lnTo>
                        <a:pt x="64" y="152"/>
                      </a:lnTo>
                      <a:lnTo>
                        <a:pt x="48" y="152"/>
                      </a:lnTo>
                      <a:lnTo>
                        <a:pt x="40" y="144"/>
                      </a:lnTo>
                      <a:lnTo>
                        <a:pt x="16" y="152"/>
                      </a:lnTo>
                      <a:lnTo>
                        <a:pt x="16" y="144"/>
                      </a:lnTo>
                      <a:lnTo>
                        <a:pt x="24" y="136"/>
                      </a:lnTo>
                      <a:lnTo>
                        <a:pt x="40" y="136"/>
                      </a:lnTo>
                      <a:lnTo>
                        <a:pt x="32" y="136"/>
                      </a:lnTo>
                      <a:lnTo>
                        <a:pt x="16" y="136"/>
                      </a:lnTo>
                      <a:lnTo>
                        <a:pt x="0" y="128"/>
                      </a:lnTo>
                      <a:lnTo>
                        <a:pt x="8" y="128"/>
                      </a:lnTo>
                      <a:lnTo>
                        <a:pt x="16" y="128"/>
                      </a:lnTo>
                      <a:lnTo>
                        <a:pt x="24" y="120"/>
                      </a:lnTo>
                      <a:lnTo>
                        <a:pt x="24" y="112"/>
                      </a:lnTo>
                      <a:lnTo>
                        <a:pt x="40" y="120"/>
                      </a:lnTo>
                      <a:lnTo>
                        <a:pt x="48" y="112"/>
                      </a:lnTo>
                      <a:lnTo>
                        <a:pt x="40" y="104"/>
                      </a:lnTo>
                      <a:lnTo>
                        <a:pt x="56" y="96"/>
                      </a:lnTo>
                      <a:lnTo>
                        <a:pt x="48" y="96"/>
                      </a:lnTo>
                      <a:lnTo>
                        <a:pt x="48" y="88"/>
                      </a:lnTo>
                      <a:lnTo>
                        <a:pt x="56" y="88"/>
                      </a:lnTo>
                      <a:lnTo>
                        <a:pt x="48" y="80"/>
                      </a:lnTo>
                      <a:lnTo>
                        <a:pt x="40" y="72"/>
                      </a:lnTo>
                      <a:lnTo>
                        <a:pt x="48" y="72"/>
                      </a:lnTo>
                      <a:lnTo>
                        <a:pt x="56" y="72"/>
                      </a:lnTo>
                      <a:lnTo>
                        <a:pt x="72" y="64"/>
                      </a:lnTo>
                      <a:lnTo>
                        <a:pt x="88" y="64"/>
                      </a:lnTo>
                      <a:lnTo>
                        <a:pt x="96" y="48"/>
                      </a:lnTo>
                      <a:lnTo>
                        <a:pt x="104" y="48"/>
                      </a:lnTo>
                      <a:lnTo>
                        <a:pt x="120" y="48"/>
                      </a:lnTo>
                      <a:lnTo>
                        <a:pt x="136" y="40"/>
                      </a:lnTo>
                      <a:lnTo>
                        <a:pt x="144" y="40"/>
                      </a:lnTo>
                      <a:lnTo>
                        <a:pt x="160" y="40"/>
                      </a:lnTo>
                      <a:lnTo>
                        <a:pt x="152" y="32"/>
                      </a:lnTo>
                      <a:lnTo>
                        <a:pt x="176" y="32"/>
                      </a:lnTo>
                      <a:lnTo>
                        <a:pt x="200" y="24"/>
                      </a:lnTo>
                      <a:lnTo>
                        <a:pt x="256" y="16"/>
                      </a:lnTo>
                      <a:lnTo>
                        <a:pt x="256" y="8"/>
                      </a:lnTo>
                      <a:lnTo>
                        <a:pt x="272" y="8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65" name="Freeform 243">
                  <a:extLst>
                    <a:ext uri="{FF2B5EF4-FFF2-40B4-BE49-F238E27FC236}">
                      <a16:creationId xmlns:a16="http://schemas.microsoft.com/office/drawing/2014/main" id="{30262E93-7B6D-1D5D-3833-AF07D3AB6081}"/>
                    </a:ext>
                  </a:extLst>
                </p:cNvPr>
                <p:cNvSpPr/>
                <p:nvPr/>
              </p:nvSpPr>
              <p:spPr bwMode="gray">
                <a:xfrm>
                  <a:off x="3498" y="1429"/>
                  <a:ext cx="84" cy="79"/>
                </a:xfrm>
                <a:custGeom>
                  <a:avLst/>
                  <a:gdLst>
                    <a:gd name="T0" fmla="*/ 33 w 120"/>
                    <a:gd name="T1" fmla="*/ 3 h 112"/>
                    <a:gd name="T2" fmla="*/ 27 w 120"/>
                    <a:gd name="T3" fmla="*/ 0 h 112"/>
                    <a:gd name="T4" fmla="*/ 14 w 120"/>
                    <a:gd name="T5" fmla="*/ 0 h 112"/>
                    <a:gd name="T6" fmla="*/ 11 w 120"/>
                    <a:gd name="T7" fmla="*/ 6 h 112"/>
                    <a:gd name="T8" fmla="*/ 8 w 120"/>
                    <a:gd name="T9" fmla="*/ 6 h 112"/>
                    <a:gd name="T10" fmla="*/ 6 w 120"/>
                    <a:gd name="T11" fmla="*/ 8 h 112"/>
                    <a:gd name="T12" fmla="*/ 8 w 120"/>
                    <a:gd name="T13" fmla="*/ 11 h 112"/>
                    <a:gd name="T14" fmla="*/ 8 w 120"/>
                    <a:gd name="T15" fmla="*/ 14 h 112"/>
                    <a:gd name="T16" fmla="*/ 6 w 120"/>
                    <a:gd name="T17" fmla="*/ 17 h 112"/>
                    <a:gd name="T18" fmla="*/ 0 w 120"/>
                    <a:gd name="T19" fmla="*/ 17 h 112"/>
                    <a:gd name="T20" fmla="*/ 0 w 120"/>
                    <a:gd name="T21" fmla="*/ 23 h 112"/>
                    <a:gd name="T22" fmla="*/ 0 w 120"/>
                    <a:gd name="T23" fmla="*/ 25 h 112"/>
                    <a:gd name="T24" fmla="*/ 3 w 120"/>
                    <a:gd name="T25" fmla="*/ 28 h 112"/>
                    <a:gd name="T26" fmla="*/ 6 w 120"/>
                    <a:gd name="T27" fmla="*/ 25 h 112"/>
                    <a:gd name="T28" fmla="*/ 8 w 120"/>
                    <a:gd name="T29" fmla="*/ 28 h 112"/>
                    <a:gd name="T30" fmla="*/ 11 w 120"/>
                    <a:gd name="T31" fmla="*/ 28 h 112"/>
                    <a:gd name="T32" fmla="*/ 17 w 120"/>
                    <a:gd name="T33" fmla="*/ 28 h 112"/>
                    <a:gd name="T34" fmla="*/ 14 w 120"/>
                    <a:gd name="T35" fmla="*/ 34 h 112"/>
                    <a:gd name="T36" fmla="*/ 14 w 120"/>
                    <a:gd name="T37" fmla="*/ 36 h 112"/>
                    <a:gd name="T38" fmla="*/ 19 w 120"/>
                    <a:gd name="T39" fmla="*/ 36 h 112"/>
                    <a:gd name="T40" fmla="*/ 27 w 120"/>
                    <a:gd name="T41" fmla="*/ 40 h 112"/>
                    <a:gd name="T42" fmla="*/ 33 w 120"/>
                    <a:gd name="T43" fmla="*/ 40 h 112"/>
                    <a:gd name="T44" fmla="*/ 39 w 120"/>
                    <a:gd name="T45" fmla="*/ 36 h 112"/>
                    <a:gd name="T46" fmla="*/ 41 w 120"/>
                    <a:gd name="T47" fmla="*/ 34 h 112"/>
                    <a:gd name="T48" fmla="*/ 27 w 120"/>
                    <a:gd name="T49" fmla="*/ 28 h 112"/>
                    <a:gd name="T50" fmla="*/ 25 w 120"/>
                    <a:gd name="T51" fmla="*/ 23 h 112"/>
                    <a:gd name="T52" fmla="*/ 27 w 120"/>
                    <a:gd name="T53" fmla="*/ 11 h 112"/>
                    <a:gd name="T54" fmla="*/ 30 w 120"/>
                    <a:gd name="T55" fmla="*/ 11 h 112"/>
                    <a:gd name="T56" fmla="*/ 33 w 120"/>
                    <a:gd name="T57" fmla="*/ 3 h 11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20"/>
                    <a:gd name="T88" fmla="*/ 0 h 112"/>
                    <a:gd name="T89" fmla="*/ 120 w 120"/>
                    <a:gd name="T90" fmla="*/ 112 h 112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20" h="112">
                      <a:moveTo>
                        <a:pt x="96" y="8"/>
                      </a:moveTo>
                      <a:lnTo>
                        <a:pt x="80" y="0"/>
                      </a:lnTo>
                      <a:lnTo>
                        <a:pt x="40" y="0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24" y="40"/>
                      </a:lnTo>
                      <a:lnTo>
                        <a:pt x="16" y="48"/>
                      </a:lnTo>
                      <a:lnTo>
                        <a:pt x="0" y="48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8" y="80"/>
                      </a:lnTo>
                      <a:lnTo>
                        <a:pt x="16" y="72"/>
                      </a:lnTo>
                      <a:lnTo>
                        <a:pt x="24" y="80"/>
                      </a:lnTo>
                      <a:lnTo>
                        <a:pt x="32" y="80"/>
                      </a:lnTo>
                      <a:lnTo>
                        <a:pt x="48" y="80"/>
                      </a:lnTo>
                      <a:lnTo>
                        <a:pt x="40" y="96"/>
                      </a:lnTo>
                      <a:lnTo>
                        <a:pt x="40" y="104"/>
                      </a:lnTo>
                      <a:lnTo>
                        <a:pt x="56" y="104"/>
                      </a:lnTo>
                      <a:lnTo>
                        <a:pt x="80" y="112"/>
                      </a:lnTo>
                      <a:lnTo>
                        <a:pt x="96" y="112"/>
                      </a:lnTo>
                      <a:lnTo>
                        <a:pt x="112" y="104"/>
                      </a:lnTo>
                      <a:lnTo>
                        <a:pt x="120" y="96"/>
                      </a:lnTo>
                      <a:lnTo>
                        <a:pt x="80" y="80"/>
                      </a:lnTo>
                      <a:lnTo>
                        <a:pt x="72" y="64"/>
                      </a:lnTo>
                      <a:lnTo>
                        <a:pt x="80" y="32"/>
                      </a:lnTo>
                      <a:lnTo>
                        <a:pt x="88" y="32"/>
                      </a:lnTo>
                      <a:lnTo>
                        <a:pt x="96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66" name="Freeform 244">
                  <a:extLst>
                    <a:ext uri="{FF2B5EF4-FFF2-40B4-BE49-F238E27FC236}">
                      <a16:creationId xmlns:a16="http://schemas.microsoft.com/office/drawing/2014/main" id="{E188C5F2-3A94-9BBF-F3EC-9E18F5DE685A}"/>
                    </a:ext>
                  </a:extLst>
                </p:cNvPr>
                <p:cNvSpPr/>
                <p:nvPr/>
              </p:nvSpPr>
              <p:spPr bwMode="gray">
                <a:xfrm>
                  <a:off x="3442" y="1536"/>
                  <a:ext cx="34" cy="17"/>
                </a:xfrm>
                <a:custGeom>
                  <a:avLst/>
                  <a:gdLst>
                    <a:gd name="T0" fmla="*/ 3 w 48"/>
                    <a:gd name="T1" fmla="*/ 0 h 24"/>
                    <a:gd name="T2" fmla="*/ 11 w 48"/>
                    <a:gd name="T3" fmla="*/ 0 h 24"/>
                    <a:gd name="T4" fmla="*/ 14 w 48"/>
                    <a:gd name="T5" fmla="*/ 3 h 24"/>
                    <a:gd name="T6" fmla="*/ 17 w 48"/>
                    <a:gd name="T7" fmla="*/ 3 h 24"/>
                    <a:gd name="T8" fmla="*/ 17 w 48"/>
                    <a:gd name="T9" fmla="*/ 6 h 24"/>
                    <a:gd name="T10" fmla="*/ 11 w 48"/>
                    <a:gd name="T11" fmla="*/ 9 h 24"/>
                    <a:gd name="T12" fmla="*/ 0 w 48"/>
                    <a:gd name="T13" fmla="*/ 9 h 24"/>
                    <a:gd name="T14" fmla="*/ 3 w 48"/>
                    <a:gd name="T15" fmla="*/ 6 h 24"/>
                    <a:gd name="T16" fmla="*/ 3 w 48"/>
                    <a:gd name="T17" fmla="*/ 0 h 2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8"/>
                    <a:gd name="T28" fmla="*/ 0 h 24"/>
                    <a:gd name="T29" fmla="*/ 48 w 48"/>
                    <a:gd name="T30" fmla="*/ 24 h 2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8" h="24">
                      <a:moveTo>
                        <a:pt x="8" y="0"/>
                      </a:moveTo>
                      <a:lnTo>
                        <a:pt x="32" y="0"/>
                      </a:ln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48" y="16"/>
                      </a:lnTo>
                      <a:lnTo>
                        <a:pt x="32" y="24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67" name="Freeform 245">
                  <a:extLst>
                    <a:ext uri="{FF2B5EF4-FFF2-40B4-BE49-F238E27FC236}">
                      <a16:creationId xmlns:a16="http://schemas.microsoft.com/office/drawing/2014/main" id="{D2F0889F-DD2B-6207-8873-22DCC569A6D7}"/>
                    </a:ext>
                  </a:extLst>
                </p:cNvPr>
                <p:cNvSpPr/>
                <p:nvPr/>
              </p:nvSpPr>
              <p:spPr bwMode="gray">
                <a:xfrm>
                  <a:off x="5113" y="1829"/>
                  <a:ext cx="22" cy="16"/>
                </a:xfrm>
                <a:custGeom>
                  <a:avLst/>
                  <a:gdLst>
                    <a:gd name="T0" fmla="*/ 0 w 32"/>
                    <a:gd name="T1" fmla="*/ 7 h 24"/>
                    <a:gd name="T2" fmla="*/ 0 w 32"/>
                    <a:gd name="T3" fmla="*/ 5 h 24"/>
                    <a:gd name="T4" fmla="*/ 3 w 32"/>
                    <a:gd name="T5" fmla="*/ 5 h 24"/>
                    <a:gd name="T6" fmla="*/ 3 w 32"/>
                    <a:gd name="T7" fmla="*/ 2 h 24"/>
                    <a:gd name="T8" fmla="*/ 8 w 32"/>
                    <a:gd name="T9" fmla="*/ 0 h 24"/>
                    <a:gd name="T10" fmla="*/ 10 w 32"/>
                    <a:gd name="T11" fmla="*/ 5 h 24"/>
                    <a:gd name="T12" fmla="*/ 3 w 32"/>
                    <a:gd name="T13" fmla="*/ 7 h 24"/>
                    <a:gd name="T14" fmla="*/ 0 w 32"/>
                    <a:gd name="T15" fmla="*/ 7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2"/>
                    <a:gd name="T25" fmla="*/ 0 h 24"/>
                    <a:gd name="T26" fmla="*/ 32 w 32"/>
                    <a:gd name="T27" fmla="*/ 24 h 2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2" h="24">
                      <a:moveTo>
                        <a:pt x="0" y="24"/>
                      </a:move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8" y="8"/>
                      </a:lnTo>
                      <a:lnTo>
                        <a:pt x="24" y="0"/>
                      </a:lnTo>
                      <a:lnTo>
                        <a:pt x="32" y="16"/>
                      </a:lnTo>
                      <a:lnTo>
                        <a:pt x="8" y="24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68" name="Freeform 246">
                  <a:extLst>
                    <a:ext uri="{FF2B5EF4-FFF2-40B4-BE49-F238E27FC236}">
                      <a16:creationId xmlns:a16="http://schemas.microsoft.com/office/drawing/2014/main" id="{A0D06C1B-23F3-95D8-8545-D0D0E7064CF7}"/>
                    </a:ext>
                  </a:extLst>
                </p:cNvPr>
                <p:cNvSpPr/>
                <p:nvPr/>
              </p:nvSpPr>
              <p:spPr bwMode="gray">
                <a:xfrm>
                  <a:off x="5147" y="1930"/>
                  <a:ext cx="17" cy="17"/>
                </a:xfrm>
                <a:custGeom>
                  <a:avLst/>
                  <a:gdLst>
                    <a:gd name="T0" fmla="*/ 0 w 24"/>
                    <a:gd name="T1" fmla="*/ 3 h 24"/>
                    <a:gd name="T2" fmla="*/ 3 w 24"/>
                    <a:gd name="T3" fmla="*/ 0 h 24"/>
                    <a:gd name="T4" fmla="*/ 6 w 24"/>
                    <a:gd name="T5" fmla="*/ 0 h 24"/>
                    <a:gd name="T6" fmla="*/ 9 w 24"/>
                    <a:gd name="T7" fmla="*/ 9 h 24"/>
                    <a:gd name="T8" fmla="*/ 6 w 24"/>
                    <a:gd name="T9" fmla="*/ 9 h 24"/>
                    <a:gd name="T10" fmla="*/ 0 w 24"/>
                    <a:gd name="T11" fmla="*/ 3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24"/>
                    <a:gd name="T20" fmla="*/ 24 w 24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24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69" name="Freeform 247">
                  <a:extLst>
                    <a:ext uri="{FF2B5EF4-FFF2-40B4-BE49-F238E27FC236}">
                      <a16:creationId xmlns:a16="http://schemas.microsoft.com/office/drawing/2014/main" id="{2B948CA7-931B-1B1D-A032-ADBF920E9A6C}"/>
                    </a:ext>
                  </a:extLst>
                </p:cNvPr>
                <p:cNvSpPr/>
                <p:nvPr/>
              </p:nvSpPr>
              <p:spPr bwMode="gray">
                <a:xfrm>
                  <a:off x="5169" y="1941"/>
                  <a:ext cx="17" cy="11"/>
                </a:xfrm>
                <a:custGeom>
                  <a:avLst/>
                  <a:gdLst>
                    <a:gd name="T0" fmla="*/ 0 w 24"/>
                    <a:gd name="T1" fmla="*/ 0 h 16"/>
                    <a:gd name="T2" fmla="*/ 6 w 24"/>
                    <a:gd name="T3" fmla="*/ 0 h 16"/>
                    <a:gd name="T4" fmla="*/ 9 w 24"/>
                    <a:gd name="T5" fmla="*/ 3 h 16"/>
                    <a:gd name="T6" fmla="*/ 6 w 24"/>
                    <a:gd name="T7" fmla="*/ 6 h 16"/>
                    <a:gd name="T8" fmla="*/ 3 w 24"/>
                    <a:gd name="T9" fmla="*/ 3 h 16"/>
                    <a:gd name="T10" fmla="*/ 0 w 24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16"/>
                    <a:gd name="T20" fmla="*/ 24 w 24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16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24" y="8"/>
                      </a:lnTo>
                      <a:lnTo>
                        <a:pt x="16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70" name="Freeform 248">
                  <a:extLst>
                    <a:ext uri="{FF2B5EF4-FFF2-40B4-BE49-F238E27FC236}">
                      <a16:creationId xmlns:a16="http://schemas.microsoft.com/office/drawing/2014/main" id="{66E71FF1-5BD2-110A-C975-F64E7B622AC3}"/>
                    </a:ext>
                  </a:extLst>
                </p:cNvPr>
                <p:cNvSpPr/>
                <p:nvPr/>
              </p:nvSpPr>
              <p:spPr bwMode="gray">
                <a:xfrm>
                  <a:off x="5524" y="1980"/>
                  <a:ext cx="11" cy="12"/>
                </a:xfrm>
                <a:custGeom>
                  <a:avLst/>
                  <a:gdLst>
                    <a:gd name="T0" fmla="*/ 6 w 16"/>
                    <a:gd name="T1" fmla="*/ 4 h 16"/>
                    <a:gd name="T2" fmla="*/ 6 w 16"/>
                    <a:gd name="T3" fmla="*/ 0 h 16"/>
                    <a:gd name="T4" fmla="*/ 0 w 16"/>
                    <a:gd name="T5" fmla="*/ 7 h 16"/>
                    <a:gd name="T6" fmla="*/ 3 w 16"/>
                    <a:gd name="T7" fmla="*/ 7 h 16"/>
                    <a:gd name="T8" fmla="*/ 6 w 16"/>
                    <a:gd name="T9" fmla="*/ 4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6"/>
                    <a:gd name="T17" fmla="*/ 16 w 16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6">
                      <a:moveTo>
                        <a:pt x="16" y="8"/>
                      </a:moveTo>
                      <a:lnTo>
                        <a:pt x="16" y="0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71" name="Freeform 249">
                  <a:extLst>
                    <a:ext uri="{FF2B5EF4-FFF2-40B4-BE49-F238E27FC236}">
                      <a16:creationId xmlns:a16="http://schemas.microsoft.com/office/drawing/2014/main" id="{E8F4BE70-C95D-968C-264A-0958C2FDBB8B}"/>
                    </a:ext>
                  </a:extLst>
                </p:cNvPr>
                <p:cNvSpPr/>
                <p:nvPr/>
              </p:nvSpPr>
              <p:spPr bwMode="gray">
                <a:xfrm>
                  <a:off x="5501" y="1992"/>
                  <a:ext cx="17" cy="17"/>
                </a:xfrm>
                <a:custGeom>
                  <a:avLst/>
                  <a:gdLst>
                    <a:gd name="T0" fmla="*/ 9 w 24"/>
                    <a:gd name="T1" fmla="*/ 0 h 24"/>
                    <a:gd name="T2" fmla="*/ 0 w 24"/>
                    <a:gd name="T3" fmla="*/ 9 h 24"/>
                    <a:gd name="T4" fmla="*/ 0 w 24"/>
                    <a:gd name="T5" fmla="*/ 6 h 24"/>
                    <a:gd name="T6" fmla="*/ 0 w 24"/>
                    <a:gd name="T7" fmla="*/ 3 h 24"/>
                    <a:gd name="T8" fmla="*/ 3 w 24"/>
                    <a:gd name="T9" fmla="*/ 0 h 24"/>
                    <a:gd name="T10" fmla="*/ 6 w 24"/>
                    <a:gd name="T11" fmla="*/ 0 h 24"/>
                    <a:gd name="T12" fmla="*/ 9 w 2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24" y="0"/>
                      </a:move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72" name="Freeform 250">
                  <a:extLst>
                    <a:ext uri="{FF2B5EF4-FFF2-40B4-BE49-F238E27FC236}">
                      <a16:creationId xmlns:a16="http://schemas.microsoft.com/office/drawing/2014/main" id="{97433E21-F2BB-1F98-0E9C-B8868FBBF7E5}"/>
                    </a:ext>
                  </a:extLst>
                </p:cNvPr>
                <p:cNvSpPr/>
                <p:nvPr/>
              </p:nvSpPr>
              <p:spPr bwMode="gray">
                <a:xfrm>
                  <a:off x="5406" y="2020"/>
                  <a:ext cx="16" cy="11"/>
                </a:xfrm>
                <a:custGeom>
                  <a:avLst/>
                  <a:gdLst>
                    <a:gd name="T0" fmla="*/ 7 w 24"/>
                    <a:gd name="T1" fmla="*/ 0 h 16"/>
                    <a:gd name="T2" fmla="*/ 7 w 24"/>
                    <a:gd name="T3" fmla="*/ 3 h 16"/>
                    <a:gd name="T4" fmla="*/ 2 w 24"/>
                    <a:gd name="T5" fmla="*/ 6 h 16"/>
                    <a:gd name="T6" fmla="*/ 0 w 24"/>
                    <a:gd name="T7" fmla="*/ 3 h 16"/>
                    <a:gd name="T8" fmla="*/ 2 w 24"/>
                    <a:gd name="T9" fmla="*/ 3 h 16"/>
                    <a:gd name="T10" fmla="*/ 5 w 24"/>
                    <a:gd name="T11" fmla="*/ 0 h 16"/>
                    <a:gd name="T12" fmla="*/ 5 w 24"/>
                    <a:gd name="T13" fmla="*/ 0 h 16"/>
                    <a:gd name="T14" fmla="*/ 7 w 24"/>
                    <a:gd name="T15" fmla="*/ 0 h 1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16"/>
                    <a:gd name="T26" fmla="*/ 24 w 24"/>
                    <a:gd name="T27" fmla="*/ 16 h 1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16">
                      <a:moveTo>
                        <a:pt x="24" y="0"/>
                      </a:moveTo>
                      <a:lnTo>
                        <a:pt x="24" y="8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73" name="Freeform 251">
                  <a:extLst>
                    <a:ext uri="{FF2B5EF4-FFF2-40B4-BE49-F238E27FC236}">
                      <a16:creationId xmlns:a16="http://schemas.microsoft.com/office/drawing/2014/main" id="{51DDFC2C-F618-D592-A20E-F656F54EF73B}"/>
                    </a:ext>
                  </a:extLst>
                </p:cNvPr>
                <p:cNvSpPr/>
                <p:nvPr/>
              </p:nvSpPr>
              <p:spPr bwMode="gray">
                <a:xfrm>
                  <a:off x="5422" y="2025"/>
                  <a:ext cx="12" cy="6"/>
                </a:xfrm>
                <a:custGeom>
                  <a:avLst/>
                  <a:gdLst>
                    <a:gd name="T0" fmla="*/ 0 w 16"/>
                    <a:gd name="T1" fmla="*/ 4 h 8"/>
                    <a:gd name="T2" fmla="*/ 4 w 16"/>
                    <a:gd name="T3" fmla="*/ 0 h 8"/>
                    <a:gd name="T4" fmla="*/ 7 w 16"/>
                    <a:gd name="T5" fmla="*/ 0 h 8"/>
                    <a:gd name="T6" fmla="*/ 0 w 16"/>
                    <a:gd name="T7" fmla="*/ 4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"/>
                    <a:gd name="T13" fmla="*/ 0 h 8"/>
                    <a:gd name="T14" fmla="*/ 16 w 1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" h="8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74" name="Freeform 252">
                  <a:extLst>
                    <a:ext uri="{FF2B5EF4-FFF2-40B4-BE49-F238E27FC236}">
                      <a16:creationId xmlns:a16="http://schemas.microsoft.com/office/drawing/2014/main" id="{EE6D1469-C44E-CE04-9D1D-8DED3E645E8C}"/>
                    </a:ext>
                  </a:extLst>
                </p:cNvPr>
                <p:cNvSpPr/>
                <p:nvPr/>
              </p:nvSpPr>
              <p:spPr bwMode="gray">
                <a:xfrm>
                  <a:off x="5366" y="2031"/>
                  <a:ext cx="11" cy="6"/>
                </a:xfrm>
                <a:custGeom>
                  <a:avLst/>
                  <a:gdLst>
                    <a:gd name="T0" fmla="*/ 0 w 16"/>
                    <a:gd name="T1" fmla="*/ 0 h 8"/>
                    <a:gd name="T2" fmla="*/ 3 w 16"/>
                    <a:gd name="T3" fmla="*/ 0 h 8"/>
                    <a:gd name="T4" fmla="*/ 6 w 16"/>
                    <a:gd name="T5" fmla="*/ 0 h 8"/>
                    <a:gd name="T6" fmla="*/ 6 w 16"/>
                    <a:gd name="T7" fmla="*/ 4 h 8"/>
                    <a:gd name="T8" fmla="*/ 0 w 16"/>
                    <a:gd name="T9" fmla="*/ 4 h 8"/>
                    <a:gd name="T10" fmla="*/ 0 w 16"/>
                    <a:gd name="T11" fmla="*/ 0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8"/>
                    <a:gd name="T20" fmla="*/ 16 w 16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75" name="Freeform 253">
                  <a:extLst>
                    <a:ext uri="{FF2B5EF4-FFF2-40B4-BE49-F238E27FC236}">
                      <a16:creationId xmlns:a16="http://schemas.microsoft.com/office/drawing/2014/main" id="{E1EB7037-1AE2-69AF-0289-41E6F6CECDE6}"/>
                    </a:ext>
                  </a:extLst>
                </p:cNvPr>
                <p:cNvSpPr/>
                <p:nvPr/>
              </p:nvSpPr>
              <p:spPr bwMode="gray">
                <a:xfrm>
                  <a:off x="5383" y="2031"/>
                  <a:ext cx="6" cy="6"/>
                </a:xfrm>
                <a:custGeom>
                  <a:avLst/>
                  <a:gdLst>
                    <a:gd name="T0" fmla="*/ 0 w 8"/>
                    <a:gd name="T1" fmla="*/ 0 h 8"/>
                    <a:gd name="T2" fmla="*/ 0 w 8"/>
                    <a:gd name="T3" fmla="*/ 4 h 8"/>
                    <a:gd name="T4" fmla="*/ 4 w 8"/>
                    <a:gd name="T5" fmla="*/ 0 h 8"/>
                    <a:gd name="T6" fmla="*/ 0 w 8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76" name="Freeform 254">
                  <a:extLst>
                    <a:ext uri="{FF2B5EF4-FFF2-40B4-BE49-F238E27FC236}">
                      <a16:creationId xmlns:a16="http://schemas.microsoft.com/office/drawing/2014/main" id="{6A097BB6-5D2A-1561-1A94-4EDDDD194D85}"/>
                    </a:ext>
                  </a:extLst>
                </p:cNvPr>
                <p:cNvSpPr/>
                <p:nvPr/>
              </p:nvSpPr>
              <p:spPr bwMode="gray">
                <a:xfrm>
                  <a:off x="5321" y="2031"/>
                  <a:ext cx="11" cy="11"/>
                </a:xfrm>
                <a:custGeom>
                  <a:avLst/>
                  <a:gdLst>
                    <a:gd name="T0" fmla="*/ 3 w 16"/>
                    <a:gd name="T1" fmla="*/ 0 h 16"/>
                    <a:gd name="T2" fmla="*/ 6 w 16"/>
                    <a:gd name="T3" fmla="*/ 3 h 16"/>
                    <a:gd name="T4" fmla="*/ 3 w 16"/>
                    <a:gd name="T5" fmla="*/ 6 h 16"/>
                    <a:gd name="T6" fmla="*/ 0 w 16"/>
                    <a:gd name="T7" fmla="*/ 3 h 16"/>
                    <a:gd name="T8" fmla="*/ 0 w 16"/>
                    <a:gd name="T9" fmla="*/ 0 h 16"/>
                    <a:gd name="T10" fmla="*/ 3 w 16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8" y="0"/>
                      </a:moveTo>
                      <a:lnTo>
                        <a:pt x="16" y="8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77" name="Freeform 255">
                  <a:extLst>
                    <a:ext uri="{FF2B5EF4-FFF2-40B4-BE49-F238E27FC236}">
                      <a16:creationId xmlns:a16="http://schemas.microsoft.com/office/drawing/2014/main" id="{17D484E5-4AB7-0C47-B30C-BC76C89817FF}"/>
                    </a:ext>
                  </a:extLst>
                </p:cNvPr>
                <p:cNvSpPr/>
                <p:nvPr/>
              </p:nvSpPr>
              <p:spPr bwMode="gray">
                <a:xfrm>
                  <a:off x="5299" y="2020"/>
                  <a:ext cx="11" cy="11"/>
                </a:xfrm>
                <a:custGeom>
                  <a:avLst/>
                  <a:gdLst>
                    <a:gd name="T0" fmla="*/ 3 w 16"/>
                    <a:gd name="T1" fmla="*/ 0 h 16"/>
                    <a:gd name="T2" fmla="*/ 6 w 16"/>
                    <a:gd name="T3" fmla="*/ 0 h 16"/>
                    <a:gd name="T4" fmla="*/ 3 w 16"/>
                    <a:gd name="T5" fmla="*/ 3 h 16"/>
                    <a:gd name="T6" fmla="*/ 3 w 16"/>
                    <a:gd name="T7" fmla="*/ 6 h 16"/>
                    <a:gd name="T8" fmla="*/ 0 w 16"/>
                    <a:gd name="T9" fmla="*/ 3 h 16"/>
                    <a:gd name="T10" fmla="*/ 3 w 16"/>
                    <a:gd name="T11" fmla="*/ 3 h 16"/>
                    <a:gd name="T12" fmla="*/ 3 w 16"/>
                    <a:gd name="T13" fmla="*/ 0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16"/>
                    <a:gd name="T23" fmla="*/ 16 w 16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16">
                      <a:moveTo>
                        <a:pt x="8" y="0"/>
                      </a:moveTo>
                      <a:lnTo>
                        <a:pt x="16" y="0"/>
                      </a:lnTo>
                      <a:lnTo>
                        <a:pt x="8" y="8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78" name="Freeform 256">
                  <a:extLst>
                    <a:ext uri="{FF2B5EF4-FFF2-40B4-BE49-F238E27FC236}">
                      <a16:creationId xmlns:a16="http://schemas.microsoft.com/office/drawing/2014/main" id="{2D0BBE06-8323-581E-FA17-6403426380E7}"/>
                    </a:ext>
                  </a:extLst>
                </p:cNvPr>
                <p:cNvSpPr/>
                <p:nvPr/>
              </p:nvSpPr>
              <p:spPr bwMode="gray">
                <a:xfrm>
                  <a:off x="5231" y="2003"/>
                  <a:ext cx="11" cy="6"/>
                </a:xfrm>
                <a:custGeom>
                  <a:avLst/>
                  <a:gdLst>
                    <a:gd name="T0" fmla="*/ 0 w 16"/>
                    <a:gd name="T1" fmla="*/ 0 h 8"/>
                    <a:gd name="T2" fmla="*/ 3 w 16"/>
                    <a:gd name="T3" fmla="*/ 0 h 8"/>
                    <a:gd name="T4" fmla="*/ 6 w 16"/>
                    <a:gd name="T5" fmla="*/ 4 h 8"/>
                    <a:gd name="T6" fmla="*/ 3 w 16"/>
                    <a:gd name="T7" fmla="*/ 4 h 8"/>
                    <a:gd name="T8" fmla="*/ 3 w 16"/>
                    <a:gd name="T9" fmla="*/ 0 h 8"/>
                    <a:gd name="T10" fmla="*/ 0 w 16"/>
                    <a:gd name="T11" fmla="*/ 0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8"/>
                    <a:gd name="T20" fmla="*/ 16 w 16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79" name="Freeform 257">
                  <a:extLst>
                    <a:ext uri="{FF2B5EF4-FFF2-40B4-BE49-F238E27FC236}">
                      <a16:creationId xmlns:a16="http://schemas.microsoft.com/office/drawing/2014/main" id="{79189E88-68BF-EAE7-1A31-A4ADA269333F}"/>
                    </a:ext>
                  </a:extLst>
                </p:cNvPr>
                <p:cNvSpPr/>
                <p:nvPr/>
              </p:nvSpPr>
              <p:spPr bwMode="gray">
                <a:xfrm>
                  <a:off x="5242" y="2014"/>
                  <a:ext cx="12" cy="6"/>
                </a:xfrm>
                <a:custGeom>
                  <a:avLst/>
                  <a:gdLst>
                    <a:gd name="T0" fmla="*/ 0 w 16"/>
                    <a:gd name="T1" fmla="*/ 0 h 8"/>
                    <a:gd name="T2" fmla="*/ 4 w 16"/>
                    <a:gd name="T3" fmla="*/ 0 h 8"/>
                    <a:gd name="T4" fmla="*/ 7 w 16"/>
                    <a:gd name="T5" fmla="*/ 4 h 8"/>
                    <a:gd name="T6" fmla="*/ 0 w 16"/>
                    <a:gd name="T7" fmla="*/ 4 h 8"/>
                    <a:gd name="T8" fmla="*/ 0 w 16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80" name="Freeform 258">
                  <a:extLst>
                    <a:ext uri="{FF2B5EF4-FFF2-40B4-BE49-F238E27FC236}">
                      <a16:creationId xmlns:a16="http://schemas.microsoft.com/office/drawing/2014/main" id="{14855F3B-CD85-7B9F-221D-BA89A103343B}"/>
                    </a:ext>
                  </a:extLst>
                </p:cNvPr>
                <p:cNvSpPr/>
                <p:nvPr/>
              </p:nvSpPr>
              <p:spPr bwMode="gray">
                <a:xfrm>
                  <a:off x="3374" y="2234"/>
                  <a:ext cx="57" cy="45"/>
                </a:xfrm>
                <a:custGeom>
                  <a:avLst/>
                  <a:gdLst>
                    <a:gd name="T0" fmla="*/ 29 w 80"/>
                    <a:gd name="T1" fmla="*/ 23 h 64"/>
                    <a:gd name="T2" fmla="*/ 24 w 80"/>
                    <a:gd name="T3" fmla="*/ 14 h 64"/>
                    <a:gd name="T4" fmla="*/ 21 w 80"/>
                    <a:gd name="T5" fmla="*/ 11 h 64"/>
                    <a:gd name="T6" fmla="*/ 17 w 80"/>
                    <a:gd name="T7" fmla="*/ 6 h 64"/>
                    <a:gd name="T8" fmla="*/ 9 w 80"/>
                    <a:gd name="T9" fmla="*/ 3 h 64"/>
                    <a:gd name="T10" fmla="*/ 0 w 80"/>
                    <a:gd name="T11" fmla="*/ 0 h 64"/>
                    <a:gd name="T12" fmla="*/ 6 w 80"/>
                    <a:gd name="T13" fmla="*/ 8 h 64"/>
                    <a:gd name="T14" fmla="*/ 6 w 80"/>
                    <a:gd name="T15" fmla="*/ 14 h 64"/>
                    <a:gd name="T16" fmla="*/ 11 w 80"/>
                    <a:gd name="T17" fmla="*/ 17 h 64"/>
                    <a:gd name="T18" fmla="*/ 11 w 80"/>
                    <a:gd name="T19" fmla="*/ 19 h 64"/>
                    <a:gd name="T20" fmla="*/ 17 w 80"/>
                    <a:gd name="T21" fmla="*/ 19 h 64"/>
                    <a:gd name="T22" fmla="*/ 26 w 80"/>
                    <a:gd name="T23" fmla="*/ 23 h 64"/>
                    <a:gd name="T24" fmla="*/ 29 w 80"/>
                    <a:gd name="T25" fmla="*/ 23 h 6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0"/>
                    <a:gd name="T40" fmla="*/ 0 h 64"/>
                    <a:gd name="T41" fmla="*/ 80 w 80"/>
                    <a:gd name="T42" fmla="*/ 64 h 6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0" h="64">
                      <a:moveTo>
                        <a:pt x="80" y="64"/>
                      </a:moveTo>
                      <a:lnTo>
                        <a:pt x="64" y="40"/>
                      </a:lnTo>
                      <a:lnTo>
                        <a:pt x="56" y="32"/>
                      </a:lnTo>
                      <a:lnTo>
                        <a:pt x="48" y="16"/>
                      </a:lnTo>
                      <a:lnTo>
                        <a:pt x="24" y="8"/>
                      </a:lnTo>
                      <a:lnTo>
                        <a:pt x="0" y="0"/>
                      </a:lnTo>
                      <a:lnTo>
                        <a:pt x="16" y="24"/>
                      </a:lnTo>
                      <a:lnTo>
                        <a:pt x="16" y="40"/>
                      </a:lnTo>
                      <a:lnTo>
                        <a:pt x="32" y="48"/>
                      </a:lnTo>
                      <a:lnTo>
                        <a:pt x="32" y="56"/>
                      </a:lnTo>
                      <a:lnTo>
                        <a:pt x="48" y="56"/>
                      </a:lnTo>
                      <a:lnTo>
                        <a:pt x="72" y="64"/>
                      </a:lnTo>
                      <a:lnTo>
                        <a:pt x="80" y="6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81" name="Freeform 259">
                  <a:extLst>
                    <a:ext uri="{FF2B5EF4-FFF2-40B4-BE49-F238E27FC236}">
                      <a16:creationId xmlns:a16="http://schemas.microsoft.com/office/drawing/2014/main" id="{28B3163C-3CCB-F43F-2D5C-9C99B1211C0E}"/>
                    </a:ext>
                  </a:extLst>
                </p:cNvPr>
                <p:cNvSpPr/>
                <p:nvPr/>
              </p:nvSpPr>
              <p:spPr bwMode="gray">
                <a:xfrm>
                  <a:off x="3554" y="2155"/>
                  <a:ext cx="248" cy="157"/>
                </a:xfrm>
                <a:custGeom>
                  <a:avLst/>
                  <a:gdLst>
                    <a:gd name="T0" fmla="*/ 89 w 352"/>
                    <a:gd name="T1" fmla="*/ 77 h 224"/>
                    <a:gd name="T2" fmla="*/ 89 w 352"/>
                    <a:gd name="T3" fmla="*/ 71 h 224"/>
                    <a:gd name="T4" fmla="*/ 92 w 352"/>
                    <a:gd name="T5" fmla="*/ 67 h 224"/>
                    <a:gd name="T6" fmla="*/ 89 w 352"/>
                    <a:gd name="T7" fmla="*/ 63 h 224"/>
                    <a:gd name="T8" fmla="*/ 87 w 352"/>
                    <a:gd name="T9" fmla="*/ 55 h 224"/>
                    <a:gd name="T10" fmla="*/ 92 w 352"/>
                    <a:gd name="T11" fmla="*/ 55 h 224"/>
                    <a:gd name="T12" fmla="*/ 98 w 352"/>
                    <a:gd name="T13" fmla="*/ 53 h 224"/>
                    <a:gd name="T14" fmla="*/ 98 w 352"/>
                    <a:gd name="T15" fmla="*/ 47 h 224"/>
                    <a:gd name="T16" fmla="*/ 106 w 352"/>
                    <a:gd name="T17" fmla="*/ 44 h 224"/>
                    <a:gd name="T18" fmla="*/ 112 w 352"/>
                    <a:gd name="T19" fmla="*/ 44 h 224"/>
                    <a:gd name="T20" fmla="*/ 109 w 352"/>
                    <a:gd name="T21" fmla="*/ 47 h 224"/>
                    <a:gd name="T22" fmla="*/ 109 w 352"/>
                    <a:gd name="T23" fmla="*/ 53 h 224"/>
                    <a:gd name="T24" fmla="*/ 115 w 352"/>
                    <a:gd name="T25" fmla="*/ 50 h 224"/>
                    <a:gd name="T26" fmla="*/ 123 w 352"/>
                    <a:gd name="T27" fmla="*/ 47 h 224"/>
                    <a:gd name="T28" fmla="*/ 123 w 352"/>
                    <a:gd name="T29" fmla="*/ 44 h 224"/>
                    <a:gd name="T30" fmla="*/ 118 w 352"/>
                    <a:gd name="T31" fmla="*/ 41 h 224"/>
                    <a:gd name="T32" fmla="*/ 115 w 352"/>
                    <a:gd name="T33" fmla="*/ 39 h 224"/>
                    <a:gd name="T34" fmla="*/ 106 w 352"/>
                    <a:gd name="T35" fmla="*/ 39 h 224"/>
                    <a:gd name="T36" fmla="*/ 104 w 352"/>
                    <a:gd name="T37" fmla="*/ 36 h 224"/>
                    <a:gd name="T38" fmla="*/ 106 w 352"/>
                    <a:gd name="T39" fmla="*/ 33 h 224"/>
                    <a:gd name="T40" fmla="*/ 109 w 352"/>
                    <a:gd name="T41" fmla="*/ 33 h 224"/>
                    <a:gd name="T42" fmla="*/ 112 w 352"/>
                    <a:gd name="T43" fmla="*/ 30 h 224"/>
                    <a:gd name="T44" fmla="*/ 101 w 352"/>
                    <a:gd name="T45" fmla="*/ 33 h 224"/>
                    <a:gd name="T46" fmla="*/ 98 w 352"/>
                    <a:gd name="T47" fmla="*/ 36 h 224"/>
                    <a:gd name="T48" fmla="*/ 95 w 352"/>
                    <a:gd name="T49" fmla="*/ 41 h 224"/>
                    <a:gd name="T50" fmla="*/ 92 w 352"/>
                    <a:gd name="T51" fmla="*/ 41 h 224"/>
                    <a:gd name="T52" fmla="*/ 89 w 352"/>
                    <a:gd name="T53" fmla="*/ 44 h 224"/>
                    <a:gd name="T54" fmla="*/ 87 w 352"/>
                    <a:gd name="T55" fmla="*/ 44 h 224"/>
                    <a:gd name="T56" fmla="*/ 84 w 352"/>
                    <a:gd name="T57" fmla="*/ 41 h 224"/>
                    <a:gd name="T58" fmla="*/ 81 w 352"/>
                    <a:gd name="T59" fmla="*/ 39 h 224"/>
                    <a:gd name="T60" fmla="*/ 75 w 352"/>
                    <a:gd name="T61" fmla="*/ 27 h 224"/>
                    <a:gd name="T62" fmla="*/ 70 w 352"/>
                    <a:gd name="T63" fmla="*/ 30 h 224"/>
                    <a:gd name="T64" fmla="*/ 67 w 352"/>
                    <a:gd name="T65" fmla="*/ 22 h 224"/>
                    <a:gd name="T66" fmla="*/ 61 w 352"/>
                    <a:gd name="T67" fmla="*/ 19 h 224"/>
                    <a:gd name="T68" fmla="*/ 58 w 352"/>
                    <a:gd name="T69" fmla="*/ 19 h 224"/>
                    <a:gd name="T70" fmla="*/ 50 w 352"/>
                    <a:gd name="T71" fmla="*/ 17 h 224"/>
                    <a:gd name="T72" fmla="*/ 48 w 352"/>
                    <a:gd name="T73" fmla="*/ 19 h 224"/>
                    <a:gd name="T74" fmla="*/ 42 w 352"/>
                    <a:gd name="T75" fmla="*/ 11 h 224"/>
                    <a:gd name="T76" fmla="*/ 23 w 352"/>
                    <a:gd name="T77" fmla="*/ 0 h 224"/>
                    <a:gd name="T78" fmla="*/ 0 w 352"/>
                    <a:gd name="T79" fmla="*/ 11 h 224"/>
                    <a:gd name="T80" fmla="*/ 3 w 352"/>
                    <a:gd name="T81" fmla="*/ 36 h 224"/>
                    <a:gd name="T82" fmla="*/ 14 w 352"/>
                    <a:gd name="T83" fmla="*/ 39 h 224"/>
                    <a:gd name="T84" fmla="*/ 17 w 352"/>
                    <a:gd name="T85" fmla="*/ 30 h 224"/>
                    <a:gd name="T86" fmla="*/ 19 w 352"/>
                    <a:gd name="T87" fmla="*/ 27 h 224"/>
                    <a:gd name="T88" fmla="*/ 23 w 352"/>
                    <a:gd name="T89" fmla="*/ 30 h 224"/>
                    <a:gd name="T90" fmla="*/ 23 w 352"/>
                    <a:gd name="T91" fmla="*/ 27 h 224"/>
                    <a:gd name="T92" fmla="*/ 25 w 352"/>
                    <a:gd name="T93" fmla="*/ 27 h 224"/>
                    <a:gd name="T94" fmla="*/ 27 w 352"/>
                    <a:gd name="T95" fmla="*/ 30 h 224"/>
                    <a:gd name="T96" fmla="*/ 31 w 352"/>
                    <a:gd name="T97" fmla="*/ 33 h 224"/>
                    <a:gd name="T98" fmla="*/ 31 w 352"/>
                    <a:gd name="T99" fmla="*/ 36 h 224"/>
                    <a:gd name="T100" fmla="*/ 31 w 352"/>
                    <a:gd name="T101" fmla="*/ 39 h 224"/>
                    <a:gd name="T102" fmla="*/ 42 w 352"/>
                    <a:gd name="T103" fmla="*/ 41 h 224"/>
                    <a:gd name="T104" fmla="*/ 44 w 352"/>
                    <a:gd name="T105" fmla="*/ 44 h 224"/>
                    <a:gd name="T106" fmla="*/ 50 w 352"/>
                    <a:gd name="T107" fmla="*/ 50 h 224"/>
                    <a:gd name="T108" fmla="*/ 53 w 352"/>
                    <a:gd name="T109" fmla="*/ 58 h 224"/>
                    <a:gd name="T110" fmla="*/ 58 w 352"/>
                    <a:gd name="T111" fmla="*/ 67 h 224"/>
                    <a:gd name="T112" fmla="*/ 65 w 352"/>
                    <a:gd name="T113" fmla="*/ 69 h 224"/>
                    <a:gd name="T114" fmla="*/ 73 w 352"/>
                    <a:gd name="T115" fmla="*/ 71 h 224"/>
                    <a:gd name="T116" fmla="*/ 75 w 352"/>
                    <a:gd name="T117" fmla="*/ 71 h 224"/>
                    <a:gd name="T118" fmla="*/ 78 w 352"/>
                    <a:gd name="T119" fmla="*/ 77 h 224"/>
                    <a:gd name="T120" fmla="*/ 89 w 352"/>
                    <a:gd name="T121" fmla="*/ 77 h 22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352"/>
                    <a:gd name="T184" fmla="*/ 0 h 224"/>
                    <a:gd name="T185" fmla="*/ 352 w 352"/>
                    <a:gd name="T186" fmla="*/ 224 h 22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352" h="224">
                      <a:moveTo>
                        <a:pt x="256" y="224"/>
                      </a:moveTo>
                      <a:lnTo>
                        <a:pt x="256" y="208"/>
                      </a:lnTo>
                      <a:lnTo>
                        <a:pt x="264" y="192"/>
                      </a:lnTo>
                      <a:lnTo>
                        <a:pt x="256" y="184"/>
                      </a:lnTo>
                      <a:lnTo>
                        <a:pt x="248" y="160"/>
                      </a:lnTo>
                      <a:lnTo>
                        <a:pt x="264" y="160"/>
                      </a:lnTo>
                      <a:lnTo>
                        <a:pt x="280" y="152"/>
                      </a:lnTo>
                      <a:lnTo>
                        <a:pt x="280" y="136"/>
                      </a:lnTo>
                      <a:lnTo>
                        <a:pt x="304" y="128"/>
                      </a:lnTo>
                      <a:lnTo>
                        <a:pt x="320" y="128"/>
                      </a:lnTo>
                      <a:lnTo>
                        <a:pt x="312" y="136"/>
                      </a:lnTo>
                      <a:lnTo>
                        <a:pt x="312" y="152"/>
                      </a:lnTo>
                      <a:lnTo>
                        <a:pt x="328" y="144"/>
                      </a:lnTo>
                      <a:lnTo>
                        <a:pt x="352" y="136"/>
                      </a:lnTo>
                      <a:lnTo>
                        <a:pt x="352" y="128"/>
                      </a:lnTo>
                      <a:lnTo>
                        <a:pt x="336" y="120"/>
                      </a:lnTo>
                      <a:lnTo>
                        <a:pt x="328" y="112"/>
                      </a:lnTo>
                      <a:lnTo>
                        <a:pt x="304" y="112"/>
                      </a:lnTo>
                      <a:lnTo>
                        <a:pt x="296" y="104"/>
                      </a:lnTo>
                      <a:lnTo>
                        <a:pt x="304" y="96"/>
                      </a:lnTo>
                      <a:lnTo>
                        <a:pt x="312" y="96"/>
                      </a:lnTo>
                      <a:lnTo>
                        <a:pt x="320" y="88"/>
                      </a:lnTo>
                      <a:lnTo>
                        <a:pt x="288" y="96"/>
                      </a:lnTo>
                      <a:lnTo>
                        <a:pt x="280" y="104"/>
                      </a:lnTo>
                      <a:lnTo>
                        <a:pt x="272" y="120"/>
                      </a:lnTo>
                      <a:lnTo>
                        <a:pt x="264" y="120"/>
                      </a:lnTo>
                      <a:lnTo>
                        <a:pt x="256" y="128"/>
                      </a:lnTo>
                      <a:lnTo>
                        <a:pt x="248" y="128"/>
                      </a:lnTo>
                      <a:lnTo>
                        <a:pt x="240" y="120"/>
                      </a:lnTo>
                      <a:lnTo>
                        <a:pt x="232" y="112"/>
                      </a:lnTo>
                      <a:lnTo>
                        <a:pt x="216" y="80"/>
                      </a:lnTo>
                      <a:lnTo>
                        <a:pt x="200" y="88"/>
                      </a:lnTo>
                      <a:lnTo>
                        <a:pt x="192" y="64"/>
                      </a:lnTo>
                      <a:lnTo>
                        <a:pt x="176" y="56"/>
                      </a:lnTo>
                      <a:lnTo>
                        <a:pt x="168" y="56"/>
                      </a:lnTo>
                      <a:lnTo>
                        <a:pt x="144" y="48"/>
                      </a:lnTo>
                      <a:lnTo>
                        <a:pt x="136" y="56"/>
                      </a:lnTo>
                      <a:lnTo>
                        <a:pt x="120" y="32"/>
                      </a:lnTo>
                      <a:lnTo>
                        <a:pt x="64" y="0"/>
                      </a:lnTo>
                      <a:lnTo>
                        <a:pt x="0" y="32"/>
                      </a:lnTo>
                      <a:lnTo>
                        <a:pt x="8" y="104"/>
                      </a:lnTo>
                      <a:lnTo>
                        <a:pt x="40" y="112"/>
                      </a:lnTo>
                      <a:lnTo>
                        <a:pt x="48" y="88"/>
                      </a:lnTo>
                      <a:lnTo>
                        <a:pt x="56" y="80"/>
                      </a:lnTo>
                      <a:lnTo>
                        <a:pt x="64" y="88"/>
                      </a:lnTo>
                      <a:lnTo>
                        <a:pt x="64" y="80"/>
                      </a:lnTo>
                      <a:lnTo>
                        <a:pt x="72" y="80"/>
                      </a:lnTo>
                      <a:lnTo>
                        <a:pt x="80" y="88"/>
                      </a:lnTo>
                      <a:lnTo>
                        <a:pt x="88" y="96"/>
                      </a:lnTo>
                      <a:lnTo>
                        <a:pt x="88" y="104"/>
                      </a:lnTo>
                      <a:lnTo>
                        <a:pt x="88" y="112"/>
                      </a:lnTo>
                      <a:lnTo>
                        <a:pt x="120" y="120"/>
                      </a:lnTo>
                      <a:lnTo>
                        <a:pt x="128" y="128"/>
                      </a:lnTo>
                      <a:lnTo>
                        <a:pt x="144" y="144"/>
                      </a:lnTo>
                      <a:lnTo>
                        <a:pt x="152" y="168"/>
                      </a:lnTo>
                      <a:lnTo>
                        <a:pt x="168" y="192"/>
                      </a:lnTo>
                      <a:lnTo>
                        <a:pt x="184" y="200"/>
                      </a:lnTo>
                      <a:lnTo>
                        <a:pt x="208" y="208"/>
                      </a:lnTo>
                      <a:lnTo>
                        <a:pt x="216" y="208"/>
                      </a:lnTo>
                      <a:lnTo>
                        <a:pt x="224" y="224"/>
                      </a:lnTo>
                      <a:lnTo>
                        <a:pt x="256" y="2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82" name="Freeform 260">
                  <a:extLst>
                    <a:ext uri="{FF2B5EF4-FFF2-40B4-BE49-F238E27FC236}">
                      <a16:creationId xmlns:a16="http://schemas.microsoft.com/office/drawing/2014/main" id="{5125FF42-EE57-C0D8-D4AD-D35921A323D6}"/>
                    </a:ext>
                  </a:extLst>
                </p:cNvPr>
                <p:cNvSpPr/>
                <p:nvPr/>
              </p:nvSpPr>
              <p:spPr bwMode="gray">
                <a:xfrm>
                  <a:off x="3729" y="2245"/>
                  <a:ext cx="107" cy="79"/>
                </a:xfrm>
                <a:custGeom>
                  <a:avLst/>
                  <a:gdLst>
                    <a:gd name="T0" fmla="*/ 50 w 152"/>
                    <a:gd name="T1" fmla="*/ 34 h 112"/>
                    <a:gd name="T2" fmla="*/ 53 w 152"/>
                    <a:gd name="T3" fmla="*/ 25 h 112"/>
                    <a:gd name="T4" fmla="*/ 53 w 152"/>
                    <a:gd name="T5" fmla="*/ 20 h 112"/>
                    <a:gd name="T6" fmla="*/ 48 w 152"/>
                    <a:gd name="T7" fmla="*/ 20 h 112"/>
                    <a:gd name="T8" fmla="*/ 44 w 152"/>
                    <a:gd name="T9" fmla="*/ 14 h 112"/>
                    <a:gd name="T10" fmla="*/ 39 w 152"/>
                    <a:gd name="T11" fmla="*/ 14 h 112"/>
                    <a:gd name="T12" fmla="*/ 31 w 152"/>
                    <a:gd name="T13" fmla="*/ 14 h 112"/>
                    <a:gd name="T14" fmla="*/ 31 w 152"/>
                    <a:gd name="T15" fmla="*/ 11 h 112"/>
                    <a:gd name="T16" fmla="*/ 25 w 152"/>
                    <a:gd name="T17" fmla="*/ 11 h 112"/>
                    <a:gd name="T18" fmla="*/ 23 w 152"/>
                    <a:gd name="T19" fmla="*/ 14 h 112"/>
                    <a:gd name="T20" fmla="*/ 19 w 152"/>
                    <a:gd name="T21" fmla="*/ 14 h 112"/>
                    <a:gd name="T22" fmla="*/ 14 w 152"/>
                    <a:gd name="T23" fmla="*/ 14 h 112"/>
                    <a:gd name="T24" fmla="*/ 14 w 152"/>
                    <a:gd name="T25" fmla="*/ 11 h 112"/>
                    <a:gd name="T26" fmla="*/ 23 w 152"/>
                    <a:gd name="T27" fmla="*/ 8 h 112"/>
                    <a:gd name="T28" fmla="*/ 23 w 152"/>
                    <a:gd name="T29" fmla="*/ 3 h 112"/>
                    <a:gd name="T30" fmla="*/ 25 w 152"/>
                    <a:gd name="T31" fmla="*/ 0 h 112"/>
                    <a:gd name="T32" fmla="*/ 19 w 152"/>
                    <a:gd name="T33" fmla="*/ 0 h 112"/>
                    <a:gd name="T34" fmla="*/ 11 w 152"/>
                    <a:gd name="T35" fmla="*/ 3 h 112"/>
                    <a:gd name="T36" fmla="*/ 11 w 152"/>
                    <a:gd name="T37" fmla="*/ 8 h 112"/>
                    <a:gd name="T38" fmla="*/ 6 w 152"/>
                    <a:gd name="T39" fmla="*/ 11 h 112"/>
                    <a:gd name="T40" fmla="*/ 0 w 152"/>
                    <a:gd name="T41" fmla="*/ 11 h 112"/>
                    <a:gd name="T42" fmla="*/ 3 w 152"/>
                    <a:gd name="T43" fmla="*/ 20 h 112"/>
                    <a:gd name="T44" fmla="*/ 6 w 152"/>
                    <a:gd name="T45" fmla="*/ 23 h 112"/>
                    <a:gd name="T46" fmla="*/ 3 w 152"/>
                    <a:gd name="T47" fmla="*/ 28 h 112"/>
                    <a:gd name="T48" fmla="*/ 3 w 152"/>
                    <a:gd name="T49" fmla="*/ 34 h 112"/>
                    <a:gd name="T50" fmla="*/ 8 w 152"/>
                    <a:gd name="T51" fmla="*/ 36 h 112"/>
                    <a:gd name="T52" fmla="*/ 19 w 152"/>
                    <a:gd name="T53" fmla="*/ 31 h 112"/>
                    <a:gd name="T54" fmla="*/ 23 w 152"/>
                    <a:gd name="T55" fmla="*/ 25 h 112"/>
                    <a:gd name="T56" fmla="*/ 25 w 152"/>
                    <a:gd name="T57" fmla="*/ 23 h 112"/>
                    <a:gd name="T58" fmla="*/ 27 w 152"/>
                    <a:gd name="T59" fmla="*/ 25 h 112"/>
                    <a:gd name="T60" fmla="*/ 31 w 152"/>
                    <a:gd name="T61" fmla="*/ 31 h 112"/>
                    <a:gd name="T62" fmla="*/ 27 w 152"/>
                    <a:gd name="T63" fmla="*/ 40 h 112"/>
                    <a:gd name="T64" fmla="*/ 36 w 152"/>
                    <a:gd name="T65" fmla="*/ 36 h 112"/>
                    <a:gd name="T66" fmla="*/ 44 w 152"/>
                    <a:gd name="T67" fmla="*/ 31 h 112"/>
                    <a:gd name="T68" fmla="*/ 48 w 152"/>
                    <a:gd name="T69" fmla="*/ 31 h 112"/>
                    <a:gd name="T70" fmla="*/ 48 w 152"/>
                    <a:gd name="T71" fmla="*/ 34 h 112"/>
                    <a:gd name="T72" fmla="*/ 50 w 152"/>
                    <a:gd name="T73" fmla="*/ 34 h 11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52"/>
                    <a:gd name="T112" fmla="*/ 0 h 112"/>
                    <a:gd name="T113" fmla="*/ 152 w 152"/>
                    <a:gd name="T114" fmla="*/ 112 h 11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52" h="112">
                      <a:moveTo>
                        <a:pt x="144" y="96"/>
                      </a:moveTo>
                      <a:lnTo>
                        <a:pt x="152" y="72"/>
                      </a:lnTo>
                      <a:lnTo>
                        <a:pt x="152" y="56"/>
                      </a:lnTo>
                      <a:lnTo>
                        <a:pt x="136" y="56"/>
                      </a:lnTo>
                      <a:lnTo>
                        <a:pt x="128" y="40"/>
                      </a:lnTo>
                      <a:lnTo>
                        <a:pt x="112" y="40"/>
                      </a:lnTo>
                      <a:lnTo>
                        <a:pt x="88" y="40"/>
                      </a:lnTo>
                      <a:lnTo>
                        <a:pt x="88" y="32"/>
                      </a:lnTo>
                      <a:lnTo>
                        <a:pt x="72" y="32"/>
                      </a:lnTo>
                      <a:lnTo>
                        <a:pt x="64" y="40"/>
                      </a:lnTo>
                      <a:lnTo>
                        <a:pt x="56" y="40"/>
                      </a:lnTo>
                      <a:lnTo>
                        <a:pt x="40" y="40"/>
                      </a:lnTo>
                      <a:lnTo>
                        <a:pt x="40" y="32"/>
                      </a:lnTo>
                      <a:lnTo>
                        <a:pt x="64" y="24"/>
                      </a:lnTo>
                      <a:lnTo>
                        <a:pt x="64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32" y="8"/>
                      </a:lnTo>
                      <a:lnTo>
                        <a:pt x="32" y="24"/>
                      </a:lnTo>
                      <a:lnTo>
                        <a:pt x="16" y="32"/>
                      </a:lnTo>
                      <a:lnTo>
                        <a:pt x="0" y="32"/>
                      </a:lnTo>
                      <a:lnTo>
                        <a:pt x="8" y="56"/>
                      </a:lnTo>
                      <a:lnTo>
                        <a:pt x="16" y="64"/>
                      </a:lnTo>
                      <a:lnTo>
                        <a:pt x="8" y="80"/>
                      </a:lnTo>
                      <a:lnTo>
                        <a:pt x="8" y="96"/>
                      </a:lnTo>
                      <a:lnTo>
                        <a:pt x="24" y="104"/>
                      </a:lnTo>
                      <a:lnTo>
                        <a:pt x="56" y="88"/>
                      </a:lnTo>
                      <a:lnTo>
                        <a:pt x="64" y="72"/>
                      </a:lnTo>
                      <a:lnTo>
                        <a:pt x="72" y="64"/>
                      </a:lnTo>
                      <a:lnTo>
                        <a:pt x="80" y="72"/>
                      </a:lnTo>
                      <a:lnTo>
                        <a:pt x="88" y="88"/>
                      </a:lnTo>
                      <a:lnTo>
                        <a:pt x="80" y="112"/>
                      </a:lnTo>
                      <a:lnTo>
                        <a:pt x="104" y="104"/>
                      </a:lnTo>
                      <a:lnTo>
                        <a:pt x="128" y="88"/>
                      </a:lnTo>
                      <a:lnTo>
                        <a:pt x="136" y="88"/>
                      </a:lnTo>
                      <a:lnTo>
                        <a:pt x="136" y="96"/>
                      </a:lnTo>
                      <a:lnTo>
                        <a:pt x="144" y="9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83" name="Freeform 261">
                  <a:extLst>
                    <a:ext uri="{FF2B5EF4-FFF2-40B4-BE49-F238E27FC236}">
                      <a16:creationId xmlns:a16="http://schemas.microsoft.com/office/drawing/2014/main" id="{36BFB68A-1F6E-292C-2B47-4C6A61166C59}"/>
                    </a:ext>
                  </a:extLst>
                </p:cNvPr>
                <p:cNvSpPr/>
                <p:nvPr/>
              </p:nvSpPr>
              <p:spPr bwMode="gray">
                <a:xfrm>
                  <a:off x="3757" y="2194"/>
                  <a:ext cx="157" cy="79"/>
                </a:xfrm>
                <a:custGeom>
                  <a:avLst/>
                  <a:gdLst>
                    <a:gd name="T0" fmla="*/ 30 w 224"/>
                    <a:gd name="T1" fmla="*/ 40 h 112"/>
                    <a:gd name="T2" fmla="*/ 33 w 224"/>
                    <a:gd name="T3" fmla="*/ 34 h 112"/>
                    <a:gd name="T4" fmla="*/ 44 w 224"/>
                    <a:gd name="T5" fmla="*/ 28 h 112"/>
                    <a:gd name="T6" fmla="*/ 47 w 224"/>
                    <a:gd name="T7" fmla="*/ 31 h 112"/>
                    <a:gd name="T8" fmla="*/ 53 w 224"/>
                    <a:gd name="T9" fmla="*/ 31 h 112"/>
                    <a:gd name="T10" fmla="*/ 53 w 224"/>
                    <a:gd name="T11" fmla="*/ 25 h 112"/>
                    <a:gd name="T12" fmla="*/ 58 w 224"/>
                    <a:gd name="T13" fmla="*/ 23 h 112"/>
                    <a:gd name="T14" fmla="*/ 63 w 224"/>
                    <a:gd name="T15" fmla="*/ 20 h 112"/>
                    <a:gd name="T16" fmla="*/ 71 w 224"/>
                    <a:gd name="T17" fmla="*/ 17 h 112"/>
                    <a:gd name="T18" fmla="*/ 77 w 224"/>
                    <a:gd name="T19" fmla="*/ 11 h 112"/>
                    <a:gd name="T20" fmla="*/ 71 w 224"/>
                    <a:gd name="T21" fmla="*/ 8 h 112"/>
                    <a:gd name="T22" fmla="*/ 63 w 224"/>
                    <a:gd name="T23" fmla="*/ 6 h 112"/>
                    <a:gd name="T24" fmla="*/ 53 w 224"/>
                    <a:gd name="T25" fmla="*/ 3 h 112"/>
                    <a:gd name="T26" fmla="*/ 41 w 224"/>
                    <a:gd name="T27" fmla="*/ 6 h 112"/>
                    <a:gd name="T28" fmla="*/ 39 w 224"/>
                    <a:gd name="T29" fmla="*/ 3 h 112"/>
                    <a:gd name="T30" fmla="*/ 36 w 224"/>
                    <a:gd name="T31" fmla="*/ 0 h 112"/>
                    <a:gd name="T32" fmla="*/ 27 w 224"/>
                    <a:gd name="T33" fmla="*/ 6 h 112"/>
                    <a:gd name="T34" fmla="*/ 30 w 224"/>
                    <a:gd name="T35" fmla="*/ 8 h 112"/>
                    <a:gd name="T36" fmla="*/ 22 w 224"/>
                    <a:gd name="T37" fmla="*/ 11 h 112"/>
                    <a:gd name="T38" fmla="*/ 19 w 224"/>
                    <a:gd name="T39" fmla="*/ 8 h 112"/>
                    <a:gd name="T40" fmla="*/ 14 w 224"/>
                    <a:gd name="T41" fmla="*/ 8 h 112"/>
                    <a:gd name="T42" fmla="*/ 11 w 224"/>
                    <a:gd name="T43" fmla="*/ 11 h 112"/>
                    <a:gd name="T44" fmla="*/ 8 w 224"/>
                    <a:gd name="T45" fmla="*/ 14 h 112"/>
                    <a:gd name="T46" fmla="*/ 6 w 224"/>
                    <a:gd name="T47" fmla="*/ 14 h 112"/>
                    <a:gd name="T48" fmla="*/ 3 w 224"/>
                    <a:gd name="T49" fmla="*/ 17 h 112"/>
                    <a:gd name="T50" fmla="*/ 6 w 224"/>
                    <a:gd name="T51" fmla="*/ 20 h 112"/>
                    <a:gd name="T52" fmla="*/ 14 w 224"/>
                    <a:gd name="T53" fmla="*/ 20 h 112"/>
                    <a:gd name="T54" fmla="*/ 17 w 224"/>
                    <a:gd name="T55" fmla="*/ 23 h 112"/>
                    <a:gd name="T56" fmla="*/ 22 w 224"/>
                    <a:gd name="T57" fmla="*/ 25 h 112"/>
                    <a:gd name="T58" fmla="*/ 22 w 224"/>
                    <a:gd name="T59" fmla="*/ 28 h 112"/>
                    <a:gd name="T60" fmla="*/ 14 w 224"/>
                    <a:gd name="T61" fmla="*/ 31 h 112"/>
                    <a:gd name="T62" fmla="*/ 8 w 224"/>
                    <a:gd name="T63" fmla="*/ 34 h 112"/>
                    <a:gd name="T64" fmla="*/ 0 w 224"/>
                    <a:gd name="T65" fmla="*/ 36 h 112"/>
                    <a:gd name="T66" fmla="*/ 0 w 224"/>
                    <a:gd name="T67" fmla="*/ 40 h 112"/>
                    <a:gd name="T68" fmla="*/ 6 w 224"/>
                    <a:gd name="T69" fmla="*/ 40 h 112"/>
                    <a:gd name="T70" fmla="*/ 8 w 224"/>
                    <a:gd name="T71" fmla="*/ 40 h 112"/>
                    <a:gd name="T72" fmla="*/ 11 w 224"/>
                    <a:gd name="T73" fmla="*/ 36 h 112"/>
                    <a:gd name="T74" fmla="*/ 17 w 224"/>
                    <a:gd name="T75" fmla="*/ 36 h 112"/>
                    <a:gd name="T76" fmla="*/ 17 w 224"/>
                    <a:gd name="T77" fmla="*/ 40 h 112"/>
                    <a:gd name="T78" fmla="*/ 25 w 224"/>
                    <a:gd name="T79" fmla="*/ 40 h 112"/>
                    <a:gd name="T80" fmla="*/ 30 w 224"/>
                    <a:gd name="T81" fmla="*/ 40 h 112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24"/>
                    <a:gd name="T124" fmla="*/ 0 h 112"/>
                    <a:gd name="T125" fmla="*/ 224 w 224"/>
                    <a:gd name="T126" fmla="*/ 112 h 112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24" h="112">
                      <a:moveTo>
                        <a:pt x="88" y="112"/>
                      </a:moveTo>
                      <a:lnTo>
                        <a:pt x="96" y="96"/>
                      </a:lnTo>
                      <a:lnTo>
                        <a:pt x="128" y="80"/>
                      </a:lnTo>
                      <a:lnTo>
                        <a:pt x="136" y="88"/>
                      </a:lnTo>
                      <a:lnTo>
                        <a:pt x="152" y="88"/>
                      </a:lnTo>
                      <a:lnTo>
                        <a:pt x="152" y="72"/>
                      </a:lnTo>
                      <a:lnTo>
                        <a:pt x="168" y="64"/>
                      </a:lnTo>
                      <a:lnTo>
                        <a:pt x="184" y="56"/>
                      </a:lnTo>
                      <a:lnTo>
                        <a:pt x="208" y="48"/>
                      </a:lnTo>
                      <a:lnTo>
                        <a:pt x="224" y="32"/>
                      </a:lnTo>
                      <a:lnTo>
                        <a:pt x="208" y="24"/>
                      </a:lnTo>
                      <a:lnTo>
                        <a:pt x="184" y="16"/>
                      </a:lnTo>
                      <a:lnTo>
                        <a:pt x="152" y="8"/>
                      </a:lnTo>
                      <a:lnTo>
                        <a:pt x="120" y="16"/>
                      </a:lnTo>
                      <a:lnTo>
                        <a:pt x="112" y="8"/>
                      </a:lnTo>
                      <a:lnTo>
                        <a:pt x="104" y="0"/>
                      </a:lnTo>
                      <a:lnTo>
                        <a:pt x="80" y="16"/>
                      </a:lnTo>
                      <a:lnTo>
                        <a:pt x="88" y="24"/>
                      </a:lnTo>
                      <a:lnTo>
                        <a:pt x="64" y="32"/>
                      </a:lnTo>
                      <a:lnTo>
                        <a:pt x="56" y="24"/>
                      </a:lnTo>
                      <a:lnTo>
                        <a:pt x="40" y="24"/>
                      </a:lnTo>
                      <a:lnTo>
                        <a:pt x="32" y="32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8" y="48"/>
                      </a:lnTo>
                      <a:lnTo>
                        <a:pt x="16" y="56"/>
                      </a:lnTo>
                      <a:lnTo>
                        <a:pt x="40" y="56"/>
                      </a:lnTo>
                      <a:lnTo>
                        <a:pt x="48" y="64"/>
                      </a:lnTo>
                      <a:lnTo>
                        <a:pt x="64" y="72"/>
                      </a:lnTo>
                      <a:lnTo>
                        <a:pt x="64" y="80"/>
                      </a:lnTo>
                      <a:lnTo>
                        <a:pt x="40" y="88"/>
                      </a:lnTo>
                      <a:lnTo>
                        <a:pt x="24" y="96"/>
                      </a:lnTo>
                      <a:lnTo>
                        <a:pt x="0" y="104"/>
                      </a:lnTo>
                      <a:lnTo>
                        <a:pt x="0" y="112"/>
                      </a:lnTo>
                      <a:lnTo>
                        <a:pt x="16" y="112"/>
                      </a:lnTo>
                      <a:lnTo>
                        <a:pt x="24" y="112"/>
                      </a:lnTo>
                      <a:lnTo>
                        <a:pt x="32" y="104"/>
                      </a:lnTo>
                      <a:lnTo>
                        <a:pt x="48" y="104"/>
                      </a:lnTo>
                      <a:lnTo>
                        <a:pt x="48" y="112"/>
                      </a:lnTo>
                      <a:lnTo>
                        <a:pt x="72" y="112"/>
                      </a:lnTo>
                      <a:lnTo>
                        <a:pt x="88" y="11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84" name="Freeform 262">
                  <a:extLst>
                    <a:ext uri="{FF2B5EF4-FFF2-40B4-BE49-F238E27FC236}">
                      <a16:creationId xmlns:a16="http://schemas.microsoft.com/office/drawing/2014/main" id="{25AF0C23-5BB6-98B6-E6A0-A535CA394F0E}"/>
                    </a:ext>
                  </a:extLst>
                </p:cNvPr>
                <p:cNvSpPr/>
                <p:nvPr/>
              </p:nvSpPr>
              <p:spPr bwMode="gray">
                <a:xfrm>
                  <a:off x="3149" y="1525"/>
                  <a:ext cx="535" cy="714"/>
                </a:xfrm>
                <a:custGeom>
                  <a:avLst/>
                  <a:gdLst>
                    <a:gd name="T0" fmla="*/ 220 w 760"/>
                    <a:gd name="T1" fmla="*/ 253 h 1016"/>
                    <a:gd name="T2" fmla="*/ 199 w 760"/>
                    <a:gd name="T3" fmla="*/ 253 h 1016"/>
                    <a:gd name="T4" fmla="*/ 178 w 760"/>
                    <a:gd name="T5" fmla="*/ 247 h 1016"/>
                    <a:gd name="T6" fmla="*/ 153 w 760"/>
                    <a:gd name="T7" fmla="*/ 261 h 1016"/>
                    <a:gd name="T8" fmla="*/ 140 w 760"/>
                    <a:gd name="T9" fmla="*/ 286 h 1016"/>
                    <a:gd name="T10" fmla="*/ 156 w 760"/>
                    <a:gd name="T11" fmla="*/ 303 h 1016"/>
                    <a:gd name="T12" fmla="*/ 140 w 760"/>
                    <a:gd name="T13" fmla="*/ 316 h 1016"/>
                    <a:gd name="T14" fmla="*/ 145 w 760"/>
                    <a:gd name="T15" fmla="*/ 336 h 1016"/>
                    <a:gd name="T16" fmla="*/ 145 w 760"/>
                    <a:gd name="T17" fmla="*/ 353 h 1016"/>
                    <a:gd name="T18" fmla="*/ 123 w 760"/>
                    <a:gd name="T19" fmla="*/ 339 h 1016"/>
                    <a:gd name="T20" fmla="*/ 89 w 760"/>
                    <a:gd name="T21" fmla="*/ 333 h 1016"/>
                    <a:gd name="T22" fmla="*/ 73 w 760"/>
                    <a:gd name="T23" fmla="*/ 320 h 1016"/>
                    <a:gd name="T24" fmla="*/ 73 w 760"/>
                    <a:gd name="T25" fmla="*/ 313 h 1016"/>
                    <a:gd name="T26" fmla="*/ 75 w 760"/>
                    <a:gd name="T27" fmla="*/ 300 h 1016"/>
                    <a:gd name="T28" fmla="*/ 84 w 760"/>
                    <a:gd name="T29" fmla="*/ 286 h 1016"/>
                    <a:gd name="T30" fmla="*/ 84 w 760"/>
                    <a:gd name="T31" fmla="*/ 266 h 1016"/>
                    <a:gd name="T32" fmla="*/ 58 w 760"/>
                    <a:gd name="T33" fmla="*/ 261 h 1016"/>
                    <a:gd name="T34" fmla="*/ 48 w 760"/>
                    <a:gd name="T35" fmla="*/ 238 h 1016"/>
                    <a:gd name="T36" fmla="*/ 27 w 760"/>
                    <a:gd name="T37" fmla="*/ 233 h 1016"/>
                    <a:gd name="T38" fmla="*/ 36 w 760"/>
                    <a:gd name="T39" fmla="*/ 231 h 1016"/>
                    <a:gd name="T40" fmla="*/ 25 w 760"/>
                    <a:gd name="T41" fmla="*/ 200 h 1016"/>
                    <a:gd name="T42" fmla="*/ 11 w 760"/>
                    <a:gd name="T43" fmla="*/ 195 h 1016"/>
                    <a:gd name="T44" fmla="*/ 3 w 760"/>
                    <a:gd name="T45" fmla="*/ 172 h 1016"/>
                    <a:gd name="T46" fmla="*/ 6 w 760"/>
                    <a:gd name="T47" fmla="*/ 147 h 1016"/>
                    <a:gd name="T48" fmla="*/ 19 w 760"/>
                    <a:gd name="T49" fmla="*/ 142 h 1016"/>
                    <a:gd name="T50" fmla="*/ 8 w 760"/>
                    <a:gd name="T51" fmla="*/ 136 h 1016"/>
                    <a:gd name="T52" fmla="*/ 31 w 760"/>
                    <a:gd name="T53" fmla="*/ 97 h 1016"/>
                    <a:gd name="T54" fmla="*/ 23 w 760"/>
                    <a:gd name="T55" fmla="*/ 81 h 1016"/>
                    <a:gd name="T56" fmla="*/ 17 w 760"/>
                    <a:gd name="T57" fmla="*/ 64 h 1016"/>
                    <a:gd name="T58" fmla="*/ 11 w 760"/>
                    <a:gd name="T59" fmla="*/ 33 h 1016"/>
                    <a:gd name="T60" fmla="*/ 8 w 760"/>
                    <a:gd name="T61" fmla="*/ 14 h 1016"/>
                    <a:gd name="T62" fmla="*/ 31 w 760"/>
                    <a:gd name="T63" fmla="*/ 0 h 1016"/>
                    <a:gd name="T64" fmla="*/ 34 w 760"/>
                    <a:gd name="T65" fmla="*/ 3 h 1016"/>
                    <a:gd name="T66" fmla="*/ 50 w 760"/>
                    <a:gd name="T67" fmla="*/ 6 h 1016"/>
                    <a:gd name="T68" fmla="*/ 84 w 760"/>
                    <a:gd name="T69" fmla="*/ 19 h 1016"/>
                    <a:gd name="T70" fmla="*/ 98 w 760"/>
                    <a:gd name="T71" fmla="*/ 25 h 1016"/>
                    <a:gd name="T72" fmla="*/ 65 w 760"/>
                    <a:gd name="T73" fmla="*/ 41 h 1016"/>
                    <a:gd name="T74" fmla="*/ 36 w 760"/>
                    <a:gd name="T75" fmla="*/ 31 h 1016"/>
                    <a:gd name="T76" fmla="*/ 53 w 760"/>
                    <a:gd name="T77" fmla="*/ 53 h 1016"/>
                    <a:gd name="T78" fmla="*/ 53 w 760"/>
                    <a:gd name="T79" fmla="*/ 75 h 1016"/>
                    <a:gd name="T80" fmla="*/ 75 w 760"/>
                    <a:gd name="T81" fmla="*/ 77 h 1016"/>
                    <a:gd name="T82" fmla="*/ 67 w 760"/>
                    <a:gd name="T83" fmla="*/ 61 h 1016"/>
                    <a:gd name="T84" fmla="*/ 89 w 760"/>
                    <a:gd name="T85" fmla="*/ 70 h 1016"/>
                    <a:gd name="T86" fmla="*/ 101 w 760"/>
                    <a:gd name="T87" fmla="*/ 44 h 1016"/>
                    <a:gd name="T88" fmla="*/ 123 w 760"/>
                    <a:gd name="T89" fmla="*/ 33 h 1016"/>
                    <a:gd name="T90" fmla="*/ 120 w 760"/>
                    <a:gd name="T91" fmla="*/ 19 h 1016"/>
                    <a:gd name="T92" fmla="*/ 115 w 760"/>
                    <a:gd name="T93" fmla="*/ 14 h 1016"/>
                    <a:gd name="T94" fmla="*/ 128 w 760"/>
                    <a:gd name="T95" fmla="*/ 25 h 1016"/>
                    <a:gd name="T96" fmla="*/ 137 w 760"/>
                    <a:gd name="T97" fmla="*/ 33 h 1016"/>
                    <a:gd name="T98" fmla="*/ 151 w 760"/>
                    <a:gd name="T99" fmla="*/ 25 h 1016"/>
                    <a:gd name="T100" fmla="*/ 165 w 760"/>
                    <a:gd name="T101" fmla="*/ 17 h 1016"/>
                    <a:gd name="T102" fmla="*/ 178 w 760"/>
                    <a:gd name="T103" fmla="*/ 14 h 1016"/>
                    <a:gd name="T104" fmla="*/ 187 w 760"/>
                    <a:gd name="T105" fmla="*/ 14 h 1016"/>
                    <a:gd name="T106" fmla="*/ 199 w 760"/>
                    <a:gd name="T107" fmla="*/ 19 h 1016"/>
                    <a:gd name="T108" fmla="*/ 203 w 760"/>
                    <a:gd name="T109" fmla="*/ 17 h 1016"/>
                    <a:gd name="T110" fmla="*/ 223 w 760"/>
                    <a:gd name="T111" fmla="*/ 11 h 1016"/>
                    <a:gd name="T112" fmla="*/ 232 w 760"/>
                    <a:gd name="T113" fmla="*/ 17 h 1016"/>
                    <a:gd name="T114" fmla="*/ 234 w 760"/>
                    <a:gd name="T115" fmla="*/ 3 h 1016"/>
                    <a:gd name="T116" fmla="*/ 260 w 760"/>
                    <a:gd name="T117" fmla="*/ 17 h 1016"/>
                    <a:gd name="T118" fmla="*/ 237 w 760"/>
                    <a:gd name="T119" fmla="*/ 70 h 1016"/>
                    <a:gd name="T120" fmla="*/ 232 w 760"/>
                    <a:gd name="T121" fmla="*/ 144 h 1016"/>
                    <a:gd name="T122" fmla="*/ 223 w 760"/>
                    <a:gd name="T123" fmla="*/ 192 h 1016"/>
                    <a:gd name="T124" fmla="*/ 215 w 760"/>
                    <a:gd name="T125" fmla="*/ 233 h 101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760"/>
                    <a:gd name="T190" fmla="*/ 0 h 1016"/>
                    <a:gd name="T191" fmla="*/ 760 w 760"/>
                    <a:gd name="T192" fmla="*/ 1016 h 101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760" h="1016">
                      <a:moveTo>
                        <a:pt x="664" y="728"/>
                      </a:moveTo>
                      <a:lnTo>
                        <a:pt x="664" y="744"/>
                      </a:lnTo>
                      <a:lnTo>
                        <a:pt x="640" y="736"/>
                      </a:lnTo>
                      <a:lnTo>
                        <a:pt x="632" y="728"/>
                      </a:lnTo>
                      <a:lnTo>
                        <a:pt x="592" y="728"/>
                      </a:lnTo>
                      <a:lnTo>
                        <a:pt x="584" y="736"/>
                      </a:lnTo>
                      <a:lnTo>
                        <a:pt x="576" y="736"/>
                      </a:lnTo>
                      <a:lnTo>
                        <a:pt x="568" y="728"/>
                      </a:lnTo>
                      <a:lnTo>
                        <a:pt x="552" y="728"/>
                      </a:lnTo>
                      <a:lnTo>
                        <a:pt x="544" y="712"/>
                      </a:lnTo>
                      <a:lnTo>
                        <a:pt x="520" y="720"/>
                      </a:lnTo>
                      <a:lnTo>
                        <a:pt x="512" y="712"/>
                      </a:lnTo>
                      <a:lnTo>
                        <a:pt x="496" y="712"/>
                      </a:lnTo>
                      <a:lnTo>
                        <a:pt x="480" y="696"/>
                      </a:lnTo>
                      <a:lnTo>
                        <a:pt x="440" y="728"/>
                      </a:lnTo>
                      <a:lnTo>
                        <a:pt x="440" y="752"/>
                      </a:lnTo>
                      <a:lnTo>
                        <a:pt x="424" y="752"/>
                      </a:lnTo>
                      <a:lnTo>
                        <a:pt x="416" y="736"/>
                      </a:lnTo>
                      <a:lnTo>
                        <a:pt x="408" y="744"/>
                      </a:lnTo>
                      <a:lnTo>
                        <a:pt x="400" y="824"/>
                      </a:lnTo>
                      <a:lnTo>
                        <a:pt x="432" y="832"/>
                      </a:lnTo>
                      <a:lnTo>
                        <a:pt x="440" y="848"/>
                      </a:lnTo>
                      <a:lnTo>
                        <a:pt x="440" y="864"/>
                      </a:lnTo>
                      <a:lnTo>
                        <a:pt x="448" y="872"/>
                      </a:lnTo>
                      <a:lnTo>
                        <a:pt x="440" y="872"/>
                      </a:lnTo>
                      <a:lnTo>
                        <a:pt x="432" y="888"/>
                      </a:lnTo>
                      <a:lnTo>
                        <a:pt x="416" y="896"/>
                      </a:lnTo>
                      <a:lnTo>
                        <a:pt x="400" y="912"/>
                      </a:lnTo>
                      <a:lnTo>
                        <a:pt x="400" y="920"/>
                      </a:lnTo>
                      <a:lnTo>
                        <a:pt x="400" y="936"/>
                      </a:lnTo>
                      <a:lnTo>
                        <a:pt x="408" y="944"/>
                      </a:lnTo>
                      <a:lnTo>
                        <a:pt x="416" y="968"/>
                      </a:lnTo>
                      <a:lnTo>
                        <a:pt x="424" y="992"/>
                      </a:lnTo>
                      <a:lnTo>
                        <a:pt x="432" y="1000"/>
                      </a:lnTo>
                      <a:lnTo>
                        <a:pt x="432" y="1016"/>
                      </a:lnTo>
                      <a:lnTo>
                        <a:pt x="416" y="1016"/>
                      </a:lnTo>
                      <a:lnTo>
                        <a:pt x="392" y="1008"/>
                      </a:lnTo>
                      <a:lnTo>
                        <a:pt x="384" y="992"/>
                      </a:lnTo>
                      <a:lnTo>
                        <a:pt x="376" y="992"/>
                      </a:lnTo>
                      <a:lnTo>
                        <a:pt x="352" y="976"/>
                      </a:lnTo>
                      <a:lnTo>
                        <a:pt x="320" y="968"/>
                      </a:lnTo>
                      <a:lnTo>
                        <a:pt x="312" y="968"/>
                      </a:lnTo>
                      <a:lnTo>
                        <a:pt x="280" y="968"/>
                      </a:lnTo>
                      <a:lnTo>
                        <a:pt x="256" y="960"/>
                      </a:lnTo>
                      <a:lnTo>
                        <a:pt x="240" y="952"/>
                      </a:lnTo>
                      <a:lnTo>
                        <a:pt x="224" y="928"/>
                      </a:lnTo>
                      <a:lnTo>
                        <a:pt x="216" y="928"/>
                      </a:lnTo>
                      <a:lnTo>
                        <a:pt x="208" y="920"/>
                      </a:lnTo>
                      <a:lnTo>
                        <a:pt x="200" y="920"/>
                      </a:lnTo>
                      <a:lnTo>
                        <a:pt x="192" y="912"/>
                      </a:lnTo>
                      <a:lnTo>
                        <a:pt x="192" y="904"/>
                      </a:lnTo>
                      <a:lnTo>
                        <a:pt x="208" y="904"/>
                      </a:lnTo>
                      <a:lnTo>
                        <a:pt x="208" y="896"/>
                      </a:lnTo>
                      <a:lnTo>
                        <a:pt x="216" y="888"/>
                      </a:lnTo>
                      <a:lnTo>
                        <a:pt x="216" y="880"/>
                      </a:lnTo>
                      <a:lnTo>
                        <a:pt x="216" y="864"/>
                      </a:lnTo>
                      <a:lnTo>
                        <a:pt x="232" y="856"/>
                      </a:lnTo>
                      <a:lnTo>
                        <a:pt x="208" y="864"/>
                      </a:lnTo>
                      <a:lnTo>
                        <a:pt x="224" y="840"/>
                      </a:lnTo>
                      <a:lnTo>
                        <a:pt x="240" y="824"/>
                      </a:lnTo>
                      <a:lnTo>
                        <a:pt x="248" y="824"/>
                      </a:lnTo>
                      <a:lnTo>
                        <a:pt x="248" y="800"/>
                      </a:lnTo>
                      <a:lnTo>
                        <a:pt x="256" y="784"/>
                      </a:lnTo>
                      <a:lnTo>
                        <a:pt x="240" y="768"/>
                      </a:lnTo>
                      <a:lnTo>
                        <a:pt x="232" y="760"/>
                      </a:lnTo>
                      <a:lnTo>
                        <a:pt x="216" y="760"/>
                      </a:lnTo>
                      <a:lnTo>
                        <a:pt x="200" y="744"/>
                      </a:lnTo>
                      <a:lnTo>
                        <a:pt x="168" y="752"/>
                      </a:lnTo>
                      <a:lnTo>
                        <a:pt x="160" y="736"/>
                      </a:lnTo>
                      <a:lnTo>
                        <a:pt x="160" y="728"/>
                      </a:lnTo>
                      <a:lnTo>
                        <a:pt x="144" y="720"/>
                      </a:lnTo>
                      <a:lnTo>
                        <a:pt x="136" y="688"/>
                      </a:lnTo>
                      <a:lnTo>
                        <a:pt x="104" y="688"/>
                      </a:lnTo>
                      <a:lnTo>
                        <a:pt x="88" y="696"/>
                      </a:lnTo>
                      <a:lnTo>
                        <a:pt x="88" y="680"/>
                      </a:lnTo>
                      <a:lnTo>
                        <a:pt x="80" y="672"/>
                      </a:lnTo>
                      <a:lnTo>
                        <a:pt x="72" y="656"/>
                      </a:lnTo>
                      <a:lnTo>
                        <a:pt x="88" y="656"/>
                      </a:lnTo>
                      <a:lnTo>
                        <a:pt x="96" y="664"/>
                      </a:lnTo>
                      <a:lnTo>
                        <a:pt x="104" y="664"/>
                      </a:lnTo>
                      <a:lnTo>
                        <a:pt x="104" y="648"/>
                      </a:lnTo>
                      <a:lnTo>
                        <a:pt x="88" y="632"/>
                      </a:lnTo>
                      <a:lnTo>
                        <a:pt x="72" y="608"/>
                      </a:lnTo>
                      <a:lnTo>
                        <a:pt x="72" y="576"/>
                      </a:lnTo>
                      <a:lnTo>
                        <a:pt x="64" y="568"/>
                      </a:lnTo>
                      <a:lnTo>
                        <a:pt x="48" y="568"/>
                      </a:lnTo>
                      <a:lnTo>
                        <a:pt x="40" y="568"/>
                      </a:lnTo>
                      <a:lnTo>
                        <a:pt x="32" y="560"/>
                      </a:lnTo>
                      <a:lnTo>
                        <a:pt x="16" y="552"/>
                      </a:lnTo>
                      <a:lnTo>
                        <a:pt x="16" y="528"/>
                      </a:lnTo>
                      <a:lnTo>
                        <a:pt x="8" y="520"/>
                      </a:lnTo>
                      <a:lnTo>
                        <a:pt x="8" y="496"/>
                      </a:lnTo>
                      <a:lnTo>
                        <a:pt x="8" y="480"/>
                      </a:lnTo>
                      <a:lnTo>
                        <a:pt x="0" y="464"/>
                      </a:lnTo>
                      <a:lnTo>
                        <a:pt x="8" y="432"/>
                      </a:lnTo>
                      <a:lnTo>
                        <a:pt x="16" y="424"/>
                      </a:lnTo>
                      <a:lnTo>
                        <a:pt x="16" y="416"/>
                      </a:lnTo>
                      <a:lnTo>
                        <a:pt x="32" y="416"/>
                      </a:lnTo>
                      <a:lnTo>
                        <a:pt x="32" y="408"/>
                      </a:lnTo>
                      <a:lnTo>
                        <a:pt x="56" y="408"/>
                      </a:lnTo>
                      <a:lnTo>
                        <a:pt x="56" y="400"/>
                      </a:lnTo>
                      <a:lnTo>
                        <a:pt x="48" y="392"/>
                      </a:lnTo>
                      <a:lnTo>
                        <a:pt x="32" y="400"/>
                      </a:lnTo>
                      <a:lnTo>
                        <a:pt x="24" y="392"/>
                      </a:lnTo>
                      <a:lnTo>
                        <a:pt x="24" y="376"/>
                      </a:lnTo>
                      <a:lnTo>
                        <a:pt x="32" y="360"/>
                      </a:lnTo>
                      <a:lnTo>
                        <a:pt x="56" y="328"/>
                      </a:lnTo>
                      <a:lnTo>
                        <a:pt x="88" y="280"/>
                      </a:lnTo>
                      <a:lnTo>
                        <a:pt x="72" y="264"/>
                      </a:lnTo>
                      <a:lnTo>
                        <a:pt x="56" y="256"/>
                      </a:lnTo>
                      <a:lnTo>
                        <a:pt x="56" y="248"/>
                      </a:lnTo>
                      <a:lnTo>
                        <a:pt x="64" y="232"/>
                      </a:lnTo>
                      <a:lnTo>
                        <a:pt x="64" y="216"/>
                      </a:lnTo>
                      <a:lnTo>
                        <a:pt x="56" y="200"/>
                      </a:lnTo>
                      <a:lnTo>
                        <a:pt x="64" y="192"/>
                      </a:lnTo>
                      <a:lnTo>
                        <a:pt x="48" y="184"/>
                      </a:lnTo>
                      <a:lnTo>
                        <a:pt x="56" y="168"/>
                      </a:lnTo>
                      <a:lnTo>
                        <a:pt x="56" y="152"/>
                      </a:lnTo>
                      <a:lnTo>
                        <a:pt x="56" y="128"/>
                      </a:lnTo>
                      <a:lnTo>
                        <a:pt x="32" y="96"/>
                      </a:lnTo>
                      <a:lnTo>
                        <a:pt x="48" y="80"/>
                      </a:lnTo>
                      <a:lnTo>
                        <a:pt x="40" y="64"/>
                      </a:lnTo>
                      <a:lnTo>
                        <a:pt x="24" y="48"/>
                      </a:lnTo>
                      <a:lnTo>
                        <a:pt x="24" y="40"/>
                      </a:lnTo>
                      <a:lnTo>
                        <a:pt x="40" y="24"/>
                      </a:lnTo>
                      <a:lnTo>
                        <a:pt x="48" y="16"/>
                      </a:lnTo>
                      <a:lnTo>
                        <a:pt x="72" y="0"/>
                      </a:lnTo>
                      <a:lnTo>
                        <a:pt x="88" y="0"/>
                      </a:lnTo>
                      <a:lnTo>
                        <a:pt x="96" y="0"/>
                      </a:lnTo>
                      <a:lnTo>
                        <a:pt x="112" y="0"/>
                      </a:lnTo>
                      <a:lnTo>
                        <a:pt x="112" y="8"/>
                      </a:lnTo>
                      <a:lnTo>
                        <a:pt x="96" y="8"/>
                      </a:lnTo>
                      <a:lnTo>
                        <a:pt x="104" y="16"/>
                      </a:lnTo>
                      <a:lnTo>
                        <a:pt x="120" y="16"/>
                      </a:lnTo>
                      <a:lnTo>
                        <a:pt x="128" y="24"/>
                      </a:lnTo>
                      <a:lnTo>
                        <a:pt x="144" y="16"/>
                      </a:lnTo>
                      <a:lnTo>
                        <a:pt x="176" y="24"/>
                      </a:lnTo>
                      <a:lnTo>
                        <a:pt x="208" y="40"/>
                      </a:lnTo>
                      <a:lnTo>
                        <a:pt x="232" y="48"/>
                      </a:lnTo>
                      <a:lnTo>
                        <a:pt x="240" y="56"/>
                      </a:lnTo>
                      <a:lnTo>
                        <a:pt x="248" y="64"/>
                      </a:lnTo>
                      <a:lnTo>
                        <a:pt x="256" y="64"/>
                      </a:lnTo>
                      <a:lnTo>
                        <a:pt x="272" y="72"/>
                      </a:lnTo>
                      <a:lnTo>
                        <a:pt x="280" y="72"/>
                      </a:lnTo>
                      <a:lnTo>
                        <a:pt x="280" y="104"/>
                      </a:lnTo>
                      <a:lnTo>
                        <a:pt x="240" y="128"/>
                      </a:lnTo>
                      <a:lnTo>
                        <a:pt x="216" y="128"/>
                      </a:lnTo>
                      <a:lnTo>
                        <a:pt x="184" y="120"/>
                      </a:lnTo>
                      <a:lnTo>
                        <a:pt x="160" y="112"/>
                      </a:lnTo>
                      <a:lnTo>
                        <a:pt x="136" y="104"/>
                      </a:lnTo>
                      <a:lnTo>
                        <a:pt x="128" y="104"/>
                      </a:lnTo>
                      <a:lnTo>
                        <a:pt x="104" y="88"/>
                      </a:lnTo>
                      <a:lnTo>
                        <a:pt x="96" y="96"/>
                      </a:lnTo>
                      <a:lnTo>
                        <a:pt x="128" y="112"/>
                      </a:lnTo>
                      <a:lnTo>
                        <a:pt x="152" y="136"/>
                      </a:lnTo>
                      <a:lnTo>
                        <a:pt x="152" y="152"/>
                      </a:lnTo>
                      <a:lnTo>
                        <a:pt x="136" y="168"/>
                      </a:lnTo>
                      <a:lnTo>
                        <a:pt x="152" y="184"/>
                      </a:lnTo>
                      <a:lnTo>
                        <a:pt x="152" y="208"/>
                      </a:lnTo>
                      <a:lnTo>
                        <a:pt x="152" y="216"/>
                      </a:lnTo>
                      <a:lnTo>
                        <a:pt x="168" y="216"/>
                      </a:lnTo>
                      <a:lnTo>
                        <a:pt x="184" y="232"/>
                      </a:lnTo>
                      <a:lnTo>
                        <a:pt x="208" y="232"/>
                      </a:lnTo>
                      <a:lnTo>
                        <a:pt x="216" y="224"/>
                      </a:lnTo>
                      <a:lnTo>
                        <a:pt x="208" y="216"/>
                      </a:lnTo>
                      <a:lnTo>
                        <a:pt x="200" y="216"/>
                      </a:lnTo>
                      <a:lnTo>
                        <a:pt x="184" y="192"/>
                      </a:lnTo>
                      <a:lnTo>
                        <a:pt x="192" y="176"/>
                      </a:lnTo>
                      <a:lnTo>
                        <a:pt x="200" y="176"/>
                      </a:lnTo>
                      <a:lnTo>
                        <a:pt x="208" y="192"/>
                      </a:lnTo>
                      <a:lnTo>
                        <a:pt x="240" y="200"/>
                      </a:lnTo>
                      <a:lnTo>
                        <a:pt x="256" y="200"/>
                      </a:lnTo>
                      <a:lnTo>
                        <a:pt x="264" y="192"/>
                      </a:lnTo>
                      <a:lnTo>
                        <a:pt x="248" y="160"/>
                      </a:lnTo>
                      <a:lnTo>
                        <a:pt x="272" y="136"/>
                      </a:lnTo>
                      <a:lnTo>
                        <a:pt x="288" y="128"/>
                      </a:lnTo>
                      <a:lnTo>
                        <a:pt x="296" y="112"/>
                      </a:lnTo>
                      <a:lnTo>
                        <a:pt x="312" y="112"/>
                      </a:lnTo>
                      <a:lnTo>
                        <a:pt x="336" y="128"/>
                      </a:lnTo>
                      <a:lnTo>
                        <a:pt x="352" y="96"/>
                      </a:lnTo>
                      <a:lnTo>
                        <a:pt x="336" y="88"/>
                      </a:lnTo>
                      <a:lnTo>
                        <a:pt x="336" y="80"/>
                      </a:lnTo>
                      <a:lnTo>
                        <a:pt x="344" y="72"/>
                      </a:lnTo>
                      <a:lnTo>
                        <a:pt x="344" y="56"/>
                      </a:lnTo>
                      <a:lnTo>
                        <a:pt x="336" y="56"/>
                      </a:lnTo>
                      <a:lnTo>
                        <a:pt x="320" y="48"/>
                      </a:lnTo>
                      <a:lnTo>
                        <a:pt x="320" y="40"/>
                      </a:lnTo>
                      <a:lnTo>
                        <a:pt x="328" y="40"/>
                      </a:lnTo>
                      <a:lnTo>
                        <a:pt x="360" y="40"/>
                      </a:lnTo>
                      <a:lnTo>
                        <a:pt x="384" y="48"/>
                      </a:lnTo>
                      <a:lnTo>
                        <a:pt x="392" y="64"/>
                      </a:lnTo>
                      <a:lnTo>
                        <a:pt x="368" y="72"/>
                      </a:lnTo>
                      <a:lnTo>
                        <a:pt x="360" y="80"/>
                      </a:lnTo>
                      <a:lnTo>
                        <a:pt x="368" y="88"/>
                      </a:lnTo>
                      <a:lnTo>
                        <a:pt x="368" y="96"/>
                      </a:lnTo>
                      <a:lnTo>
                        <a:pt x="392" y="96"/>
                      </a:lnTo>
                      <a:lnTo>
                        <a:pt x="416" y="96"/>
                      </a:lnTo>
                      <a:lnTo>
                        <a:pt x="416" y="80"/>
                      </a:lnTo>
                      <a:lnTo>
                        <a:pt x="416" y="72"/>
                      </a:lnTo>
                      <a:lnTo>
                        <a:pt x="432" y="72"/>
                      </a:lnTo>
                      <a:lnTo>
                        <a:pt x="432" y="64"/>
                      </a:lnTo>
                      <a:lnTo>
                        <a:pt x="448" y="64"/>
                      </a:lnTo>
                      <a:lnTo>
                        <a:pt x="464" y="56"/>
                      </a:lnTo>
                      <a:lnTo>
                        <a:pt x="472" y="48"/>
                      </a:lnTo>
                      <a:lnTo>
                        <a:pt x="496" y="48"/>
                      </a:lnTo>
                      <a:lnTo>
                        <a:pt x="504" y="48"/>
                      </a:lnTo>
                      <a:lnTo>
                        <a:pt x="512" y="48"/>
                      </a:lnTo>
                      <a:lnTo>
                        <a:pt x="512" y="40"/>
                      </a:lnTo>
                      <a:lnTo>
                        <a:pt x="520" y="40"/>
                      </a:lnTo>
                      <a:lnTo>
                        <a:pt x="536" y="32"/>
                      </a:lnTo>
                      <a:lnTo>
                        <a:pt x="544" y="32"/>
                      </a:lnTo>
                      <a:lnTo>
                        <a:pt x="536" y="40"/>
                      </a:lnTo>
                      <a:lnTo>
                        <a:pt x="544" y="48"/>
                      </a:lnTo>
                      <a:lnTo>
                        <a:pt x="536" y="56"/>
                      </a:lnTo>
                      <a:lnTo>
                        <a:pt x="552" y="56"/>
                      </a:lnTo>
                      <a:lnTo>
                        <a:pt x="568" y="56"/>
                      </a:lnTo>
                      <a:lnTo>
                        <a:pt x="568" y="48"/>
                      </a:lnTo>
                      <a:lnTo>
                        <a:pt x="576" y="40"/>
                      </a:lnTo>
                      <a:lnTo>
                        <a:pt x="584" y="40"/>
                      </a:lnTo>
                      <a:lnTo>
                        <a:pt x="584" y="48"/>
                      </a:lnTo>
                      <a:lnTo>
                        <a:pt x="600" y="48"/>
                      </a:lnTo>
                      <a:lnTo>
                        <a:pt x="616" y="40"/>
                      </a:lnTo>
                      <a:lnTo>
                        <a:pt x="624" y="40"/>
                      </a:lnTo>
                      <a:lnTo>
                        <a:pt x="640" y="32"/>
                      </a:lnTo>
                      <a:lnTo>
                        <a:pt x="648" y="32"/>
                      </a:lnTo>
                      <a:lnTo>
                        <a:pt x="648" y="48"/>
                      </a:lnTo>
                      <a:lnTo>
                        <a:pt x="656" y="48"/>
                      </a:lnTo>
                      <a:lnTo>
                        <a:pt x="664" y="48"/>
                      </a:lnTo>
                      <a:lnTo>
                        <a:pt x="664" y="40"/>
                      </a:lnTo>
                      <a:lnTo>
                        <a:pt x="680" y="32"/>
                      </a:lnTo>
                      <a:lnTo>
                        <a:pt x="680" y="16"/>
                      </a:lnTo>
                      <a:lnTo>
                        <a:pt x="672" y="8"/>
                      </a:lnTo>
                      <a:lnTo>
                        <a:pt x="688" y="0"/>
                      </a:lnTo>
                      <a:lnTo>
                        <a:pt x="744" y="8"/>
                      </a:lnTo>
                      <a:lnTo>
                        <a:pt x="760" y="40"/>
                      </a:lnTo>
                      <a:lnTo>
                        <a:pt x="744" y="48"/>
                      </a:lnTo>
                      <a:lnTo>
                        <a:pt x="760" y="104"/>
                      </a:lnTo>
                      <a:lnTo>
                        <a:pt x="752" y="128"/>
                      </a:lnTo>
                      <a:lnTo>
                        <a:pt x="736" y="136"/>
                      </a:lnTo>
                      <a:lnTo>
                        <a:pt x="680" y="200"/>
                      </a:lnTo>
                      <a:lnTo>
                        <a:pt x="672" y="272"/>
                      </a:lnTo>
                      <a:lnTo>
                        <a:pt x="680" y="288"/>
                      </a:lnTo>
                      <a:lnTo>
                        <a:pt x="672" y="344"/>
                      </a:lnTo>
                      <a:lnTo>
                        <a:pt x="664" y="416"/>
                      </a:lnTo>
                      <a:lnTo>
                        <a:pt x="664" y="456"/>
                      </a:lnTo>
                      <a:lnTo>
                        <a:pt x="672" y="504"/>
                      </a:lnTo>
                      <a:lnTo>
                        <a:pt x="664" y="536"/>
                      </a:lnTo>
                      <a:lnTo>
                        <a:pt x="640" y="552"/>
                      </a:lnTo>
                      <a:lnTo>
                        <a:pt x="632" y="576"/>
                      </a:lnTo>
                      <a:lnTo>
                        <a:pt x="648" y="592"/>
                      </a:lnTo>
                      <a:lnTo>
                        <a:pt x="616" y="648"/>
                      </a:lnTo>
                      <a:lnTo>
                        <a:pt x="616" y="672"/>
                      </a:lnTo>
                      <a:lnTo>
                        <a:pt x="648" y="704"/>
                      </a:lnTo>
                      <a:lnTo>
                        <a:pt x="664" y="72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85" name="Freeform 263">
                  <a:extLst>
                    <a:ext uri="{FF2B5EF4-FFF2-40B4-BE49-F238E27FC236}">
                      <a16:creationId xmlns:a16="http://schemas.microsoft.com/office/drawing/2014/main" id="{3315DB12-A08E-CA68-52F6-D2FDF317C8AE}"/>
                    </a:ext>
                  </a:extLst>
                </p:cNvPr>
                <p:cNvSpPr/>
                <p:nvPr/>
              </p:nvSpPr>
              <p:spPr bwMode="gray">
                <a:xfrm>
                  <a:off x="3329" y="2200"/>
                  <a:ext cx="102" cy="51"/>
                </a:xfrm>
                <a:custGeom>
                  <a:avLst/>
                  <a:gdLst>
                    <a:gd name="T0" fmla="*/ 23 w 144"/>
                    <a:gd name="T1" fmla="*/ 17 h 72"/>
                    <a:gd name="T2" fmla="*/ 17 w 144"/>
                    <a:gd name="T3" fmla="*/ 17 h 72"/>
                    <a:gd name="T4" fmla="*/ 11 w 144"/>
                    <a:gd name="T5" fmla="*/ 17 h 72"/>
                    <a:gd name="T6" fmla="*/ 14 w 144"/>
                    <a:gd name="T7" fmla="*/ 14 h 72"/>
                    <a:gd name="T8" fmla="*/ 11 w 144"/>
                    <a:gd name="T9" fmla="*/ 11 h 72"/>
                    <a:gd name="T10" fmla="*/ 11 w 144"/>
                    <a:gd name="T11" fmla="*/ 6 h 72"/>
                    <a:gd name="T12" fmla="*/ 8 w 144"/>
                    <a:gd name="T13" fmla="*/ 6 h 72"/>
                    <a:gd name="T14" fmla="*/ 6 w 144"/>
                    <a:gd name="T15" fmla="*/ 3 h 72"/>
                    <a:gd name="T16" fmla="*/ 0 w 144"/>
                    <a:gd name="T17" fmla="*/ 0 h 72"/>
                    <a:gd name="T18" fmla="*/ 8 w 144"/>
                    <a:gd name="T19" fmla="*/ 3 h 72"/>
                    <a:gd name="T20" fmla="*/ 20 w 144"/>
                    <a:gd name="T21" fmla="*/ 3 h 72"/>
                    <a:gd name="T22" fmla="*/ 23 w 144"/>
                    <a:gd name="T23" fmla="*/ 3 h 72"/>
                    <a:gd name="T24" fmla="*/ 34 w 144"/>
                    <a:gd name="T25" fmla="*/ 6 h 72"/>
                    <a:gd name="T26" fmla="*/ 42 w 144"/>
                    <a:gd name="T27" fmla="*/ 11 h 72"/>
                    <a:gd name="T28" fmla="*/ 45 w 144"/>
                    <a:gd name="T29" fmla="*/ 11 h 72"/>
                    <a:gd name="T30" fmla="*/ 48 w 144"/>
                    <a:gd name="T31" fmla="*/ 17 h 72"/>
                    <a:gd name="T32" fmla="*/ 51 w 144"/>
                    <a:gd name="T33" fmla="*/ 23 h 72"/>
                    <a:gd name="T34" fmla="*/ 51 w 144"/>
                    <a:gd name="T35" fmla="*/ 26 h 72"/>
                    <a:gd name="T36" fmla="*/ 40 w 144"/>
                    <a:gd name="T37" fmla="*/ 23 h 72"/>
                    <a:gd name="T38" fmla="*/ 31 w 144"/>
                    <a:gd name="T39" fmla="*/ 20 h 72"/>
                    <a:gd name="T40" fmla="*/ 23 w 144"/>
                    <a:gd name="T41" fmla="*/ 17 h 7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4"/>
                    <a:gd name="T64" fmla="*/ 0 h 72"/>
                    <a:gd name="T65" fmla="*/ 144 w 144"/>
                    <a:gd name="T66" fmla="*/ 72 h 72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4" h="72">
                      <a:moveTo>
                        <a:pt x="64" y="48"/>
                      </a:moveTo>
                      <a:lnTo>
                        <a:pt x="48" y="48"/>
                      </a:lnTo>
                      <a:lnTo>
                        <a:pt x="32" y="48"/>
                      </a:lnTo>
                      <a:lnTo>
                        <a:pt x="40" y="40"/>
                      </a:lnTo>
                      <a:lnTo>
                        <a:pt x="32" y="32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8"/>
                      </a:lnTo>
                      <a:lnTo>
                        <a:pt x="0" y="0"/>
                      </a:lnTo>
                      <a:lnTo>
                        <a:pt x="24" y="8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96" y="16"/>
                      </a:lnTo>
                      <a:lnTo>
                        <a:pt x="120" y="32"/>
                      </a:lnTo>
                      <a:lnTo>
                        <a:pt x="128" y="32"/>
                      </a:lnTo>
                      <a:lnTo>
                        <a:pt x="136" y="48"/>
                      </a:lnTo>
                      <a:lnTo>
                        <a:pt x="144" y="64"/>
                      </a:lnTo>
                      <a:lnTo>
                        <a:pt x="144" y="72"/>
                      </a:lnTo>
                      <a:lnTo>
                        <a:pt x="112" y="64"/>
                      </a:lnTo>
                      <a:lnTo>
                        <a:pt x="88" y="56"/>
                      </a:lnTo>
                      <a:lnTo>
                        <a:pt x="64" y="4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86" name="Freeform 264">
                  <a:extLst>
                    <a:ext uri="{FF2B5EF4-FFF2-40B4-BE49-F238E27FC236}">
                      <a16:creationId xmlns:a16="http://schemas.microsoft.com/office/drawing/2014/main" id="{92F0FBAD-722B-B532-83E5-0A441DB4933C}"/>
                    </a:ext>
                  </a:extLst>
                </p:cNvPr>
                <p:cNvSpPr/>
                <p:nvPr/>
              </p:nvSpPr>
              <p:spPr bwMode="gray">
                <a:xfrm>
                  <a:off x="3515" y="2211"/>
                  <a:ext cx="197" cy="141"/>
                </a:xfrm>
                <a:custGeom>
                  <a:avLst/>
                  <a:gdLst>
                    <a:gd name="T0" fmla="*/ 23 w 280"/>
                    <a:gd name="T1" fmla="*/ 8 h 200"/>
                    <a:gd name="T2" fmla="*/ 14 w 280"/>
                    <a:gd name="T3" fmla="*/ 8 h 200"/>
                    <a:gd name="T4" fmla="*/ 11 w 280"/>
                    <a:gd name="T5" fmla="*/ 6 h 200"/>
                    <a:gd name="T6" fmla="*/ 6 w 280"/>
                    <a:gd name="T7" fmla="*/ 3 h 200"/>
                    <a:gd name="T8" fmla="*/ 3 w 280"/>
                    <a:gd name="T9" fmla="*/ 3 h 200"/>
                    <a:gd name="T10" fmla="*/ 0 w 280"/>
                    <a:gd name="T11" fmla="*/ 6 h 200"/>
                    <a:gd name="T12" fmla="*/ 0 w 280"/>
                    <a:gd name="T13" fmla="*/ 8 h 200"/>
                    <a:gd name="T14" fmla="*/ 3 w 280"/>
                    <a:gd name="T15" fmla="*/ 6 h 200"/>
                    <a:gd name="T16" fmla="*/ 8 w 280"/>
                    <a:gd name="T17" fmla="*/ 8 h 200"/>
                    <a:gd name="T18" fmla="*/ 11 w 280"/>
                    <a:gd name="T19" fmla="*/ 11 h 200"/>
                    <a:gd name="T20" fmla="*/ 14 w 280"/>
                    <a:gd name="T21" fmla="*/ 14 h 200"/>
                    <a:gd name="T22" fmla="*/ 14 w 280"/>
                    <a:gd name="T23" fmla="*/ 17 h 200"/>
                    <a:gd name="T24" fmla="*/ 8 w 280"/>
                    <a:gd name="T25" fmla="*/ 19 h 200"/>
                    <a:gd name="T26" fmla="*/ 3 w 280"/>
                    <a:gd name="T27" fmla="*/ 19 h 200"/>
                    <a:gd name="T28" fmla="*/ 0 w 280"/>
                    <a:gd name="T29" fmla="*/ 25 h 200"/>
                    <a:gd name="T30" fmla="*/ 3 w 280"/>
                    <a:gd name="T31" fmla="*/ 25 h 200"/>
                    <a:gd name="T32" fmla="*/ 6 w 280"/>
                    <a:gd name="T33" fmla="*/ 25 h 200"/>
                    <a:gd name="T34" fmla="*/ 8 w 280"/>
                    <a:gd name="T35" fmla="*/ 31 h 200"/>
                    <a:gd name="T36" fmla="*/ 6 w 280"/>
                    <a:gd name="T37" fmla="*/ 31 h 200"/>
                    <a:gd name="T38" fmla="*/ 8 w 280"/>
                    <a:gd name="T39" fmla="*/ 36 h 200"/>
                    <a:gd name="T40" fmla="*/ 11 w 280"/>
                    <a:gd name="T41" fmla="*/ 51 h 200"/>
                    <a:gd name="T42" fmla="*/ 17 w 280"/>
                    <a:gd name="T43" fmla="*/ 51 h 200"/>
                    <a:gd name="T44" fmla="*/ 23 w 280"/>
                    <a:gd name="T45" fmla="*/ 42 h 200"/>
                    <a:gd name="T46" fmla="*/ 39 w 280"/>
                    <a:gd name="T47" fmla="*/ 44 h 200"/>
                    <a:gd name="T48" fmla="*/ 42 w 280"/>
                    <a:gd name="T49" fmla="*/ 48 h 200"/>
                    <a:gd name="T50" fmla="*/ 48 w 280"/>
                    <a:gd name="T51" fmla="*/ 48 h 200"/>
                    <a:gd name="T52" fmla="*/ 61 w 280"/>
                    <a:gd name="T53" fmla="*/ 59 h 200"/>
                    <a:gd name="T54" fmla="*/ 61 w 280"/>
                    <a:gd name="T55" fmla="*/ 65 h 200"/>
                    <a:gd name="T56" fmla="*/ 67 w 280"/>
                    <a:gd name="T57" fmla="*/ 67 h 200"/>
                    <a:gd name="T58" fmla="*/ 72 w 280"/>
                    <a:gd name="T59" fmla="*/ 70 h 200"/>
                    <a:gd name="T60" fmla="*/ 72 w 280"/>
                    <a:gd name="T61" fmla="*/ 65 h 200"/>
                    <a:gd name="T62" fmla="*/ 86 w 280"/>
                    <a:gd name="T63" fmla="*/ 56 h 200"/>
                    <a:gd name="T64" fmla="*/ 89 w 280"/>
                    <a:gd name="T65" fmla="*/ 51 h 200"/>
                    <a:gd name="T66" fmla="*/ 98 w 280"/>
                    <a:gd name="T67" fmla="*/ 51 h 200"/>
                    <a:gd name="T68" fmla="*/ 94 w 280"/>
                    <a:gd name="T69" fmla="*/ 44 h 200"/>
                    <a:gd name="T70" fmla="*/ 92 w 280"/>
                    <a:gd name="T71" fmla="*/ 44 h 200"/>
                    <a:gd name="T72" fmla="*/ 84 w 280"/>
                    <a:gd name="T73" fmla="*/ 42 h 200"/>
                    <a:gd name="T74" fmla="*/ 78 w 280"/>
                    <a:gd name="T75" fmla="*/ 39 h 200"/>
                    <a:gd name="T76" fmla="*/ 72 w 280"/>
                    <a:gd name="T77" fmla="*/ 31 h 200"/>
                    <a:gd name="T78" fmla="*/ 70 w 280"/>
                    <a:gd name="T79" fmla="*/ 23 h 200"/>
                    <a:gd name="T80" fmla="*/ 64 w 280"/>
                    <a:gd name="T81" fmla="*/ 17 h 200"/>
                    <a:gd name="T82" fmla="*/ 61 w 280"/>
                    <a:gd name="T83" fmla="*/ 14 h 200"/>
                    <a:gd name="T84" fmla="*/ 50 w 280"/>
                    <a:gd name="T85" fmla="*/ 11 h 200"/>
                    <a:gd name="T86" fmla="*/ 50 w 280"/>
                    <a:gd name="T87" fmla="*/ 8 h 200"/>
                    <a:gd name="T88" fmla="*/ 50 w 280"/>
                    <a:gd name="T89" fmla="*/ 6 h 200"/>
                    <a:gd name="T90" fmla="*/ 48 w 280"/>
                    <a:gd name="T91" fmla="*/ 3 h 200"/>
                    <a:gd name="T92" fmla="*/ 44 w 280"/>
                    <a:gd name="T93" fmla="*/ 0 h 200"/>
                    <a:gd name="T94" fmla="*/ 42 w 280"/>
                    <a:gd name="T95" fmla="*/ 0 h 200"/>
                    <a:gd name="T96" fmla="*/ 42 w 280"/>
                    <a:gd name="T97" fmla="*/ 3 h 200"/>
                    <a:gd name="T98" fmla="*/ 39 w 280"/>
                    <a:gd name="T99" fmla="*/ 0 h 200"/>
                    <a:gd name="T100" fmla="*/ 36 w 280"/>
                    <a:gd name="T101" fmla="*/ 3 h 200"/>
                    <a:gd name="T102" fmla="*/ 34 w 280"/>
                    <a:gd name="T103" fmla="*/ 11 h 200"/>
                    <a:gd name="T104" fmla="*/ 23 w 280"/>
                    <a:gd name="T105" fmla="*/ 8 h 20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80"/>
                    <a:gd name="T160" fmla="*/ 0 h 200"/>
                    <a:gd name="T161" fmla="*/ 280 w 280"/>
                    <a:gd name="T162" fmla="*/ 200 h 20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80" h="200">
                      <a:moveTo>
                        <a:pt x="64" y="24"/>
                      </a:moveTo>
                      <a:lnTo>
                        <a:pt x="40" y="24"/>
                      </a:lnTo>
                      <a:lnTo>
                        <a:pt x="32" y="16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24" y="24"/>
                      </a:lnTo>
                      <a:lnTo>
                        <a:pt x="32" y="32"/>
                      </a:lnTo>
                      <a:lnTo>
                        <a:pt x="40" y="40"/>
                      </a:lnTo>
                      <a:lnTo>
                        <a:pt x="40" y="48"/>
                      </a:lnTo>
                      <a:lnTo>
                        <a:pt x="24" y="56"/>
                      </a:lnTo>
                      <a:lnTo>
                        <a:pt x="8" y="56"/>
                      </a:lnTo>
                      <a:lnTo>
                        <a:pt x="0" y="72"/>
                      </a:lnTo>
                      <a:lnTo>
                        <a:pt x="8" y="72"/>
                      </a:lnTo>
                      <a:lnTo>
                        <a:pt x="16" y="72"/>
                      </a:lnTo>
                      <a:lnTo>
                        <a:pt x="24" y="88"/>
                      </a:lnTo>
                      <a:lnTo>
                        <a:pt x="16" y="88"/>
                      </a:lnTo>
                      <a:lnTo>
                        <a:pt x="24" y="104"/>
                      </a:lnTo>
                      <a:lnTo>
                        <a:pt x="32" y="144"/>
                      </a:lnTo>
                      <a:lnTo>
                        <a:pt x="48" y="144"/>
                      </a:lnTo>
                      <a:lnTo>
                        <a:pt x="64" y="120"/>
                      </a:lnTo>
                      <a:lnTo>
                        <a:pt x="112" y="128"/>
                      </a:lnTo>
                      <a:lnTo>
                        <a:pt x="120" y="136"/>
                      </a:lnTo>
                      <a:lnTo>
                        <a:pt x="136" y="136"/>
                      </a:lnTo>
                      <a:lnTo>
                        <a:pt x="176" y="168"/>
                      </a:lnTo>
                      <a:lnTo>
                        <a:pt x="176" y="184"/>
                      </a:lnTo>
                      <a:lnTo>
                        <a:pt x="192" y="192"/>
                      </a:lnTo>
                      <a:lnTo>
                        <a:pt x="208" y="200"/>
                      </a:lnTo>
                      <a:lnTo>
                        <a:pt x="208" y="184"/>
                      </a:lnTo>
                      <a:lnTo>
                        <a:pt x="248" y="160"/>
                      </a:lnTo>
                      <a:lnTo>
                        <a:pt x="256" y="144"/>
                      </a:lnTo>
                      <a:lnTo>
                        <a:pt x="280" y="144"/>
                      </a:lnTo>
                      <a:lnTo>
                        <a:pt x="272" y="128"/>
                      </a:lnTo>
                      <a:lnTo>
                        <a:pt x="264" y="128"/>
                      </a:lnTo>
                      <a:lnTo>
                        <a:pt x="240" y="120"/>
                      </a:lnTo>
                      <a:lnTo>
                        <a:pt x="224" y="112"/>
                      </a:lnTo>
                      <a:lnTo>
                        <a:pt x="208" y="88"/>
                      </a:lnTo>
                      <a:lnTo>
                        <a:pt x="200" y="64"/>
                      </a:lnTo>
                      <a:lnTo>
                        <a:pt x="184" y="48"/>
                      </a:lnTo>
                      <a:lnTo>
                        <a:pt x="176" y="40"/>
                      </a:lnTo>
                      <a:lnTo>
                        <a:pt x="144" y="32"/>
                      </a:lnTo>
                      <a:lnTo>
                        <a:pt x="144" y="24"/>
                      </a:lnTo>
                      <a:lnTo>
                        <a:pt x="144" y="16"/>
                      </a:lnTo>
                      <a:lnTo>
                        <a:pt x="136" y="8"/>
                      </a:lnTo>
                      <a:lnTo>
                        <a:pt x="128" y="0"/>
                      </a:lnTo>
                      <a:lnTo>
                        <a:pt x="120" y="0"/>
                      </a:lnTo>
                      <a:lnTo>
                        <a:pt x="120" y="8"/>
                      </a:lnTo>
                      <a:lnTo>
                        <a:pt x="112" y="0"/>
                      </a:lnTo>
                      <a:lnTo>
                        <a:pt x="104" y="8"/>
                      </a:lnTo>
                      <a:lnTo>
                        <a:pt x="96" y="32"/>
                      </a:lnTo>
                      <a:lnTo>
                        <a:pt x="64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87" name="Freeform 265">
                  <a:extLst>
                    <a:ext uri="{FF2B5EF4-FFF2-40B4-BE49-F238E27FC236}">
                      <a16:creationId xmlns:a16="http://schemas.microsoft.com/office/drawing/2014/main" id="{10A55561-1B39-9F12-42EE-AC5EDDD935B5}"/>
                    </a:ext>
                  </a:extLst>
                </p:cNvPr>
                <p:cNvSpPr/>
                <p:nvPr/>
              </p:nvSpPr>
              <p:spPr bwMode="gray">
                <a:xfrm>
                  <a:off x="3431" y="1935"/>
                  <a:ext cx="585" cy="310"/>
                </a:xfrm>
                <a:custGeom>
                  <a:avLst/>
                  <a:gdLst>
                    <a:gd name="T0" fmla="*/ 161 w 832"/>
                    <a:gd name="T1" fmla="*/ 142 h 440"/>
                    <a:gd name="T2" fmla="*/ 181 w 832"/>
                    <a:gd name="T3" fmla="*/ 137 h 440"/>
                    <a:gd name="T4" fmla="*/ 189 w 832"/>
                    <a:gd name="T5" fmla="*/ 135 h 440"/>
                    <a:gd name="T6" fmla="*/ 203 w 832"/>
                    <a:gd name="T7" fmla="*/ 135 h 440"/>
                    <a:gd name="T8" fmla="*/ 234 w 832"/>
                    <a:gd name="T9" fmla="*/ 137 h 440"/>
                    <a:gd name="T10" fmla="*/ 239 w 832"/>
                    <a:gd name="T11" fmla="*/ 128 h 440"/>
                    <a:gd name="T12" fmla="*/ 248 w 832"/>
                    <a:gd name="T13" fmla="*/ 109 h 440"/>
                    <a:gd name="T14" fmla="*/ 256 w 832"/>
                    <a:gd name="T15" fmla="*/ 106 h 440"/>
                    <a:gd name="T16" fmla="*/ 276 w 832"/>
                    <a:gd name="T17" fmla="*/ 95 h 440"/>
                    <a:gd name="T18" fmla="*/ 289 w 832"/>
                    <a:gd name="T19" fmla="*/ 70 h 440"/>
                    <a:gd name="T20" fmla="*/ 264 w 832"/>
                    <a:gd name="T21" fmla="*/ 50 h 440"/>
                    <a:gd name="T22" fmla="*/ 231 w 832"/>
                    <a:gd name="T23" fmla="*/ 39 h 440"/>
                    <a:gd name="T24" fmla="*/ 214 w 832"/>
                    <a:gd name="T25" fmla="*/ 17 h 440"/>
                    <a:gd name="T26" fmla="*/ 200 w 832"/>
                    <a:gd name="T27" fmla="*/ 14 h 440"/>
                    <a:gd name="T28" fmla="*/ 189 w 832"/>
                    <a:gd name="T29" fmla="*/ 14 h 440"/>
                    <a:gd name="T30" fmla="*/ 169 w 832"/>
                    <a:gd name="T31" fmla="*/ 3 h 440"/>
                    <a:gd name="T32" fmla="*/ 148 w 832"/>
                    <a:gd name="T33" fmla="*/ 0 h 440"/>
                    <a:gd name="T34" fmla="*/ 108 w 832"/>
                    <a:gd name="T35" fmla="*/ 17 h 440"/>
                    <a:gd name="T36" fmla="*/ 105 w 832"/>
                    <a:gd name="T37" fmla="*/ 25 h 440"/>
                    <a:gd name="T38" fmla="*/ 103 w 832"/>
                    <a:gd name="T39" fmla="*/ 34 h 440"/>
                    <a:gd name="T40" fmla="*/ 98 w 832"/>
                    <a:gd name="T41" fmla="*/ 42 h 440"/>
                    <a:gd name="T42" fmla="*/ 98 w 832"/>
                    <a:gd name="T43" fmla="*/ 56 h 440"/>
                    <a:gd name="T44" fmla="*/ 92 w 832"/>
                    <a:gd name="T45" fmla="*/ 56 h 440"/>
                    <a:gd name="T46" fmla="*/ 67 w 832"/>
                    <a:gd name="T47" fmla="*/ 50 h 440"/>
                    <a:gd name="T48" fmla="*/ 58 w 832"/>
                    <a:gd name="T49" fmla="*/ 50 h 440"/>
                    <a:gd name="T50" fmla="*/ 41 w 832"/>
                    <a:gd name="T51" fmla="*/ 48 h 440"/>
                    <a:gd name="T52" fmla="*/ 27 w 832"/>
                    <a:gd name="T53" fmla="*/ 39 h 440"/>
                    <a:gd name="T54" fmla="*/ 8 w 832"/>
                    <a:gd name="T55" fmla="*/ 58 h 440"/>
                    <a:gd name="T56" fmla="*/ 0 w 832"/>
                    <a:gd name="T57" fmla="*/ 84 h 440"/>
                    <a:gd name="T58" fmla="*/ 14 w 832"/>
                    <a:gd name="T59" fmla="*/ 98 h 440"/>
                    <a:gd name="T60" fmla="*/ 27 w 832"/>
                    <a:gd name="T61" fmla="*/ 98 h 440"/>
                    <a:gd name="T62" fmla="*/ 36 w 832"/>
                    <a:gd name="T63" fmla="*/ 95 h 440"/>
                    <a:gd name="T64" fmla="*/ 44 w 832"/>
                    <a:gd name="T65" fmla="*/ 95 h 440"/>
                    <a:gd name="T66" fmla="*/ 44 w 832"/>
                    <a:gd name="T67" fmla="*/ 104 h 440"/>
                    <a:gd name="T68" fmla="*/ 31 w 832"/>
                    <a:gd name="T69" fmla="*/ 115 h 440"/>
                    <a:gd name="T70" fmla="*/ 27 w 832"/>
                    <a:gd name="T71" fmla="*/ 120 h 440"/>
                    <a:gd name="T72" fmla="*/ 31 w 832"/>
                    <a:gd name="T73" fmla="*/ 126 h 440"/>
                    <a:gd name="T74" fmla="*/ 39 w 832"/>
                    <a:gd name="T75" fmla="*/ 135 h 440"/>
                    <a:gd name="T76" fmla="*/ 44 w 832"/>
                    <a:gd name="T77" fmla="*/ 140 h 440"/>
                    <a:gd name="T78" fmla="*/ 56 w 832"/>
                    <a:gd name="T79" fmla="*/ 145 h 440"/>
                    <a:gd name="T80" fmla="*/ 84 w 832"/>
                    <a:gd name="T81" fmla="*/ 109 h 440"/>
                    <a:gd name="T82" fmla="*/ 111 w 832"/>
                    <a:gd name="T83" fmla="*/ 126 h 440"/>
                    <a:gd name="T84" fmla="*/ 128 w 832"/>
                    <a:gd name="T85" fmla="*/ 132 h 440"/>
                    <a:gd name="T86" fmla="*/ 142 w 832"/>
                    <a:gd name="T87" fmla="*/ 149 h 440"/>
                    <a:gd name="T88" fmla="*/ 150 w 832"/>
                    <a:gd name="T89" fmla="*/ 154 h 44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832"/>
                    <a:gd name="T136" fmla="*/ 0 h 440"/>
                    <a:gd name="T137" fmla="*/ 832 w 832"/>
                    <a:gd name="T138" fmla="*/ 440 h 44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832" h="440">
                      <a:moveTo>
                        <a:pt x="448" y="432"/>
                      </a:moveTo>
                      <a:lnTo>
                        <a:pt x="456" y="416"/>
                      </a:lnTo>
                      <a:lnTo>
                        <a:pt x="464" y="408"/>
                      </a:lnTo>
                      <a:lnTo>
                        <a:pt x="496" y="400"/>
                      </a:lnTo>
                      <a:lnTo>
                        <a:pt x="504" y="392"/>
                      </a:lnTo>
                      <a:lnTo>
                        <a:pt x="520" y="392"/>
                      </a:lnTo>
                      <a:lnTo>
                        <a:pt x="528" y="400"/>
                      </a:lnTo>
                      <a:lnTo>
                        <a:pt x="552" y="392"/>
                      </a:lnTo>
                      <a:lnTo>
                        <a:pt x="544" y="384"/>
                      </a:lnTo>
                      <a:lnTo>
                        <a:pt x="568" y="368"/>
                      </a:lnTo>
                      <a:lnTo>
                        <a:pt x="576" y="376"/>
                      </a:lnTo>
                      <a:lnTo>
                        <a:pt x="584" y="384"/>
                      </a:lnTo>
                      <a:lnTo>
                        <a:pt x="616" y="376"/>
                      </a:lnTo>
                      <a:lnTo>
                        <a:pt x="648" y="384"/>
                      </a:lnTo>
                      <a:lnTo>
                        <a:pt x="672" y="392"/>
                      </a:lnTo>
                      <a:lnTo>
                        <a:pt x="688" y="400"/>
                      </a:lnTo>
                      <a:lnTo>
                        <a:pt x="696" y="376"/>
                      </a:lnTo>
                      <a:lnTo>
                        <a:pt x="688" y="368"/>
                      </a:lnTo>
                      <a:lnTo>
                        <a:pt x="688" y="344"/>
                      </a:lnTo>
                      <a:lnTo>
                        <a:pt x="672" y="328"/>
                      </a:lnTo>
                      <a:lnTo>
                        <a:pt x="712" y="312"/>
                      </a:lnTo>
                      <a:lnTo>
                        <a:pt x="728" y="328"/>
                      </a:lnTo>
                      <a:lnTo>
                        <a:pt x="736" y="320"/>
                      </a:lnTo>
                      <a:lnTo>
                        <a:pt x="736" y="304"/>
                      </a:lnTo>
                      <a:lnTo>
                        <a:pt x="752" y="264"/>
                      </a:lnTo>
                      <a:lnTo>
                        <a:pt x="776" y="264"/>
                      </a:lnTo>
                      <a:lnTo>
                        <a:pt x="792" y="272"/>
                      </a:lnTo>
                      <a:lnTo>
                        <a:pt x="800" y="264"/>
                      </a:lnTo>
                      <a:lnTo>
                        <a:pt x="792" y="232"/>
                      </a:lnTo>
                      <a:lnTo>
                        <a:pt x="832" y="200"/>
                      </a:lnTo>
                      <a:lnTo>
                        <a:pt x="832" y="192"/>
                      </a:lnTo>
                      <a:lnTo>
                        <a:pt x="792" y="184"/>
                      </a:lnTo>
                      <a:lnTo>
                        <a:pt x="760" y="144"/>
                      </a:lnTo>
                      <a:lnTo>
                        <a:pt x="736" y="144"/>
                      </a:lnTo>
                      <a:lnTo>
                        <a:pt x="680" y="144"/>
                      </a:lnTo>
                      <a:lnTo>
                        <a:pt x="664" y="112"/>
                      </a:lnTo>
                      <a:lnTo>
                        <a:pt x="648" y="88"/>
                      </a:lnTo>
                      <a:lnTo>
                        <a:pt x="624" y="64"/>
                      </a:lnTo>
                      <a:lnTo>
                        <a:pt x="616" y="48"/>
                      </a:lnTo>
                      <a:lnTo>
                        <a:pt x="616" y="32"/>
                      </a:lnTo>
                      <a:lnTo>
                        <a:pt x="584" y="24"/>
                      </a:lnTo>
                      <a:lnTo>
                        <a:pt x="576" y="40"/>
                      </a:lnTo>
                      <a:lnTo>
                        <a:pt x="568" y="56"/>
                      </a:lnTo>
                      <a:lnTo>
                        <a:pt x="544" y="56"/>
                      </a:lnTo>
                      <a:lnTo>
                        <a:pt x="544" y="40"/>
                      </a:lnTo>
                      <a:lnTo>
                        <a:pt x="512" y="24"/>
                      </a:lnTo>
                      <a:lnTo>
                        <a:pt x="496" y="32"/>
                      </a:lnTo>
                      <a:lnTo>
                        <a:pt x="488" y="8"/>
                      </a:lnTo>
                      <a:lnTo>
                        <a:pt x="480" y="0"/>
                      </a:lnTo>
                      <a:lnTo>
                        <a:pt x="448" y="0"/>
                      </a:lnTo>
                      <a:lnTo>
                        <a:pt x="424" y="0"/>
                      </a:lnTo>
                      <a:lnTo>
                        <a:pt x="400" y="16"/>
                      </a:lnTo>
                      <a:lnTo>
                        <a:pt x="344" y="40"/>
                      </a:lnTo>
                      <a:lnTo>
                        <a:pt x="312" y="48"/>
                      </a:lnTo>
                      <a:lnTo>
                        <a:pt x="288" y="56"/>
                      </a:lnTo>
                      <a:lnTo>
                        <a:pt x="288" y="72"/>
                      </a:lnTo>
                      <a:lnTo>
                        <a:pt x="304" y="72"/>
                      </a:lnTo>
                      <a:lnTo>
                        <a:pt x="288" y="80"/>
                      </a:lnTo>
                      <a:lnTo>
                        <a:pt x="280" y="88"/>
                      </a:lnTo>
                      <a:lnTo>
                        <a:pt x="296" y="96"/>
                      </a:lnTo>
                      <a:lnTo>
                        <a:pt x="288" y="104"/>
                      </a:lnTo>
                      <a:lnTo>
                        <a:pt x="280" y="112"/>
                      </a:lnTo>
                      <a:lnTo>
                        <a:pt x="280" y="120"/>
                      </a:lnTo>
                      <a:lnTo>
                        <a:pt x="288" y="136"/>
                      </a:lnTo>
                      <a:lnTo>
                        <a:pt x="296" y="152"/>
                      </a:lnTo>
                      <a:lnTo>
                        <a:pt x="280" y="160"/>
                      </a:lnTo>
                      <a:lnTo>
                        <a:pt x="272" y="144"/>
                      </a:lnTo>
                      <a:lnTo>
                        <a:pt x="264" y="144"/>
                      </a:lnTo>
                      <a:lnTo>
                        <a:pt x="264" y="160"/>
                      </a:lnTo>
                      <a:lnTo>
                        <a:pt x="240" y="152"/>
                      </a:lnTo>
                      <a:lnTo>
                        <a:pt x="232" y="144"/>
                      </a:lnTo>
                      <a:lnTo>
                        <a:pt x="192" y="144"/>
                      </a:lnTo>
                      <a:lnTo>
                        <a:pt x="184" y="152"/>
                      </a:lnTo>
                      <a:lnTo>
                        <a:pt x="176" y="152"/>
                      </a:lnTo>
                      <a:lnTo>
                        <a:pt x="168" y="144"/>
                      </a:lnTo>
                      <a:lnTo>
                        <a:pt x="152" y="144"/>
                      </a:lnTo>
                      <a:lnTo>
                        <a:pt x="144" y="128"/>
                      </a:lnTo>
                      <a:lnTo>
                        <a:pt x="120" y="136"/>
                      </a:lnTo>
                      <a:lnTo>
                        <a:pt x="112" y="128"/>
                      </a:lnTo>
                      <a:lnTo>
                        <a:pt x="96" y="128"/>
                      </a:lnTo>
                      <a:lnTo>
                        <a:pt x="80" y="112"/>
                      </a:lnTo>
                      <a:lnTo>
                        <a:pt x="40" y="144"/>
                      </a:lnTo>
                      <a:lnTo>
                        <a:pt x="40" y="168"/>
                      </a:lnTo>
                      <a:lnTo>
                        <a:pt x="24" y="168"/>
                      </a:lnTo>
                      <a:lnTo>
                        <a:pt x="16" y="152"/>
                      </a:lnTo>
                      <a:lnTo>
                        <a:pt x="8" y="160"/>
                      </a:lnTo>
                      <a:lnTo>
                        <a:pt x="0" y="240"/>
                      </a:lnTo>
                      <a:lnTo>
                        <a:pt x="32" y="248"/>
                      </a:lnTo>
                      <a:lnTo>
                        <a:pt x="40" y="264"/>
                      </a:lnTo>
                      <a:lnTo>
                        <a:pt x="40" y="280"/>
                      </a:lnTo>
                      <a:lnTo>
                        <a:pt x="48" y="288"/>
                      </a:lnTo>
                      <a:lnTo>
                        <a:pt x="72" y="280"/>
                      </a:lnTo>
                      <a:lnTo>
                        <a:pt x="80" y="280"/>
                      </a:lnTo>
                      <a:lnTo>
                        <a:pt x="80" y="272"/>
                      </a:lnTo>
                      <a:lnTo>
                        <a:pt x="88" y="272"/>
                      </a:lnTo>
                      <a:lnTo>
                        <a:pt x="104" y="272"/>
                      </a:lnTo>
                      <a:lnTo>
                        <a:pt x="112" y="272"/>
                      </a:lnTo>
                      <a:lnTo>
                        <a:pt x="120" y="272"/>
                      </a:lnTo>
                      <a:lnTo>
                        <a:pt x="128" y="272"/>
                      </a:lnTo>
                      <a:lnTo>
                        <a:pt x="128" y="280"/>
                      </a:lnTo>
                      <a:lnTo>
                        <a:pt x="128" y="288"/>
                      </a:lnTo>
                      <a:lnTo>
                        <a:pt x="128" y="296"/>
                      </a:lnTo>
                      <a:lnTo>
                        <a:pt x="128" y="312"/>
                      </a:lnTo>
                      <a:lnTo>
                        <a:pt x="128" y="320"/>
                      </a:lnTo>
                      <a:lnTo>
                        <a:pt x="88" y="328"/>
                      </a:lnTo>
                      <a:lnTo>
                        <a:pt x="88" y="336"/>
                      </a:lnTo>
                      <a:lnTo>
                        <a:pt x="88" y="344"/>
                      </a:lnTo>
                      <a:lnTo>
                        <a:pt x="80" y="344"/>
                      </a:lnTo>
                      <a:lnTo>
                        <a:pt x="72" y="336"/>
                      </a:lnTo>
                      <a:lnTo>
                        <a:pt x="80" y="352"/>
                      </a:lnTo>
                      <a:lnTo>
                        <a:pt x="88" y="360"/>
                      </a:lnTo>
                      <a:lnTo>
                        <a:pt x="88" y="376"/>
                      </a:lnTo>
                      <a:lnTo>
                        <a:pt x="96" y="384"/>
                      </a:lnTo>
                      <a:lnTo>
                        <a:pt x="112" y="384"/>
                      </a:lnTo>
                      <a:lnTo>
                        <a:pt x="120" y="392"/>
                      </a:lnTo>
                      <a:lnTo>
                        <a:pt x="120" y="408"/>
                      </a:lnTo>
                      <a:lnTo>
                        <a:pt x="128" y="400"/>
                      </a:lnTo>
                      <a:lnTo>
                        <a:pt x="136" y="400"/>
                      </a:lnTo>
                      <a:lnTo>
                        <a:pt x="152" y="408"/>
                      </a:lnTo>
                      <a:lnTo>
                        <a:pt x="160" y="416"/>
                      </a:lnTo>
                      <a:lnTo>
                        <a:pt x="184" y="416"/>
                      </a:lnTo>
                      <a:lnTo>
                        <a:pt x="176" y="344"/>
                      </a:lnTo>
                      <a:lnTo>
                        <a:pt x="240" y="312"/>
                      </a:lnTo>
                      <a:lnTo>
                        <a:pt x="296" y="344"/>
                      </a:lnTo>
                      <a:lnTo>
                        <a:pt x="312" y="368"/>
                      </a:lnTo>
                      <a:lnTo>
                        <a:pt x="320" y="360"/>
                      </a:lnTo>
                      <a:lnTo>
                        <a:pt x="344" y="368"/>
                      </a:lnTo>
                      <a:lnTo>
                        <a:pt x="352" y="368"/>
                      </a:lnTo>
                      <a:lnTo>
                        <a:pt x="368" y="376"/>
                      </a:lnTo>
                      <a:lnTo>
                        <a:pt x="376" y="400"/>
                      </a:lnTo>
                      <a:lnTo>
                        <a:pt x="392" y="392"/>
                      </a:lnTo>
                      <a:lnTo>
                        <a:pt x="408" y="424"/>
                      </a:lnTo>
                      <a:lnTo>
                        <a:pt x="416" y="432"/>
                      </a:lnTo>
                      <a:lnTo>
                        <a:pt x="424" y="440"/>
                      </a:lnTo>
                      <a:lnTo>
                        <a:pt x="432" y="440"/>
                      </a:lnTo>
                      <a:lnTo>
                        <a:pt x="440" y="432"/>
                      </a:lnTo>
                      <a:lnTo>
                        <a:pt x="448" y="43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88" name="Freeform 266">
                  <a:extLst>
                    <a:ext uri="{FF2B5EF4-FFF2-40B4-BE49-F238E27FC236}">
                      <a16:creationId xmlns:a16="http://schemas.microsoft.com/office/drawing/2014/main" id="{94071CDC-1A0D-B654-5690-40DF56EC8E6D}"/>
                    </a:ext>
                  </a:extLst>
                </p:cNvPr>
                <p:cNvSpPr/>
                <p:nvPr/>
              </p:nvSpPr>
              <p:spPr bwMode="gray">
                <a:xfrm>
                  <a:off x="3408" y="2228"/>
                  <a:ext cx="68" cy="73"/>
                </a:xfrm>
                <a:custGeom>
                  <a:avLst/>
                  <a:gdLst>
                    <a:gd name="T0" fmla="*/ 11 w 96"/>
                    <a:gd name="T1" fmla="*/ 25 h 104"/>
                    <a:gd name="T2" fmla="*/ 20 w 96"/>
                    <a:gd name="T3" fmla="*/ 22 h 104"/>
                    <a:gd name="T4" fmla="*/ 20 w 96"/>
                    <a:gd name="T5" fmla="*/ 25 h 104"/>
                    <a:gd name="T6" fmla="*/ 20 w 96"/>
                    <a:gd name="T7" fmla="*/ 31 h 104"/>
                    <a:gd name="T8" fmla="*/ 26 w 96"/>
                    <a:gd name="T9" fmla="*/ 36 h 104"/>
                    <a:gd name="T10" fmla="*/ 26 w 96"/>
                    <a:gd name="T11" fmla="*/ 31 h 104"/>
                    <a:gd name="T12" fmla="*/ 26 w 96"/>
                    <a:gd name="T13" fmla="*/ 25 h 104"/>
                    <a:gd name="T14" fmla="*/ 34 w 96"/>
                    <a:gd name="T15" fmla="*/ 17 h 104"/>
                    <a:gd name="T16" fmla="*/ 34 w 96"/>
                    <a:gd name="T17" fmla="*/ 14 h 104"/>
                    <a:gd name="T18" fmla="*/ 31 w 96"/>
                    <a:gd name="T19" fmla="*/ 8 h 104"/>
                    <a:gd name="T20" fmla="*/ 28 w 96"/>
                    <a:gd name="T21" fmla="*/ 3 h 104"/>
                    <a:gd name="T22" fmla="*/ 23 w 96"/>
                    <a:gd name="T23" fmla="*/ 0 h 104"/>
                    <a:gd name="T24" fmla="*/ 23 w 96"/>
                    <a:gd name="T25" fmla="*/ 6 h 104"/>
                    <a:gd name="T26" fmla="*/ 17 w 96"/>
                    <a:gd name="T27" fmla="*/ 6 h 104"/>
                    <a:gd name="T28" fmla="*/ 9 w 96"/>
                    <a:gd name="T29" fmla="*/ 3 h 104"/>
                    <a:gd name="T30" fmla="*/ 11 w 96"/>
                    <a:gd name="T31" fmla="*/ 8 h 104"/>
                    <a:gd name="T32" fmla="*/ 11 w 96"/>
                    <a:gd name="T33" fmla="*/ 11 h 104"/>
                    <a:gd name="T34" fmla="*/ 0 w 96"/>
                    <a:gd name="T35" fmla="*/ 8 h 104"/>
                    <a:gd name="T36" fmla="*/ 3 w 96"/>
                    <a:gd name="T37" fmla="*/ 14 h 104"/>
                    <a:gd name="T38" fmla="*/ 6 w 96"/>
                    <a:gd name="T39" fmla="*/ 17 h 104"/>
                    <a:gd name="T40" fmla="*/ 11 w 96"/>
                    <a:gd name="T41" fmla="*/ 25 h 10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96"/>
                    <a:gd name="T64" fmla="*/ 0 h 104"/>
                    <a:gd name="T65" fmla="*/ 96 w 96"/>
                    <a:gd name="T66" fmla="*/ 104 h 10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96" h="104">
                      <a:moveTo>
                        <a:pt x="32" y="72"/>
                      </a:moveTo>
                      <a:lnTo>
                        <a:pt x="56" y="64"/>
                      </a:lnTo>
                      <a:lnTo>
                        <a:pt x="56" y="72"/>
                      </a:lnTo>
                      <a:lnTo>
                        <a:pt x="56" y="88"/>
                      </a:lnTo>
                      <a:lnTo>
                        <a:pt x="72" y="104"/>
                      </a:lnTo>
                      <a:lnTo>
                        <a:pt x="72" y="88"/>
                      </a:lnTo>
                      <a:lnTo>
                        <a:pt x="72" y="72"/>
                      </a:lnTo>
                      <a:lnTo>
                        <a:pt x="96" y="48"/>
                      </a:lnTo>
                      <a:lnTo>
                        <a:pt x="96" y="40"/>
                      </a:lnTo>
                      <a:lnTo>
                        <a:pt x="88" y="24"/>
                      </a:lnTo>
                      <a:lnTo>
                        <a:pt x="80" y="8"/>
                      </a:lnTo>
                      <a:lnTo>
                        <a:pt x="64" y="0"/>
                      </a:lnTo>
                      <a:lnTo>
                        <a:pt x="64" y="16"/>
                      </a:lnTo>
                      <a:lnTo>
                        <a:pt x="48" y="16"/>
                      </a:lnTo>
                      <a:lnTo>
                        <a:pt x="24" y="8"/>
                      </a:lnTo>
                      <a:lnTo>
                        <a:pt x="32" y="24"/>
                      </a:lnTo>
                      <a:lnTo>
                        <a:pt x="32" y="32"/>
                      </a:lnTo>
                      <a:lnTo>
                        <a:pt x="0" y="24"/>
                      </a:lnTo>
                      <a:lnTo>
                        <a:pt x="8" y="40"/>
                      </a:lnTo>
                      <a:lnTo>
                        <a:pt x="16" y="48"/>
                      </a:lnTo>
                      <a:lnTo>
                        <a:pt x="32" y="7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89" name="Freeform 267">
                  <a:extLst>
                    <a:ext uri="{FF2B5EF4-FFF2-40B4-BE49-F238E27FC236}">
                      <a16:creationId xmlns:a16="http://schemas.microsoft.com/office/drawing/2014/main" id="{1CD2ECFC-A0EE-5915-8B27-FCF95409785B}"/>
                    </a:ext>
                  </a:extLst>
                </p:cNvPr>
                <p:cNvSpPr/>
                <p:nvPr/>
              </p:nvSpPr>
              <p:spPr bwMode="gray">
                <a:xfrm>
                  <a:off x="3397" y="2273"/>
                  <a:ext cx="28" cy="11"/>
                </a:xfrm>
                <a:custGeom>
                  <a:avLst/>
                  <a:gdLst>
                    <a:gd name="T0" fmla="*/ 0 w 40"/>
                    <a:gd name="T1" fmla="*/ 0 h 16"/>
                    <a:gd name="T2" fmla="*/ 6 w 40"/>
                    <a:gd name="T3" fmla="*/ 0 h 16"/>
                    <a:gd name="T4" fmla="*/ 14 w 40"/>
                    <a:gd name="T5" fmla="*/ 3 h 16"/>
                    <a:gd name="T6" fmla="*/ 8 w 40"/>
                    <a:gd name="T7" fmla="*/ 6 h 16"/>
                    <a:gd name="T8" fmla="*/ 0 w 40"/>
                    <a:gd name="T9" fmla="*/ 0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"/>
                    <a:gd name="T16" fmla="*/ 0 h 16"/>
                    <a:gd name="T17" fmla="*/ 40 w 40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" h="16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40" y="8"/>
                      </a:lnTo>
                      <a:lnTo>
                        <a:pt x="24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90" name="Freeform 268">
                  <a:extLst>
                    <a:ext uri="{FF2B5EF4-FFF2-40B4-BE49-F238E27FC236}">
                      <a16:creationId xmlns:a16="http://schemas.microsoft.com/office/drawing/2014/main" id="{3337D3AC-659A-5705-D781-7D9CBC6E25A4}"/>
                    </a:ext>
                  </a:extLst>
                </p:cNvPr>
                <p:cNvSpPr/>
                <p:nvPr/>
              </p:nvSpPr>
              <p:spPr bwMode="gray">
                <a:xfrm>
                  <a:off x="5062" y="1755"/>
                  <a:ext cx="34" cy="29"/>
                </a:xfrm>
                <a:custGeom>
                  <a:avLst/>
                  <a:gdLst>
                    <a:gd name="T0" fmla="*/ 17 w 48"/>
                    <a:gd name="T1" fmla="*/ 0 h 40"/>
                    <a:gd name="T2" fmla="*/ 17 w 48"/>
                    <a:gd name="T3" fmla="*/ 3 h 40"/>
                    <a:gd name="T4" fmla="*/ 9 w 48"/>
                    <a:gd name="T5" fmla="*/ 9 h 40"/>
                    <a:gd name="T6" fmla="*/ 6 w 48"/>
                    <a:gd name="T7" fmla="*/ 15 h 40"/>
                    <a:gd name="T8" fmla="*/ 3 w 48"/>
                    <a:gd name="T9" fmla="*/ 15 h 40"/>
                    <a:gd name="T10" fmla="*/ 3 w 48"/>
                    <a:gd name="T11" fmla="*/ 9 h 40"/>
                    <a:gd name="T12" fmla="*/ 0 w 48"/>
                    <a:gd name="T13" fmla="*/ 9 h 40"/>
                    <a:gd name="T14" fmla="*/ 3 w 48"/>
                    <a:gd name="T15" fmla="*/ 3 h 40"/>
                    <a:gd name="T16" fmla="*/ 3 w 48"/>
                    <a:gd name="T17" fmla="*/ 0 h 40"/>
                    <a:gd name="T18" fmla="*/ 17 w 48"/>
                    <a:gd name="T19" fmla="*/ 0 h 4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8"/>
                    <a:gd name="T31" fmla="*/ 0 h 40"/>
                    <a:gd name="T32" fmla="*/ 48 w 48"/>
                    <a:gd name="T33" fmla="*/ 40 h 4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8" h="40">
                      <a:moveTo>
                        <a:pt x="48" y="0"/>
                      </a:moveTo>
                      <a:lnTo>
                        <a:pt x="48" y="8"/>
                      </a:lnTo>
                      <a:lnTo>
                        <a:pt x="24" y="24"/>
                      </a:lnTo>
                      <a:lnTo>
                        <a:pt x="16" y="40"/>
                      </a:lnTo>
                      <a:lnTo>
                        <a:pt x="8" y="40"/>
                      </a:lnTo>
                      <a:lnTo>
                        <a:pt x="8" y="24"/>
                      </a:lnTo>
                      <a:lnTo>
                        <a:pt x="0" y="24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91" name="Freeform 269">
                  <a:extLst>
                    <a:ext uri="{FF2B5EF4-FFF2-40B4-BE49-F238E27FC236}">
                      <a16:creationId xmlns:a16="http://schemas.microsoft.com/office/drawing/2014/main" id="{AD9272C5-B412-654E-4B49-422CAE7207BA}"/>
                    </a:ext>
                  </a:extLst>
                </p:cNvPr>
                <p:cNvSpPr/>
                <p:nvPr/>
              </p:nvSpPr>
              <p:spPr bwMode="gray">
                <a:xfrm>
                  <a:off x="3585" y="1300"/>
                  <a:ext cx="1919" cy="906"/>
                </a:xfrm>
                <a:custGeom>
                  <a:avLst/>
                  <a:gdLst>
                    <a:gd name="T0" fmla="*/ 902 w 2728"/>
                    <a:gd name="T1" fmla="*/ 134 h 1288"/>
                    <a:gd name="T2" fmla="*/ 847 w 2728"/>
                    <a:gd name="T3" fmla="*/ 106 h 1288"/>
                    <a:gd name="T4" fmla="*/ 802 w 2728"/>
                    <a:gd name="T5" fmla="*/ 117 h 1288"/>
                    <a:gd name="T6" fmla="*/ 741 w 2728"/>
                    <a:gd name="T7" fmla="*/ 111 h 1288"/>
                    <a:gd name="T8" fmla="*/ 671 w 2728"/>
                    <a:gd name="T9" fmla="*/ 86 h 1288"/>
                    <a:gd name="T10" fmla="*/ 630 w 2728"/>
                    <a:gd name="T11" fmla="*/ 81 h 1288"/>
                    <a:gd name="T12" fmla="*/ 593 w 2728"/>
                    <a:gd name="T13" fmla="*/ 72 h 1288"/>
                    <a:gd name="T14" fmla="*/ 568 w 2728"/>
                    <a:gd name="T15" fmla="*/ 86 h 1288"/>
                    <a:gd name="T16" fmla="*/ 506 w 2728"/>
                    <a:gd name="T17" fmla="*/ 81 h 1288"/>
                    <a:gd name="T18" fmla="*/ 485 w 2728"/>
                    <a:gd name="T19" fmla="*/ 58 h 1288"/>
                    <a:gd name="T20" fmla="*/ 435 w 2728"/>
                    <a:gd name="T21" fmla="*/ 61 h 1288"/>
                    <a:gd name="T22" fmla="*/ 401 w 2728"/>
                    <a:gd name="T23" fmla="*/ 53 h 1288"/>
                    <a:gd name="T24" fmla="*/ 370 w 2728"/>
                    <a:gd name="T25" fmla="*/ 61 h 1288"/>
                    <a:gd name="T26" fmla="*/ 362 w 2728"/>
                    <a:gd name="T27" fmla="*/ 56 h 1288"/>
                    <a:gd name="T28" fmla="*/ 398 w 2728"/>
                    <a:gd name="T29" fmla="*/ 25 h 1288"/>
                    <a:gd name="T30" fmla="*/ 354 w 2728"/>
                    <a:gd name="T31" fmla="*/ 17 h 1288"/>
                    <a:gd name="T32" fmla="*/ 323 w 2728"/>
                    <a:gd name="T33" fmla="*/ 0 h 1288"/>
                    <a:gd name="T34" fmla="*/ 310 w 2728"/>
                    <a:gd name="T35" fmla="*/ 17 h 1288"/>
                    <a:gd name="T36" fmla="*/ 281 w 2728"/>
                    <a:gd name="T37" fmla="*/ 23 h 1288"/>
                    <a:gd name="T38" fmla="*/ 243 w 2728"/>
                    <a:gd name="T39" fmla="*/ 27 h 1288"/>
                    <a:gd name="T40" fmla="*/ 203 w 2728"/>
                    <a:gd name="T41" fmla="*/ 39 h 1288"/>
                    <a:gd name="T42" fmla="*/ 200 w 2728"/>
                    <a:gd name="T43" fmla="*/ 56 h 1288"/>
                    <a:gd name="T44" fmla="*/ 186 w 2728"/>
                    <a:gd name="T45" fmla="*/ 86 h 1288"/>
                    <a:gd name="T46" fmla="*/ 178 w 2728"/>
                    <a:gd name="T47" fmla="*/ 94 h 1288"/>
                    <a:gd name="T48" fmla="*/ 148 w 2728"/>
                    <a:gd name="T49" fmla="*/ 84 h 1288"/>
                    <a:gd name="T50" fmla="*/ 139 w 2728"/>
                    <a:gd name="T51" fmla="*/ 92 h 1288"/>
                    <a:gd name="T52" fmla="*/ 114 w 2728"/>
                    <a:gd name="T53" fmla="*/ 89 h 1288"/>
                    <a:gd name="T54" fmla="*/ 145 w 2728"/>
                    <a:gd name="T55" fmla="*/ 131 h 1288"/>
                    <a:gd name="T56" fmla="*/ 122 w 2728"/>
                    <a:gd name="T57" fmla="*/ 136 h 1288"/>
                    <a:gd name="T58" fmla="*/ 94 w 2728"/>
                    <a:gd name="T59" fmla="*/ 148 h 1288"/>
                    <a:gd name="T60" fmla="*/ 108 w 2728"/>
                    <a:gd name="T61" fmla="*/ 101 h 1288"/>
                    <a:gd name="T62" fmla="*/ 70 w 2728"/>
                    <a:gd name="T63" fmla="*/ 92 h 1288"/>
                    <a:gd name="T64" fmla="*/ 75 w 2728"/>
                    <a:gd name="T65" fmla="*/ 125 h 1288"/>
                    <a:gd name="T66" fmla="*/ 23 w 2728"/>
                    <a:gd name="T67" fmla="*/ 209 h 1288"/>
                    <a:gd name="T68" fmla="*/ 19 w 2728"/>
                    <a:gd name="T69" fmla="*/ 362 h 1288"/>
                    <a:gd name="T70" fmla="*/ 44 w 2728"/>
                    <a:gd name="T71" fmla="*/ 326 h 1288"/>
                    <a:gd name="T72" fmla="*/ 139 w 2728"/>
                    <a:gd name="T73" fmla="*/ 328 h 1288"/>
                    <a:gd name="T74" fmla="*/ 239 w 2728"/>
                    <a:gd name="T75" fmla="*/ 368 h 1288"/>
                    <a:gd name="T76" fmla="*/ 298 w 2728"/>
                    <a:gd name="T77" fmla="*/ 348 h 1288"/>
                    <a:gd name="T78" fmla="*/ 426 w 2728"/>
                    <a:gd name="T79" fmla="*/ 373 h 1288"/>
                    <a:gd name="T80" fmla="*/ 498 w 2728"/>
                    <a:gd name="T81" fmla="*/ 354 h 1288"/>
                    <a:gd name="T82" fmla="*/ 546 w 2728"/>
                    <a:gd name="T83" fmla="*/ 421 h 1288"/>
                    <a:gd name="T84" fmla="*/ 546 w 2728"/>
                    <a:gd name="T85" fmla="*/ 448 h 1288"/>
                    <a:gd name="T86" fmla="*/ 596 w 2728"/>
                    <a:gd name="T87" fmla="*/ 359 h 1288"/>
                    <a:gd name="T88" fmla="*/ 573 w 2728"/>
                    <a:gd name="T89" fmla="*/ 331 h 1288"/>
                    <a:gd name="T90" fmla="*/ 580 w 2728"/>
                    <a:gd name="T91" fmla="*/ 289 h 1288"/>
                    <a:gd name="T92" fmla="*/ 640 w 2728"/>
                    <a:gd name="T93" fmla="*/ 256 h 1288"/>
                    <a:gd name="T94" fmla="*/ 688 w 2728"/>
                    <a:gd name="T95" fmla="*/ 259 h 1288"/>
                    <a:gd name="T96" fmla="*/ 710 w 2728"/>
                    <a:gd name="T97" fmla="*/ 226 h 1288"/>
                    <a:gd name="T98" fmla="*/ 758 w 2728"/>
                    <a:gd name="T99" fmla="*/ 209 h 1288"/>
                    <a:gd name="T100" fmla="*/ 727 w 2728"/>
                    <a:gd name="T101" fmla="*/ 264 h 1288"/>
                    <a:gd name="T102" fmla="*/ 710 w 2728"/>
                    <a:gd name="T103" fmla="*/ 348 h 1288"/>
                    <a:gd name="T104" fmla="*/ 746 w 2728"/>
                    <a:gd name="T105" fmla="*/ 318 h 1288"/>
                    <a:gd name="T106" fmla="*/ 749 w 2728"/>
                    <a:gd name="T107" fmla="*/ 273 h 1288"/>
                    <a:gd name="T108" fmla="*/ 780 w 2728"/>
                    <a:gd name="T109" fmla="*/ 248 h 1288"/>
                    <a:gd name="T110" fmla="*/ 841 w 2728"/>
                    <a:gd name="T111" fmla="*/ 217 h 1288"/>
                    <a:gd name="T112" fmla="*/ 864 w 2728"/>
                    <a:gd name="T113" fmla="*/ 181 h 1288"/>
                    <a:gd name="T114" fmla="*/ 874 w 2728"/>
                    <a:gd name="T115" fmla="*/ 172 h 1288"/>
                    <a:gd name="T116" fmla="*/ 902 w 2728"/>
                    <a:gd name="T117" fmla="*/ 165 h 1288"/>
                    <a:gd name="T118" fmla="*/ 938 w 2728"/>
                    <a:gd name="T119" fmla="*/ 161 h 1288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728"/>
                    <a:gd name="T181" fmla="*/ 0 h 1288"/>
                    <a:gd name="T182" fmla="*/ 2728 w 2728"/>
                    <a:gd name="T183" fmla="*/ 1288 h 1288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728" h="1288">
                      <a:moveTo>
                        <a:pt x="2696" y="416"/>
                      </a:moveTo>
                      <a:lnTo>
                        <a:pt x="2672" y="400"/>
                      </a:lnTo>
                      <a:lnTo>
                        <a:pt x="2664" y="400"/>
                      </a:lnTo>
                      <a:lnTo>
                        <a:pt x="2648" y="400"/>
                      </a:lnTo>
                      <a:lnTo>
                        <a:pt x="2632" y="400"/>
                      </a:lnTo>
                      <a:lnTo>
                        <a:pt x="2632" y="408"/>
                      </a:lnTo>
                      <a:lnTo>
                        <a:pt x="2632" y="416"/>
                      </a:lnTo>
                      <a:lnTo>
                        <a:pt x="2640" y="416"/>
                      </a:lnTo>
                      <a:lnTo>
                        <a:pt x="2632" y="424"/>
                      </a:lnTo>
                      <a:lnTo>
                        <a:pt x="2616" y="408"/>
                      </a:lnTo>
                      <a:lnTo>
                        <a:pt x="2624" y="408"/>
                      </a:lnTo>
                      <a:lnTo>
                        <a:pt x="2624" y="392"/>
                      </a:lnTo>
                      <a:lnTo>
                        <a:pt x="2600" y="376"/>
                      </a:lnTo>
                      <a:lnTo>
                        <a:pt x="2592" y="384"/>
                      </a:lnTo>
                      <a:lnTo>
                        <a:pt x="2592" y="376"/>
                      </a:lnTo>
                      <a:lnTo>
                        <a:pt x="2584" y="376"/>
                      </a:lnTo>
                      <a:lnTo>
                        <a:pt x="2584" y="368"/>
                      </a:lnTo>
                      <a:lnTo>
                        <a:pt x="2568" y="368"/>
                      </a:lnTo>
                      <a:lnTo>
                        <a:pt x="2544" y="352"/>
                      </a:lnTo>
                      <a:lnTo>
                        <a:pt x="2544" y="344"/>
                      </a:lnTo>
                      <a:lnTo>
                        <a:pt x="2528" y="344"/>
                      </a:lnTo>
                      <a:lnTo>
                        <a:pt x="2520" y="344"/>
                      </a:lnTo>
                      <a:lnTo>
                        <a:pt x="2520" y="336"/>
                      </a:lnTo>
                      <a:lnTo>
                        <a:pt x="2496" y="320"/>
                      </a:lnTo>
                      <a:lnTo>
                        <a:pt x="2480" y="320"/>
                      </a:lnTo>
                      <a:lnTo>
                        <a:pt x="2472" y="312"/>
                      </a:lnTo>
                      <a:lnTo>
                        <a:pt x="2456" y="312"/>
                      </a:lnTo>
                      <a:lnTo>
                        <a:pt x="2432" y="304"/>
                      </a:lnTo>
                      <a:lnTo>
                        <a:pt x="2432" y="312"/>
                      </a:lnTo>
                      <a:lnTo>
                        <a:pt x="2416" y="304"/>
                      </a:lnTo>
                      <a:lnTo>
                        <a:pt x="2408" y="304"/>
                      </a:lnTo>
                      <a:lnTo>
                        <a:pt x="2392" y="304"/>
                      </a:lnTo>
                      <a:lnTo>
                        <a:pt x="2384" y="304"/>
                      </a:lnTo>
                      <a:lnTo>
                        <a:pt x="2368" y="304"/>
                      </a:lnTo>
                      <a:lnTo>
                        <a:pt x="2328" y="296"/>
                      </a:lnTo>
                      <a:lnTo>
                        <a:pt x="2320" y="304"/>
                      </a:lnTo>
                      <a:lnTo>
                        <a:pt x="2328" y="304"/>
                      </a:lnTo>
                      <a:lnTo>
                        <a:pt x="2320" y="312"/>
                      </a:lnTo>
                      <a:lnTo>
                        <a:pt x="2312" y="312"/>
                      </a:lnTo>
                      <a:lnTo>
                        <a:pt x="2336" y="328"/>
                      </a:lnTo>
                      <a:lnTo>
                        <a:pt x="2336" y="344"/>
                      </a:lnTo>
                      <a:lnTo>
                        <a:pt x="2304" y="336"/>
                      </a:lnTo>
                      <a:lnTo>
                        <a:pt x="2304" y="328"/>
                      </a:lnTo>
                      <a:lnTo>
                        <a:pt x="2280" y="328"/>
                      </a:lnTo>
                      <a:lnTo>
                        <a:pt x="2272" y="312"/>
                      </a:lnTo>
                      <a:lnTo>
                        <a:pt x="2264" y="312"/>
                      </a:lnTo>
                      <a:lnTo>
                        <a:pt x="2256" y="320"/>
                      </a:lnTo>
                      <a:lnTo>
                        <a:pt x="2208" y="320"/>
                      </a:lnTo>
                      <a:lnTo>
                        <a:pt x="2192" y="312"/>
                      </a:lnTo>
                      <a:lnTo>
                        <a:pt x="2184" y="312"/>
                      </a:lnTo>
                      <a:lnTo>
                        <a:pt x="2168" y="312"/>
                      </a:lnTo>
                      <a:lnTo>
                        <a:pt x="2152" y="320"/>
                      </a:lnTo>
                      <a:lnTo>
                        <a:pt x="2144" y="312"/>
                      </a:lnTo>
                      <a:lnTo>
                        <a:pt x="2144" y="320"/>
                      </a:lnTo>
                      <a:lnTo>
                        <a:pt x="2136" y="320"/>
                      </a:lnTo>
                      <a:lnTo>
                        <a:pt x="2128" y="320"/>
                      </a:lnTo>
                      <a:lnTo>
                        <a:pt x="2128" y="312"/>
                      </a:lnTo>
                      <a:lnTo>
                        <a:pt x="2120" y="312"/>
                      </a:lnTo>
                      <a:lnTo>
                        <a:pt x="2104" y="312"/>
                      </a:lnTo>
                      <a:lnTo>
                        <a:pt x="2104" y="296"/>
                      </a:lnTo>
                      <a:lnTo>
                        <a:pt x="2112" y="288"/>
                      </a:lnTo>
                      <a:lnTo>
                        <a:pt x="2104" y="280"/>
                      </a:lnTo>
                      <a:lnTo>
                        <a:pt x="2080" y="264"/>
                      </a:lnTo>
                      <a:lnTo>
                        <a:pt x="2064" y="264"/>
                      </a:lnTo>
                      <a:lnTo>
                        <a:pt x="2048" y="256"/>
                      </a:lnTo>
                      <a:lnTo>
                        <a:pt x="2024" y="264"/>
                      </a:lnTo>
                      <a:lnTo>
                        <a:pt x="1992" y="272"/>
                      </a:lnTo>
                      <a:lnTo>
                        <a:pt x="1960" y="272"/>
                      </a:lnTo>
                      <a:lnTo>
                        <a:pt x="1944" y="264"/>
                      </a:lnTo>
                      <a:lnTo>
                        <a:pt x="1928" y="248"/>
                      </a:lnTo>
                      <a:lnTo>
                        <a:pt x="1904" y="240"/>
                      </a:lnTo>
                      <a:lnTo>
                        <a:pt x="1888" y="240"/>
                      </a:lnTo>
                      <a:lnTo>
                        <a:pt x="1888" y="232"/>
                      </a:lnTo>
                      <a:lnTo>
                        <a:pt x="1896" y="232"/>
                      </a:lnTo>
                      <a:lnTo>
                        <a:pt x="1904" y="232"/>
                      </a:lnTo>
                      <a:lnTo>
                        <a:pt x="1904" y="224"/>
                      </a:lnTo>
                      <a:lnTo>
                        <a:pt x="1896" y="224"/>
                      </a:lnTo>
                      <a:lnTo>
                        <a:pt x="1880" y="216"/>
                      </a:lnTo>
                      <a:lnTo>
                        <a:pt x="1848" y="216"/>
                      </a:lnTo>
                      <a:lnTo>
                        <a:pt x="1840" y="232"/>
                      </a:lnTo>
                      <a:lnTo>
                        <a:pt x="1824" y="240"/>
                      </a:lnTo>
                      <a:lnTo>
                        <a:pt x="1800" y="240"/>
                      </a:lnTo>
                      <a:lnTo>
                        <a:pt x="1800" y="232"/>
                      </a:lnTo>
                      <a:lnTo>
                        <a:pt x="1808" y="232"/>
                      </a:lnTo>
                      <a:lnTo>
                        <a:pt x="1816" y="224"/>
                      </a:lnTo>
                      <a:lnTo>
                        <a:pt x="1792" y="224"/>
                      </a:lnTo>
                      <a:lnTo>
                        <a:pt x="1784" y="216"/>
                      </a:lnTo>
                      <a:lnTo>
                        <a:pt x="1792" y="208"/>
                      </a:lnTo>
                      <a:lnTo>
                        <a:pt x="1808" y="208"/>
                      </a:lnTo>
                      <a:lnTo>
                        <a:pt x="1832" y="216"/>
                      </a:lnTo>
                      <a:lnTo>
                        <a:pt x="1792" y="200"/>
                      </a:lnTo>
                      <a:lnTo>
                        <a:pt x="1776" y="200"/>
                      </a:lnTo>
                      <a:lnTo>
                        <a:pt x="1744" y="200"/>
                      </a:lnTo>
                      <a:lnTo>
                        <a:pt x="1728" y="200"/>
                      </a:lnTo>
                      <a:lnTo>
                        <a:pt x="1728" y="192"/>
                      </a:lnTo>
                      <a:lnTo>
                        <a:pt x="1720" y="192"/>
                      </a:lnTo>
                      <a:lnTo>
                        <a:pt x="1720" y="200"/>
                      </a:lnTo>
                      <a:lnTo>
                        <a:pt x="1704" y="208"/>
                      </a:lnTo>
                      <a:lnTo>
                        <a:pt x="1696" y="208"/>
                      </a:lnTo>
                      <a:lnTo>
                        <a:pt x="1688" y="208"/>
                      </a:lnTo>
                      <a:lnTo>
                        <a:pt x="1680" y="216"/>
                      </a:lnTo>
                      <a:lnTo>
                        <a:pt x="1704" y="216"/>
                      </a:lnTo>
                      <a:lnTo>
                        <a:pt x="1696" y="224"/>
                      </a:lnTo>
                      <a:lnTo>
                        <a:pt x="1696" y="232"/>
                      </a:lnTo>
                      <a:lnTo>
                        <a:pt x="1704" y="248"/>
                      </a:lnTo>
                      <a:lnTo>
                        <a:pt x="1680" y="248"/>
                      </a:lnTo>
                      <a:lnTo>
                        <a:pt x="1680" y="240"/>
                      </a:lnTo>
                      <a:lnTo>
                        <a:pt x="1672" y="240"/>
                      </a:lnTo>
                      <a:lnTo>
                        <a:pt x="1664" y="248"/>
                      </a:lnTo>
                      <a:lnTo>
                        <a:pt x="1664" y="256"/>
                      </a:lnTo>
                      <a:lnTo>
                        <a:pt x="1648" y="256"/>
                      </a:lnTo>
                      <a:lnTo>
                        <a:pt x="1632" y="248"/>
                      </a:lnTo>
                      <a:lnTo>
                        <a:pt x="1608" y="240"/>
                      </a:lnTo>
                      <a:lnTo>
                        <a:pt x="1592" y="248"/>
                      </a:lnTo>
                      <a:lnTo>
                        <a:pt x="1576" y="248"/>
                      </a:lnTo>
                      <a:lnTo>
                        <a:pt x="1552" y="240"/>
                      </a:lnTo>
                      <a:lnTo>
                        <a:pt x="1552" y="232"/>
                      </a:lnTo>
                      <a:lnTo>
                        <a:pt x="1536" y="248"/>
                      </a:lnTo>
                      <a:lnTo>
                        <a:pt x="1528" y="264"/>
                      </a:lnTo>
                      <a:lnTo>
                        <a:pt x="1520" y="272"/>
                      </a:lnTo>
                      <a:lnTo>
                        <a:pt x="1480" y="248"/>
                      </a:lnTo>
                      <a:lnTo>
                        <a:pt x="1472" y="240"/>
                      </a:lnTo>
                      <a:lnTo>
                        <a:pt x="1480" y="240"/>
                      </a:lnTo>
                      <a:lnTo>
                        <a:pt x="1472" y="232"/>
                      </a:lnTo>
                      <a:lnTo>
                        <a:pt x="1464" y="232"/>
                      </a:lnTo>
                      <a:lnTo>
                        <a:pt x="1456" y="232"/>
                      </a:lnTo>
                      <a:lnTo>
                        <a:pt x="1456" y="216"/>
                      </a:lnTo>
                      <a:lnTo>
                        <a:pt x="1472" y="224"/>
                      </a:lnTo>
                      <a:lnTo>
                        <a:pt x="1480" y="224"/>
                      </a:lnTo>
                      <a:lnTo>
                        <a:pt x="1480" y="216"/>
                      </a:lnTo>
                      <a:lnTo>
                        <a:pt x="1464" y="208"/>
                      </a:lnTo>
                      <a:lnTo>
                        <a:pt x="1472" y="208"/>
                      </a:lnTo>
                      <a:lnTo>
                        <a:pt x="1480" y="200"/>
                      </a:lnTo>
                      <a:lnTo>
                        <a:pt x="1472" y="192"/>
                      </a:lnTo>
                      <a:lnTo>
                        <a:pt x="1448" y="168"/>
                      </a:lnTo>
                      <a:lnTo>
                        <a:pt x="1440" y="168"/>
                      </a:lnTo>
                      <a:lnTo>
                        <a:pt x="1432" y="176"/>
                      </a:lnTo>
                      <a:lnTo>
                        <a:pt x="1416" y="168"/>
                      </a:lnTo>
                      <a:lnTo>
                        <a:pt x="1400" y="168"/>
                      </a:lnTo>
                      <a:lnTo>
                        <a:pt x="1392" y="168"/>
                      </a:lnTo>
                      <a:lnTo>
                        <a:pt x="1392" y="160"/>
                      </a:lnTo>
                      <a:lnTo>
                        <a:pt x="1376" y="160"/>
                      </a:lnTo>
                      <a:lnTo>
                        <a:pt x="1368" y="160"/>
                      </a:lnTo>
                      <a:lnTo>
                        <a:pt x="1360" y="160"/>
                      </a:lnTo>
                      <a:lnTo>
                        <a:pt x="1360" y="168"/>
                      </a:lnTo>
                      <a:lnTo>
                        <a:pt x="1360" y="184"/>
                      </a:lnTo>
                      <a:lnTo>
                        <a:pt x="1352" y="184"/>
                      </a:lnTo>
                      <a:lnTo>
                        <a:pt x="1344" y="184"/>
                      </a:lnTo>
                      <a:lnTo>
                        <a:pt x="1336" y="192"/>
                      </a:lnTo>
                      <a:lnTo>
                        <a:pt x="1328" y="192"/>
                      </a:lnTo>
                      <a:lnTo>
                        <a:pt x="1304" y="184"/>
                      </a:lnTo>
                      <a:lnTo>
                        <a:pt x="1296" y="184"/>
                      </a:lnTo>
                      <a:lnTo>
                        <a:pt x="1288" y="192"/>
                      </a:lnTo>
                      <a:lnTo>
                        <a:pt x="1248" y="176"/>
                      </a:lnTo>
                      <a:lnTo>
                        <a:pt x="1248" y="168"/>
                      </a:lnTo>
                      <a:lnTo>
                        <a:pt x="1256" y="168"/>
                      </a:lnTo>
                      <a:lnTo>
                        <a:pt x="1264" y="168"/>
                      </a:lnTo>
                      <a:lnTo>
                        <a:pt x="1264" y="160"/>
                      </a:lnTo>
                      <a:lnTo>
                        <a:pt x="1248" y="160"/>
                      </a:lnTo>
                      <a:lnTo>
                        <a:pt x="1216" y="160"/>
                      </a:lnTo>
                      <a:lnTo>
                        <a:pt x="1200" y="160"/>
                      </a:lnTo>
                      <a:lnTo>
                        <a:pt x="1160" y="160"/>
                      </a:lnTo>
                      <a:lnTo>
                        <a:pt x="1160" y="168"/>
                      </a:lnTo>
                      <a:lnTo>
                        <a:pt x="1152" y="176"/>
                      </a:lnTo>
                      <a:lnTo>
                        <a:pt x="1144" y="168"/>
                      </a:lnTo>
                      <a:lnTo>
                        <a:pt x="1152" y="160"/>
                      </a:lnTo>
                      <a:lnTo>
                        <a:pt x="1160" y="152"/>
                      </a:lnTo>
                      <a:lnTo>
                        <a:pt x="1152" y="152"/>
                      </a:lnTo>
                      <a:lnTo>
                        <a:pt x="1144" y="144"/>
                      </a:lnTo>
                      <a:lnTo>
                        <a:pt x="1144" y="160"/>
                      </a:lnTo>
                      <a:lnTo>
                        <a:pt x="1128" y="160"/>
                      </a:lnTo>
                      <a:lnTo>
                        <a:pt x="1112" y="152"/>
                      </a:lnTo>
                      <a:lnTo>
                        <a:pt x="1112" y="144"/>
                      </a:lnTo>
                      <a:lnTo>
                        <a:pt x="1096" y="144"/>
                      </a:lnTo>
                      <a:lnTo>
                        <a:pt x="1088" y="144"/>
                      </a:lnTo>
                      <a:lnTo>
                        <a:pt x="1072" y="152"/>
                      </a:lnTo>
                      <a:lnTo>
                        <a:pt x="1072" y="160"/>
                      </a:lnTo>
                      <a:lnTo>
                        <a:pt x="1088" y="160"/>
                      </a:lnTo>
                      <a:lnTo>
                        <a:pt x="1096" y="160"/>
                      </a:lnTo>
                      <a:lnTo>
                        <a:pt x="1080" y="168"/>
                      </a:lnTo>
                      <a:lnTo>
                        <a:pt x="1064" y="168"/>
                      </a:lnTo>
                      <a:lnTo>
                        <a:pt x="1064" y="176"/>
                      </a:lnTo>
                      <a:lnTo>
                        <a:pt x="1048" y="176"/>
                      </a:lnTo>
                      <a:lnTo>
                        <a:pt x="1040" y="176"/>
                      </a:lnTo>
                      <a:lnTo>
                        <a:pt x="1040" y="184"/>
                      </a:lnTo>
                      <a:lnTo>
                        <a:pt x="1016" y="184"/>
                      </a:lnTo>
                      <a:lnTo>
                        <a:pt x="1008" y="192"/>
                      </a:lnTo>
                      <a:lnTo>
                        <a:pt x="992" y="200"/>
                      </a:lnTo>
                      <a:lnTo>
                        <a:pt x="976" y="200"/>
                      </a:lnTo>
                      <a:lnTo>
                        <a:pt x="1000" y="192"/>
                      </a:lnTo>
                      <a:lnTo>
                        <a:pt x="1000" y="176"/>
                      </a:lnTo>
                      <a:lnTo>
                        <a:pt x="1008" y="176"/>
                      </a:lnTo>
                      <a:lnTo>
                        <a:pt x="1016" y="176"/>
                      </a:lnTo>
                      <a:lnTo>
                        <a:pt x="1016" y="160"/>
                      </a:lnTo>
                      <a:lnTo>
                        <a:pt x="1024" y="160"/>
                      </a:lnTo>
                      <a:lnTo>
                        <a:pt x="1040" y="160"/>
                      </a:lnTo>
                      <a:lnTo>
                        <a:pt x="1048" y="144"/>
                      </a:lnTo>
                      <a:lnTo>
                        <a:pt x="1072" y="136"/>
                      </a:lnTo>
                      <a:lnTo>
                        <a:pt x="1080" y="136"/>
                      </a:lnTo>
                      <a:lnTo>
                        <a:pt x="1080" y="128"/>
                      </a:lnTo>
                      <a:lnTo>
                        <a:pt x="1104" y="112"/>
                      </a:lnTo>
                      <a:lnTo>
                        <a:pt x="1120" y="112"/>
                      </a:lnTo>
                      <a:lnTo>
                        <a:pt x="1128" y="104"/>
                      </a:lnTo>
                      <a:lnTo>
                        <a:pt x="1144" y="96"/>
                      </a:lnTo>
                      <a:lnTo>
                        <a:pt x="1152" y="80"/>
                      </a:lnTo>
                      <a:lnTo>
                        <a:pt x="1136" y="72"/>
                      </a:lnTo>
                      <a:lnTo>
                        <a:pt x="1128" y="72"/>
                      </a:lnTo>
                      <a:lnTo>
                        <a:pt x="1128" y="64"/>
                      </a:lnTo>
                      <a:lnTo>
                        <a:pt x="1136" y="64"/>
                      </a:lnTo>
                      <a:lnTo>
                        <a:pt x="1144" y="72"/>
                      </a:lnTo>
                      <a:lnTo>
                        <a:pt x="1160" y="80"/>
                      </a:lnTo>
                      <a:lnTo>
                        <a:pt x="1160" y="64"/>
                      </a:lnTo>
                      <a:lnTo>
                        <a:pt x="1152" y="64"/>
                      </a:lnTo>
                      <a:lnTo>
                        <a:pt x="1152" y="56"/>
                      </a:lnTo>
                      <a:lnTo>
                        <a:pt x="1144" y="48"/>
                      </a:lnTo>
                      <a:lnTo>
                        <a:pt x="1136" y="56"/>
                      </a:lnTo>
                      <a:lnTo>
                        <a:pt x="1128" y="56"/>
                      </a:lnTo>
                      <a:lnTo>
                        <a:pt x="1136" y="48"/>
                      </a:lnTo>
                      <a:lnTo>
                        <a:pt x="1112" y="40"/>
                      </a:lnTo>
                      <a:lnTo>
                        <a:pt x="1104" y="40"/>
                      </a:lnTo>
                      <a:lnTo>
                        <a:pt x="1096" y="32"/>
                      </a:lnTo>
                      <a:lnTo>
                        <a:pt x="1040" y="40"/>
                      </a:lnTo>
                      <a:lnTo>
                        <a:pt x="1032" y="40"/>
                      </a:lnTo>
                      <a:lnTo>
                        <a:pt x="1016" y="48"/>
                      </a:lnTo>
                      <a:lnTo>
                        <a:pt x="1000" y="40"/>
                      </a:lnTo>
                      <a:lnTo>
                        <a:pt x="1016" y="32"/>
                      </a:lnTo>
                      <a:lnTo>
                        <a:pt x="1024" y="24"/>
                      </a:lnTo>
                      <a:lnTo>
                        <a:pt x="1008" y="24"/>
                      </a:lnTo>
                      <a:lnTo>
                        <a:pt x="1000" y="32"/>
                      </a:lnTo>
                      <a:lnTo>
                        <a:pt x="984" y="24"/>
                      </a:lnTo>
                      <a:lnTo>
                        <a:pt x="968" y="24"/>
                      </a:lnTo>
                      <a:lnTo>
                        <a:pt x="968" y="16"/>
                      </a:lnTo>
                      <a:lnTo>
                        <a:pt x="992" y="16"/>
                      </a:lnTo>
                      <a:lnTo>
                        <a:pt x="1000" y="8"/>
                      </a:lnTo>
                      <a:lnTo>
                        <a:pt x="992" y="0"/>
                      </a:lnTo>
                      <a:lnTo>
                        <a:pt x="984" y="0"/>
                      </a:lnTo>
                      <a:lnTo>
                        <a:pt x="960" y="0"/>
                      </a:lnTo>
                      <a:lnTo>
                        <a:pt x="928" y="0"/>
                      </a:lnTo>
                      <a:lnTo>
                        <a:pt x="928" y="8"/>
                      </a:lnTo>
                      <a:lnTo>
                        <a:pt x="904" y="16"/>
                      </a:lnTo>
                      <a:lnTo>
                        <a:pt x="904" y="24"/>
                      </a:lnTo>
                      <a:lnTo>
                        <a:pt x="896" y="32"/>
                      </a:lnTo>
                      <a:lnTo>
                        <a:pt x="904" y="40"/>
                      </a:lnTo>
                      <a:lnTo>
                        <a:pt x="896" y="40"/>
                      </a:lnTo>
                      <a:lnTo>
                        <a:pt x="904" y="40"/>
                      </a:lnTo>
                      <a:lnTo>
                        <a:pt x="920" y="48"/>
                      </a:lnTo>
                      <a:lnTo>
                        <a:pt x="928" y="48"/>
                      </a:lnTo>
                      <a:lnTo>
                        <a:pt x="952" y="48"/>
                      </a:lnTo>
                      <a:lnTo>
                        <a:pt x="936" y="48"/>
                      </a:lnTo>
                      <a:lnTo>
                        <a:pt x="912" y="48"/>
                      </a:lnTo>
                      <a:lnTo>
                        <a:pt x="904" y="48"/>
                      </a:lnTo>
                      <a:lnTo>
                        <a:pt x="888" y="48"/>
                      </a:lnTo>
                      <a:lnTo>
                        <a:pt x="872" y="48"/>
                      </a:lnTo>
                      <a:lnTo>
                        <a:pt x="856" y="40"/>
                      </a:lnTo>
                      <a:lnTo>
                        <a:pt x="856" y="48"/>
                      </a:lnTo>
                      <a:lnTo>
                        <a:pt x="880" y="56"/>
                      </a:lnTo>
                      <a:lnTo>
                        <a:pt x="880" y="64"/>
                      </a:lnTo>
                      <a:lnTo>
                        <a:pt x="880" y="72"/>
                      </a:lnTo>
                      <a:lnTo>
                        <a:pt x="864" y="72"/>
                      </a:lnTo>
                      <a:lnTo>
                        <a:pt x="856" y="64"/>
                      </a:lnTo>
                      <a:lnTo>
                        <a:pt x="872" y="64"/>
                      </a:lnTo>
                      <a:lnTo>
                        <a:pt x="848" y="56"/>
                      </a:lnTo>
                      <a:lnTo>
                        <a:pt x="840" y="56"/>
                      </a:lnTo>
                      <a:lnTo>
                        <a:pt x="832" y="64"/>
                      </a:lnTo>
                      <a:lnTo>
                        <a:pt x="808" y="72"/>
                      </a:lnTo>
                      <a:lnTo>
                        <a:pt x="808" y="64"/>
                      </a:lnTo>
                      <a:lnTo>
                        <a:pt x="800" y="64"/>
                      </a:lnTo>
                      <a:lnTo>
                        <a:pt x="792" y="72"/>
                      </a:lnTo>
                      <a:lnTo>
                        <a:pt x="784" y="72"/>
                      </a:lnTo>
                      <a:lnTo>
                        <a:pt x="792" y="64"/>
                      </a:lnTo>
                      <a:lnTo>
                        <a:pt x="776" y="56"/>
                      </a:lnTo>
                      <a:lnTo>
                        <a:pt x="760" y="56"/>
                      </a:lnTo>
                      <a:lnTo>
                        <a:pt x="736" y="64"/>
                      </a:lnTo>
                      <a:lnTo>
                        <a:pt x="728" y="64"/>
                      </a:lnTo>
                      <a:lnTo>
                        <a:pt x="736" y="64"/>
                      </a:lnTo>
                      <a:lnTo>
                        <a:pt x="752" y="64"/>
                      </a:lnTo>
                      <a:lnTo>
                        <a:pt x="752" y="72"/>
                      </a:lnTo>
                      <a:lnTo>
                        <a:pt x="728" y="72"/>
                      </a:lnTo>
                      <a:lnTo>
                        <a:pt x="704" y="72"/>
                      </a:lnTo>
                      <a:lnTo>
                        <a:pt x="696" y="80"/>
                      </a:lnTo>
                      <a:lnTo>
                        <a:pt x="680" y="80"/>
                      </a:lnTo>
                      <a:lnTo>
                        <a:pt x="664" y="80"/>
                      </a:lnTo>
                      <a:lnTo>
                        <a:pt x="648" y="80"/>
                      </a:lnTo>
                      <a:lnTo>
                        <a:pt x="632" y="96"/>
                      </a:lnTo>
                      <a:lnTo>
                        <a:pt x="616" y="96"/>
                      </a:lnTo>
                      <a:lnTo>
                        <a:pt x="608" y="96"/>
                      </a:lnTo>
                      <a:lnTo>
                        <a:pt x="600" y="96"/>
                      </a:lnTo>
                      <a:lnTo>
                        <a:pt x="608" y="96"/>
                      </a:lnTo>
                      <a:lnTo>
                        <a:pt x="624" y="96"/>
                      </a:lnTo>
                      <a:lnTo>
                        <a:pt x="616" y="104"/>
                      </a:lnTo>
                      <a:lnTo>
                        <a:pt x="608" y="104"/>
                      </a:lnTo>
                      <a:lnTo>
                        <a:pt x="600" y="112"/>
                      </a:lnTo>
                      <a:lnTo>
                        <a:pt x="592" y="112"/>
                      </a:lnTo>
                      <a:lnTo>
                        <a:pt x="584" y="112"/>
                      </a:lnTo>
                      <a:lnTo>
                        <a:pt x="584" y="120"/>
                      </a:lnTo>
                      <a:lnTo>
                        <a:pt x="592" y="120"/>
                      </a:lnTo>
                      <a:lnTo>
                        <a:pt x="608" y="120"/>
                      </a:lnTo>
                      <a:lnTo>
                        <a:pt x="608" y="128"/>
                      </a:lnTo>
                      <a:lnTo>
                        <a:pt x="592" y="128"/>
                      </a:lnTo>
                      <a:lnTo>
                        <a:pt x="584" y="136"/>
                      </a:lnTo>
                      <a:lnTo>
                        <a:pt x="592" y="136"/>
                      </a:lnTo>
                      <a:lnTo>
                        <a:pt x="608" y="136"/>
                      </a:lnTo>
                      <a:lnTo>
                        <a:pt x="600" y="144"/>
                      </a:lnTo>
                      <a:lnTo>
                        <a:pt x="608" y="152"/>
                      </a:lnTo>
                      <a:lnTo>
                        <a:pt x="608" y="160"/>
                      </a:lnTo>
                      <a:lnTo>
                        <a:pt x="600" y="152"/>
                      </a:lnTo>
                      <a:lnTo>
                        <a:pt x="584" y="152"/>
                      </a:lnTo>
                      <a:lnTo>
                        <a:pt x="576" y="160"/>
                      </a:lnTo>
                      <a:lnTo>
                        <a:pt x="560" y="160"/>
                      </a:lnTo>
                      <a:lnTo>
                        <a:pt x="552" y="160"/>
                      </a:lnTo>
                      <a:lnTo>
                        <a:pt x="528" y="160"/>
                      </a:lnTo>
                      <a:lnTo>
                        <a:pt x="496" y="160"/>
                      </a:lnTo>
                      <a:lnTo>
                        <a:pt x="480" y="160"/>
                      </a:lnTo>
                      <a:lnTo>
                        <a:pt x="472" y="176"/>
                      </a:lnTo>
                      <a:lnTo>
                        <a:pt x="480" y="184"/>
                      </a:lnTo>
                      <a:lnTo>
                        <a:pt x="480" y="200"/>
                      </a:lnTo>
                      <a:lnTo>
                        <a:pt x="488" y="208"/>
                      </a:lnTo>
                      <a:lnTo>
                        <a:pt x="480" y="208"/>
                      </a:lnTo>
                      <a:lnTo>
                        <a:pt x="512" y="216"/>
                      </a:lnTo>
                      <a:lnTo>
                        <a:pt x="512" y="232"/>
                      </a:lnTo>
                      <a:lnTo>
                        <a:pt x="536" y="232"/>
                      </a:lnTo>
                      <a:lnTo>
                        <a:pt x="536" y="248"/>
                      </a:lnTo>
                      <a:lnTo>
                        <a:pt x="528" y="256"/>
                      </a:lnTo>
                      <a:lnTo>
                        <a:pt x="528" y="264"/>
                      </a:lnTo>
                      <a:lnTo>
                        <a:pt x="544" y="280"/>
                      </a:lnTo>
                      <a:lnTo>
                        <a:pt x="544" y="288"/>
                      </a:lnTo>
                      <a:lnTo>
                        <a:pt x="528" y="296"/>
                      </a:lnTo>
                      <a:lnTo>
                        <a:pt x="560" y="312"/>
                      </a:lnTo>
                      <a:lnTo>
                        <a:pt x="560" y="320"/>
                      </a:lnTo>
                      <a:lnTo>
                        <a:pt x="552" y="320"/>
                      </a:lnTo>
                      <a:lnTo>
                        <a:pt x="544" y="320"/>
                      </a:lnTo>
                      <a:lnTo>
                        <a:pt x="536" y="312"/>
                      </a:lnTo>
                      <a:lnTo>
                        <a:pt x="520" y="296"/>
                      </a:lnTo>
                      <a:lnTo>
                        <a:pt x="528" y="288"/>
                      </a:lnTo>
                      <a:lnTo>
                        <a:pt x="528" y="272"/>
                      </a:lnTo>
                      <a:lnTo>
                        <a:pt x="512" y="272"/>
                      </a:lnTo>
                      <a:lnTo>
                        <a:pt x="512" y="264"/>
                      </a:lnTo>
                      <a:lnTo>
                        <a:pt x="504" y="264"/>
                      </a:lnTo>
                      <a:lnTo>
                        <a:pt x="512" y="256"/>
                      </a:lnTo>
                      <a:lnTo>
                        <a:pt x="520" y="256"/>
                      </a:lnTo>
                      <a:lnTo>
                        <a:pt x="528" y="248"/>
                      </a:lnTo>
                      <a:lnTo>
                        <a:pt x="528" y="240"/>
                      </a:lnTo>
                      <a:lnTo>
                        <a:pt x="504" y="240"/>
                      </a:lnTo>
                      <a:lnTo>
                        <a:pt x="480" y="232"/>
                      </a:lnTo>
                      <a:lnTo>
                        <a:pt x="448" y="216"/>
                      </a:lnTo>
                      <a:lnTo>
                        <a:pt x="424" y="216"/>
                      </a:lnTo>
                      <a:lnTo>
                        <a:pt x="408" y="224"/>
                      </a:lnTo>
                      <a:lnTo>
                        <a:pt x="416" y="224"/>
                      </a:lnTo>
                      <a:lnTo>
                        <a:pt x="424" y="224"/>
                      </a:lnTo>
                      <a:lnTo>
                        <a:pt x="424" y="240"/>
                      </a:lnTo>
                      <a:lnTo>
                        <a:pt x="416" y="240"/>
                      </a:lnTo>
                      <a:lnTo>
                        <a:pt x="400" y="232"/>
                      </a:lnTo>
                      <a:lnTo>
                        <a:pt x="392" y="232"/>
                      </a:lnTo>
                      <a:lnTo>
                        <a:pt x="384" y="240"/>
                      </a:lnTo>
                      <a:lnTo>
                        <a:pt x="392" y="248"/>
                      </a:lnTo>
                      <a:lnTo>
                        <a:pt x="416" y="256"/>
                      </a:lnTo>
                      <a:lnTo>
                        <a:pt x="424" y="256"/>
                      </a:lnTo>
                      <a:lnTo>
                        <a:pt x="424" y="264"/>
                      </a:lnTo>
                      <a:lnTo>
                        <a:pt x="432" y="264"/>
                      </a:lnTo>
                      <a:lnTo>
                        <a:pt x="448" y="264"/>
                      </a:lnTo>
                      <a:lnTo>
                        <a:pt x="440" y="272"/>
                      </a:lnTo>
                      <a:lnTo>
                        <a:pt x="432" y="272"/>
                      </a:lnTo>
                      <a:lnTo>
                        <a:pt x="416" y="264"/>
                      </a:lnTo>
                      <a:lnTo>
                        <a:pt x="400" y="264"/>
                      </a:lnTo>
                      <a:lnTo>
                        <a:pt x="368" y="256"/>
                      </a:lnTo>
                      <a:lnTo>
                        <a:pt x="376" y="248"/>
                      </a:lnTo>
                      <a:lnTo>
                        <a:pt x="368" y="240"/>
                      </a:lnTo>
                      <a:lnTo>
                        <a:pt x="368" y="232"/>
                      </a:lnTo>
                      <a:lnTo>
                        <a:pt x="376" y="224"/>
                      </a:lnTo>
                      <a:lnTo>
                        <a:pt x="376" y="208"/>
                      </a:lnTo>
                      <a:lnTo>
                        <a:pt x="360" y="192"/>
                      </a:lnTo>
                      <a:lnTo>
                        <a:pt x="352" y="192"/>
                      </a:lnTo>
                      <a:lnTo>
                        <a:pt x="360" y="200"/>
                      </a:lnTo>
                      <a:lnTo>
                        <a:pt x="360" y="208"/>
                      </a:lnTo>
                      <a:lnTo>
                        <a:pt x="368" y="216"/>
                      </a:lnTo>
                      <a:lnTo>
                        <a:pt x="368" y="224"/>
                      </a:lnTo>
                      <a:lnTo>
                        <a:pt x="336" y="240"/>
                      </a:lnTo>
                      <a:lnTo>
                        <a:pt x="328" y="256"/>
                      </a:lnTo>
                      <a:lnTo>
                        <a:pt x="344" y="272"/>
                      </a:lnTo>
                      <a:lnTo>
                        <a:pt x="352" y="288"/>
                      </a:lnTo>
                      <a:lnTo>
                        <a:pt x="344" y="296"/>
                      </a:lnTo>
                      <a:lnTo>
                        <a:pt x="328" y="304"/>
                      </a:lnTo>
                      <a:lnTo>
                        <a:pt x="328" y="312"/>
                      </a:lnTo>
                      <a:lnTo>
                        <a:pt x="336" y="320"/>
                      </a:lnTo>
                      <a:lnTo>
                        <a:pt x="336" y="336"/>
                      </a:lnTo>
                      <a:lnTo>
                        <a:pt x="360" y="336"/>
                      </a:lnTo>
                      <a:lnTo>
                        <a:pt x="376" y="336"/>
                      </a:lnTo>
                      <a:lnTo>
                        <a:pt x="400" y="336"/>
                      </a:lnTo>
                      <a:lnTo>
                        <a:pt x="408" y="344"/>
                      </a:lnTo>
                      <a:lnTo>
                        <a:pt x="416" y="352"/>
                      </a:lnTo>
                      <a:lnTo>
                        <a:pt x="424" y="368"/>
                      </a:lnTo>
                      <a:lnTo>
                        <a:pt x="416" y="376"/>
                      </a:lnTo>
                      <a:lnTo>
                        <a:pt x="424" y="384"/>
                      </a:lnTo>
                      <a:lnTo>
                        <a:pt x="432" y="384"/>
                      </a:lnTo>
                      <a:lnTo>
                        <a:pt x="440" y="392"/>
                      </a:lnTo>
                      <a:lnTo>
                        <a:pt x="432" y="392"/>
                      </a:lnTo>
                      <a:lnTo>
                        <a:pt x="408" y="392"/>
                      </a:lnTo>
                      <a:lnTo>
                        <a:pt x="400" y="384"/>
                      </a:lnTo>
                      <a:lnTo>
                        <a:pt x="408" y="360"/>
                      </a:lnTo>
                      <a:lnTo>
                        <a:pt x="400" y="352"/>
                      </a:lnTo>
                      <a:lnTo>
                        <a:pt x="392" y="344"/>
                      </a:lnTo>
                      <a:lnTo>
                        <a:pt x="376" y="344"/>
                      </a:lnTo>
                      <a:lnTo>
                        <a:pt x="344" y="352"/>
                      </a:lnTo>
                      <a:lnTo>
                        <a:pt x="344" y="360"/>
                      </a:lnTo>
                      <a:lnTo>
                        <a:pt x="360" y="376"/>
                      </a:lnTo>
                      <a:lnTo>
                        <a:pt x="352" y="392"/>
                      </a:lnTo>
                      <a:lnTo>
                        <a:pt x="344" y="392"/>
                      </a:lnTo>
                      <a:lnTo>
                        <a:pt x="328" y="416"/>
                      </a:lnTo>
                      <a:lnTo>
                        <a:pt x="312" y="424"/>
                      </a:lnTo>
                      <a:lnTo>
                        <a:pt x="304" y="440"/>
                      </a:lnTo>
                      <a:lnTo>
                        <a:pt x="296" y="432"/>
                      </a:lnTo>
                      <a:lnTo>
                        <a:pt x="256" y="432"/>
                      </a:lnTo>
                      <a:lnTo>
                        <a:pt x="240" y="416"/>
                      </a:lnTo>
                      <a:lnTo>
                        <a:pt x="232" y="416"/>
                      </a:lnTo>
                      <a:lnTo>
                        <a:pt x="224" y="416"/>
                      </a:lnTo>
                      <a:lnTo>
                        <a:pt x="232" y="408"/>
                      </a:lnTo>
                      <a:lnTo>
                        <a:pt x="248" y="408"/>
                      </a:lnTo>
                      <a:lnTo>
                        <a:pt x="256" y="408"/>
                      </a:lnTo>
                      <a:lnTo>
                        <a:pt x="264" y="416"/>
                      </a:lnTo>
                      <a:lnTo>
                        <a:pt x="272" y="424"/>
                      </a:lnTo>
                      <a:lnTo>
                        <a:pt x="288" y="416"/>
                      </a:lnTo>
                      <a:lnTo>
                        <a:pt x="288" y="408"/>
                      </a:lnTo>
                      <a:lnTo>
                        <a:pt x="296" y="400"/>
                      </a:lnTo>
                      <a:lnTo>
                        <a:pt x="312" y="384"/>
                      </a:lnTo>
                      <a:lnTo>
                        <a:pt x="328" y="376"/>
                      </a:lnTo>
                      <a:lnTo>
                        <a:pt x="320" y="368"/>
                      </a:lnTo>
                      <a:lnTo>
                        <a:pt x="336" y="352"/>
                      </a:lnTo>
                      <a:lnTo>
                        <a:pt x="320" y="352"/>
                      </a:lnTo>
                      <a:lnTo>
                        <a:pt x="312" y="344"/>
                      </a:lnTo>
                      <a:lnTo>
                        <a:pt x="312" y="328"/>
                      </a:lnTo>
                      <a:lnTo>
                        <a:pt x="312" y="320"/>
                      </a:lnTo>
                      <a:lnTo>
                        <a:pt x="312" y="296"/>
                      </a:lnTo>
                      <a:lnTo>
                        <a:pt x="320" y="288"/>
                      </a:lnTo>
                      <a:lnTo>
                        <a:pt x="312" y="288"/>
                      </a:lnTo>
                      <a:lnTo>
                        <a:pt x="312" y="264"/>
                      </a:lnTo>
                      <a:lnTo>
                        <a:pt x="296" y="256"/>
                      </a:lnTo>
                      <a:lnTo>
                        <a:pt x="296" y="248"/>
                      </a:lnTo>
                      <a:lnTo>
                        <a:pt x="320" y="232"/>
                      </a:lnTo>
                      <a:lnTo>
                        <a:pt x="320" y="224"/>
                      </a:lnTo>
                      <a:lnTo>
                        <a:pt x="312" y="216"/>
                      </a:lnTo>
                      <a:lnTo>
                        <a:pt x="320" y="200"/>
                      </a:lnTo>
                      <a:lnTo>
                        <a:pt x="296" y="192"/>
                      </a:lnTo>
                      <a:lnTo>
                        <a:pt x="272" y="192"/>
                      </a:lnTo>
                      <a:lnTo>
                        <a:pt x="264" y="192"/>
                      </a:lnTo>
                      <a:lnTo>
                        <a:pt x="248" y="192"/>
                      </a:lnTo>
                      <a:lnTo>
                        <a:pt x="232" y="232"/>
                      </a:lnTo>
                      <a:lnTo>
                        <a:pt x="216" y="248"/>
                      </a:lnTo>
                      <a:lnTo>
                        <a:pt x="200" y="264"/>
                      </a:lnTo>
                      <a:lnTo>
                        <a:pt x="192" y="280"/>
                      </a:lnTo>
                      <a:lnTo>
                        <a:pt x="200" y="280"/>
                      </a:lnTo>
                      <a:lnTo>
                        <a:pt x="200" y="304"/>
                      </a:lnTo>
                      <a:lnTo>
                        <a:pt x="192" y="304"/>
                      </a:lnTo>
                      <a:lnTo>
                        <a:pt x="200" y="320"/>
                      </a:lnTo>
                      <a:lnTo>
                        <a:pt x="208" y="320"/>
                      </a:lnTo>
                      <a:lnTo>
                        <a:pt x="216" y="328"/>
                      </a:lnTo>
                      <a:lnTo>
                        <a:pt x="216" y="336"/>
                      </a:lnTo>
                      <a:lnTo>
                        <a:pt x="232" y="344"/>
                      </a:lnTo>
                      <a:lnTo>
                        <a:pt x="240" y="344"/>
                      </a:lnTo>
                      <a:lnTo>
                        <a:pt x="240" y="360"/>
                      </a:lnTo>
                      <a:lnTo>
                        <a:pt x="224" y="368"/>
                      </a:lnTo>
                      <a:lnTo>
                        <a:pt x="216" y="368"/>
                      </a:lnTo>
                      <a:lnTo>
                        <a:pt x="216" y="360"/>
                      </a:lnTo>
                      <a:lnTo>
                        <a:pt x="200" y="352"/>
                      </a:lnTo>
                      <a:lnTo>
                        <a:pt x="192" y="352"/>
                      </a:lnTo>
                      <a:lnTo>
                        <a:pt x="176" y="344"/>
                      </a:lnTo>
                      <a:lnTo>
                        <a:pt x="168" y="336"/>
                      </a:lnTo>
                      <a:lnTo>
                        <a:pt x="152" y="328"/>
                      </a:lnTo>
                      <a:lnTo>
                        <a:pt x="128" y="320"/>
                      </a:lnTo>
                      <a:lnTo>
                        <a:pt x="144" y="352"/>
                      </a:lnTo>
                      <a:lnTo>
                        <a:pt x="128" y="360"/>
                      </a:lnTo>
                      <a:lnTo>
                        <a:pt x="144" y="416"/>
                      </a:lnTo>
                      <a:lnTo>
                        <a:pt x="136" y="440"/>
                      </a:lnTo>
                      <a:lnTo>
                        <a:pt x="120" y="448"/>
                      </a:lnTo>
                      <a:lnTo>
                        <a:pt x="64" y="512"/>
                      </a:lnTo>
                      <a:lnTo>
                        <a:pt x="56" y="584"/>
                      </a:lnTo>
                      <a:lnTo>
                        <a:pt x="64" y="600"/>
                      </a:lnTo>
                      <a:lnTo>
                        <a:pt x="56" y="640"/>
                      </a:lnTo>
                      <a:lnTo>
                        <a:pt x="56" y="656"/>
                      </a:lnTo>
                      <a:lnTo>
                        <a:pt x="48" y="728"/>
                      </a:lnTo>
                      <a:lnTo>
                        <a:pt x="48" y="768"/>
                      </a:lnTo>
                      <a:lnTo>
                        <a:pt x="56" y="816"/>
                      </a:lnTo>
                      <a:lnTo>
                        <a:pt x="48" y="848"/>
                      </a:lnTo>
                      <a:lnTo>
                        <a:pt x="24" y="864"/>
                      </a:lnTo>
                      <a:lnTo>
                        <a:pt x="16" y="888"/>
                      </a:lnTo>
                      <a:lnTo>
                        <a:pt x="32" y="904"/>
                      </a:lnTo>
                      <a:lnTo>
                        <a:pt x="0" y="960"/>
                      </a:lnTo>
                      <a:lnTo>
                        <a:pt x="0" y="984"/>
                      </a:lnTo>
                      <a:lnTo>
                        <a:pt x="32" y="1016"/>
                      </a:lnTo>
                      <a:lnTo>
                        <a:pt x="48" y="1040"/>
                      </a:lnTo>
                      <a:lnTo>
                        <a:pt x="56" y="1040"/>
                      </a:lnTo>
                      <a:lnTo>
                        <a:pt x="64" y="1056"/>
                      </a:lnTo>
                      <a:lnTo>
                        <a:pt x="80" y="1048"/>
                      </a:lnTo>
                      <a:lnTo>
                        <a:pt x="72" y="1032"/>
                      </a:lnTo>
                      <a:lnTo>
                        <a:pt x="64" y="1016"/>
                      </a:lnTo>
                      <a:lnTo>
                        <a:pt x="64" y="1008"/>
                      </a:lnTo>
                      <a:lnTo>
                        <a:pt x="72" y="1000"/>
                      </a:lnTo>
                      <a:lnTo>
                        <a:pt x="80" y="992"/>
                      </a:lnTo>
                      <a:lnTo>
                        <a:pt x="64" y="984"/>
                      </a:lnTo>
                      <a:lnTo>
                        <a:pt x="72" y="976"/>
                      </a:lnTo>
                      <a:lnTo>
                        <a:pt x="88" y="968"/>
                      </a:lnTo>
                      <a:lnTo>
                        <a:pt x="72" y="968"/>
                      </a:lnTo>
                      <a:lnTo>
                        <a:pt x="72" y="952"/>
                      </a:lnTo>
                      <a:lnTo>
                        <a:pt x="96" y="944"/>
                      </a:lnTo>
                      <a:lnTo>
                        <a:pt x="128" y="936"/>
                      </a:lnTo>
                      <a:lnTo>
                        <a:pt x="184" y="912"/>
                      </a:lnTo>
                      <a:lnTo>
                        <a:pt x="208" y="896"/>
                      </a:lnTo>
                      <a:lnTo>
                        <a:pt x="232" y="896"/>
                      </a:lnTo>
                      <a:lnTo>
                        <a:pt x="264" y="896"/>
                      </a:lnTo>
                      <a:lnTo>
                        <a:pt x="272" y="904"/>
                      </a:lnTo>
                      <a:lnTo>
                        <a:pt x="280" y="928"/>
                      </a:lnTo>
                      <a:lnTo>
                        <a:pt x="296" y="920"/>
                      </a:lnTo>
                      <a:lnTo>
                        <a:pt x="328" y="936"/>
                      </a:lnTo>
                      <a:lnTo>
                        <a:pt x="328" y="952"/>
                      </a:lnTo>
                      <a:lnTo>
                        <a:pt x="352" y="952"/>
                      </a:lnTo>
                      <a:lnTo>
                        <a:pt x="360" y="936"/>
                      </a:lnTo>
                      <a:lnTo>
                        <a:pt x="368" y="920"/>
                      </a:lnTo>
                      <a:lnTo>
                        <a:pt x="400" y="928"/>
                      </a:lnTo>
                      <a:lnTo>
                        <a:pt x="400" y="944"/>
                      </a:lnTo>
                      <a:lnTo>
                        <a:pt x="408" y="960"/>
                      </a:lnTo>
                      <a:lnTo>
                        <a:pt x="432" y="984"/>
                      </a:lnTo>
                      <a:lnTo>
                        <a:pt x="448" y="1008"/>
                      </a:lnTo>
                      <a:lnTo>
                        <a:pt x="464" y="1040"/>
                      </a:lnTo>
                      <a:lnTo>
                        <a:pt x="520" y="1040"/>
                      </a:lnTo>
                      <a:lnTo>
                        <a:pt x="544" y="1040"/>
                      </a:lnTo>
                      <a:lnTo>
                        <a:pt x="576" y="1080"/>
                      </a:lnTo>
                      <a:lnTo>
                        <a:pt x="616" y="1088"/>
                      </a:lnTo>
                      <a:lnTo>
                        <a:pt x="616" y="1096"/>
                      </a:lnTo>
                      <a:lnTo>
                        <a:pt x="624" y="1096"/>
                      </a:lnTo>
                      <a:lnTo>
                        <a:pt x="632" y="1088"/>
                      </a:lnTo>
                      <a:lnTo>
                        <a:pt x="664" y="1080"/>
                      </a:lnTo>
                      <a:lnTo>
                        <a:pt x="680" y="1056"/>
                      </a:lnTo>
                      <a:lnTo>
                        <a:pt x="688" y="1056"/>
                      </a:lnTo>
                      <a:lnTo>
                        <a:pt x="704" y="1040"/>
                      </a:lnTo>
                      <a:lnTo>
                        <a:pt x="720" y="1040"/>
                      </a:lnTo>
                      <a:lnTo>
                        <a:pt x="736" y="1056"/>
                      </a:lnTo>
                      <a:lnTo>
                        <a:pt x="752" y="1056"/>
                      </a:lnTo>
                      <a:lnTo>
                        <a:pt x="784" y="1080"/>
                      </a:lnTo>
                      <a:lnTo>
                        <a:pt x="792" y="1080"/>
                      </a:lnTo>
                      <a:lnTo>
                        <a:pt x="792" y="1064"/>
                      </a:lnTo>
                      <a:lnTo>
                        <a:pt x="808" y="1064"/>
                      </a:lnTo>
                      <a:lnTo>
                        <a:pt x="808" y="1080"/>
                      </a:lnTo>
                      <a:lnTo>
                        <a:pt x="840" y="1072"/>
                      </a:lnTo>
                      <a:lnTo>
                        <a:pt x="840" y="1048"/>
                      </a:lnTo>
                      <a:lnTo>
                        <a:pt x="832" y="1032"/>
                      </a:lnTo>
                      <a:lnTo>
                        <a:pt x="848" y="1016"/>
                      </a:lnTo>
                      <a:lnTo>
                        <a:pt x="856" y="1000"/>
                      </a:lnTo>
                      <a:lnTo>
                        <a:pt x="912" y="1016"/>
                      </a:lnTo>
                      <a:lnTo>
                        <a:pt x="944" y="1064"/>
                      </a:lnTo>
                      <a:lnTo>
                        <a:pt x="984" y="1048"/>
                      </a:lnTo>
                      <a:lnTo>
                        <a:pt x="1040" y="1064"/>
                      </a:lnTo>
                      <a:lnTo>
                        <a:pt x="1040" y="1080"/>
                      </a:lnTo>
                      <a:lnTo>
                        <a:pt x="1072" y="1088"/>
                      </a:lnTo>
                      <a:lnTo>
                        <a:pt x="1080" y="1096"/>
                      </a:lnTo>
                      <a:lnTo>
                        <a:pt x="1104" y="1088"/>
                      </a:lnTo>
                      <a:lnTo>
                        <a:pt x="1128" y="1088"/>
                      </a:lnTo>
                      <a:lnTo>
                        <a:pt x="1152" y="1072"/>
                      </a:lnTo>
                      <a:lnTo>
                        <a:pt x="1168" y="1056"/>
                      </a:lnTo>
                      <a:lnTo>
                        <a:pt x="1184" y="1064"/>
                      </a:lnTo>
                      <a:lnTo>
                        <a:pt x="1200" y="1080"/>
                      </a:lnTo>
                      <a:lnTo>
                        <a:pt x="1224" y="1072"/>
                      </a:lnTo>
                      <a:lnTo>
                        <a:pt x="1240" y="1088"/>
                      </a:lnTo>
                      <a:lnTo>
                        <a:pt x="1272" y="1064"/>
                      </a:lnTo>
                      <a:lnTo>
                        <a:pt x="1272" y="1048"/>
                      </a:lnTo>
                      <a:lnTo>
                        <a:pt x="1280" y="1040"/>
                      </a:lnTo>
                      <a:lnTo>
                        <a:pt x="1288" y="1016"/>
                      </a:lnTo>
                      <a:lnTo>
                        <a:pt x="1304" y="1000"/>
                      </a:lnTo>
                      <a:lnTo>
                        <a:pt x="1304" y="984"/>
                      </a:lnTo>
                      <a:lnTo>
                        <a:pt x="1288" y="984"/>
                      </a:lnTo>
                      <a:lnTo>
                        <a:pt x="1312" y="952"/>
                      </a:lnTo>
                      <a:lnTo>
                        <a:pt x="1360" y="944"/>
                      </a:lnTo>
                      <a:lnTo>
                        <a:pt x="1392" y="960"/>
                      </a:lnTo>
                      <a:lnTo>
                        <a:pt x="1408" y="960"/>
                      </a:lnTo>
                      <a:lnTo>
                        <a:pt x="1432" y="1000"/>
                      </a:lnTo>
                      <a:lnTo>
                        <a:pt x="1432" y="1016"/>
                      </a:lnTo>
                      <a:lnTo>
                        <a:pt x="1448" y="1048"/>
                      </a:lnTo>
                      <a:lnTo>
                        <a:pt x="1448" y="1072"/>
                      </a:lnTo>
                      <a:lnTo>
                        <a:pt x="1472" y="1072"/>
                      </a:lnTo>
                      <a:lnTo>
                        <a:pt x="1488" y="1080"/>
                      </a:lnTo>
                      <a:lnTo>
                        <a:pt x="1512" y="1104"/>
                      </a:lnTo>
                      <a:lnTo>
                        <a:pt x="1520" y="1136"/>
                      </a:lnTo>
                      <a:lnTo>
                        <a:pt x="1536" y="1136"/>
                      </a:lnTo>
                      <a:lnTo>
                        <a:pt x="1544" y="1128"/>
                      </a:lnTo>
                      <a:lnTo>
                        <a:pt x="1568" y="1128"/>
                      </a:lnTo>
                      <a:lnTo>
                        <a:pt x="1592" y="1112"/>
                      </a:lnTo>
                      <a:lnTo>
                        <a:pt x="1600" y="1112"/>
                      </a:lnTo>
                      <a:lnTo>
                        <a:pt x="1592" y="1152"/>
                      </a:lnTo>
                      <a:lnTo>
                        <a:pt x="1576" y="1168"/>
                      </a:lnTo>
                      <a:lnTo>
                        <a:pt x="1568" y="1208"/>
                      </a:lnTo>
                      <a:lnTo>
                        <a:pt x="1552" y="1216"/>
                      </a:lnTo>
                      <a:lnTo>
                        <a:pt x="1536" y="1216"/>
                      </a:lnTo>
                      <a:lnTo>
                        <a:pt x="1512" y="1224"/>
                      </a:lnTo>
                      <a:lnTo>
                        <a:pt x="1528" y="1248"/>
                      </a:lnTo>
                      <a:lnTo>
                        <a:pt x="1520" y="1272"/>
                      </a:lnTo>
                      <a:lnTo>
                        <a:pt x="1504" y="1288"/>
                      </a:lnTo>
                      <a:lnTo>
                        <a:pt x="1512" y="1288"/>
                      </a:lnTo>
                      <a:lnTo>
                        <a:pt x="1528" y="1288"/>
                      </a:lnTo>
                      <a:lnTo>
                        <a:pt x="1528" y="1280"/>
                      </a:lnTo>
                      <a:lnTo>
                        <a:pt x="1536" y="1272"/>
                      </a:lnTo>
                      <a:lnTo>
                        <a:pt x="1544" y="1280"/>
                      </a:lnTo>
                      <a:lnTo>
                        <a:pt x="1552" y="1280"/>
                      </a:lnTo>
                      <a:lnTo>
                        <a:pt x="1560" y="1280"/>
                      </a:lnTo>
                      <a:lnTo>
                        <a:pt x="1568" y="1288"/>
                      </a:lnTo>
                      <a:lnTo>
                        <a:pt x="1576" y="1280"/>
                      </a:lnTo>
                      <a:lnTo>
                        <a:pt x="1600" y="1272"/>
                      </a:lnTo>
                      <a:lnTo>
                        <a:pt x="1624" y="1232"/>
                      </a:lnTo>
                      <a:lnTo>
                        <a:pt x="1640" y="1216"/>
                      </a:lnTo>
                      <a:lnTo>
                        <a:pt x="1656" y="1200"/>
                      </a:lnTo>
                      <a:lnTo>
                        <a:pt x="1664" y="1176"/>
                      </a:lnTo>
                      <a:lnTo>
                        <a:pt x="1672" y="1152"/>
                      </a:lnTo>
                      <a:lnTo>
                        <a:pt x="1688" y="1136"/>
                      </a:lnTo>
                      <a:lnTo>
                        <a:pt x="1696" y="1128"/>
                      </a:lnTo>
                      <a:lnTo>
                        <a:pt x="1712" y="1096"/>
                      </a:lnTo>
                      <a:lnTo>
                        <a:pt x="1712" y="1088"/>
                      </a:lnTo>
                      <a:lnTo>
                        <a:pt x="1712" y="1064"/>
                      </a:lnTo>
                      <a:lnTo>
                        <a:pt x="1712" y="1056"/>
                      </a:lnTo>
                      <a:lnTo>
                        <a:pt x="1712" y="1032"/>
                      </a:lnTo>
                      <a:lnTo>
                        <a:pt x="1728" y="1008"/>
                      </a:lnTo>
                      <a:lnTo>
                        <a:pt x="1728" y="992"/>
                      </a:lnTo>
                      <a:lnTo>
                        <a:pt x="1712" y="976"/>
                      </a:lnTo>
                      <a:lnTo>
                        <a:pt x="1712" y="968"/>
                      </a:lnTo>
                      <a:lnTo>
                        <a:pt x="1720" y="976"/>
                      </a:lnTo>
                      <a:lnTo>
                        <a:pt x="1728" y="968"/>
                      </a:lnTo>
                      <a:lnTo>
                        <a:pt x="1720" y="952"/>
                      </a:lnTo>
                      <a:lnTo>
                        <a:pt x="1704" y="944"/>
                      </a:lnTo>
                      <a:lnTo>
                        <a:pt x="1704" y="936"/>
                      </a:lnTo>
                      <a:lnTo>
                        <a:pt x="1680" y="928"/>
                      </a:lnTo>
                      <a:lnTo>
                        <a:pt x="1672" y="944"/>
                      </a:lnTo>
                      <a:lnTo>
                        <a:pt x="1664" y="944"/>
                      </a:lnTo>
                      <a:lnTo>
                        <a:pt x="1656" y="952"/>
                      </a:lnTo>
                      <a:lnTo>
                        <a:pt x="1648" y="952"/>
                      </a:lnTo>
                      <a:lnTo>
                        <a:pt x="1656" y="936"/>
                      </a:lnTo>
                      <a:lnTo>
                        <a:pt x="1648" y="928"/>
                      </a:lnTo>
                      <a:lnTo>
                        <a:pt x="1640" y="936"/>
                      </a:lnTo>
                      <a:lnTo>
                        <a:pt x="1632" y="944"/>
                      </a:lnTo>
                      <a:lnTo>
                        <a:pt x="1632" y="920"/>
                      </a:lnTo>
                      <a:lnTo>
                        <a:pt x="1616" y="912"/>
                      </a:lnTo>
                      <a:lnTo>
                        <a:pt x="1608" y="912"/>
                      </a:lnTo>
                      <a:lnTo>
                        <a:pt x="1600" y="904"/>
                      </a:lnTo>
                      <a:lnTo>
                        <a:pt x="1616" y="896"/>
                      </a:lnTo>
                      <a:lnTo>
                        <a:pt x="1624" y="888"/>
                      </a:lnTo>
                      <a:lnTo>
                        <a:pt x="1648" y="872"/>
                      </a:lnTo>
                      <a:lnTo>
                        <a:pt x="1648" y="864"/>
                      </a:lnTo>
                      <a:lnTo>
                        <a:pt x="1664" y="848"/>
                      </a:lnTo>
                      <a:lnTo>
                        <a:pt x="1664" y="832"/>
                      </a:lnTo>
                      <a:lnTo>
                        <a:pt x="1688" y="816"/>
                      </a:lnTo>
                      <a:lnTo>
                        <a:pt x="1712" y="800"/>
                      </a:lnTo>
                      <a:lnTo>
                        <a:pt x="1712" y="784"/>
                      </a:lnTo>
                      <a:lnTo>
                        <a:pt x="1736" y="768"/>
                      </a:lnTo>
                      <a:lnTo>
                        <a:pt x="1736" y="752"/>
                      </a:lnTo>
                      <a:lnTo>
                        <a:pt x="1752" y="744"/>
                      </a:lnTo>
                      <a:lnTo>
                        <a:pt x="1776" y="736"/>
                      </a:lnTo>
                      <a:lnTo>
                        <a:pt x="1792" y="736"/>
                      </a:lnTo>
                      <a:lnTo>
                        <a:pt x="1800" y="736"/>
                      </a:lnTo>
                      <a:lnTo>
                        <a:pt x="1824" y="736"/>
                      </a:lnTo>
                      <a:lnTo>
                        <a:pt x="1816" y="744"/>
                      </a:lnTo>
                      <a:lnTo>
                        <a:pt x="1824" y="752"/>
                      </a:lnTo>
                      <a:lnTo>
                        <a:pt x="1832" y="744"/>
                      </a:lnTo>
                      <a:lnTo>
                        <a:pt x="1840" y="736"/>
                      </a:lnTo>
                      <a:lnTo>
                        <a:pt x="1848" y="744"/>
                      </a:lnTo>
                      <a:lnTo>
                        <a:pt x="1872" y="736"/>
                      </a:lnTo>
                      <a:lnTo>
                        <a:pt x="1880" y="744"/>
                      </a:lnTo>
                      <a:lnTo>
                        <a:pt x="1888" y="728"/>
                      </a:lnTo>
                      <a:lnTo>
                        <a:pt x="1904" y="728"/>
                      </a:lnTo>
                      <a:lnTo>
                        <a:pt x="1912" y="728"/>
                      </a:lnTo>
                      <a:lnTo>
                        <a:pt x="1936" y="728"/>
                      </a:lnTo>
                      <a:lnTo>
                        <a:pt x="1944" y="736"/>
                      </a:lnTo>
                      <a:lnTo>
                        <a:pt x="1936" y="744"/>
                      </a:lnTo>
                      <a:lnTo>
                        <a:pt x="1928" y="752"/>
                      </a:lnTo>
                      <a:lnTo>
                        <a:pt x="1936" y="752"/>
                      </a:lnTo>
                      <a:lnTo>
                        <a:pt x="1952" y="752"/>
                      </a:lnTo>
                      <a:lnTo>
                        <a:pt x="1960" y="752"/>
                      </a:lnTo>
                      <a:lnTo>
                        <a:pt x="1976" y="744"/>
                      </a:lnTo>
                      <a:lnTo>
                        <a:pt x="1984" y="752"/>
                      </a:lnTo>
                      <a:lnTo>
                        <a:pt x="1992" y="752"/>
                      </a:lnTo>
                      <a:lnTo>
                        <a:pt x="1992" y="744"/>
                      </a:lnTo>
                      <a:lnTo>
                        <a:pt x="2008" y="744"/>
                      </a:lnTo>
                      <a:lnTo>
                        <a:pt x="2008" y="728"/>
                      </a:lnTo>
                      <a:lnTo>
                        <a:pt x="2000" y="728"/>
                      </a:lnTo>
                      <a:lnTo>
                        <a:pt x="1992" y="728"/>
                      </a:lnTo>
                      <a:lnTo>
                        <a:pt x="1992" y="712"/>
                      </a:lnTo>
                      <a:lnTo>
                        <a:pt x="2000" y="712"/>
                      </a:lnTo>
                      <a:lnTo>
                        <a:pt x="2008" y="696"/>
                      </a:lnTo>
                      <a:lnTo>
                        <a:pt x="2024" y="688"/>
                      </a:lnTo>
                      <a:lnTo>
                        <a:pt x="2024" y="680"/>
                      </a:lnTo>
                      <a:lnTo>
                        <a:pt x="2040" y="664"/>
                      </a:lnTo>
                      <a:lnTo>
                        <a:pt x="2040" y="648"/>
                      </a:lnTo>
                      <a:lnTo>
                        <a:pt x="2040" y="640"/>
                      </a:lnTo>
                      <a:lnTo>
                        <a:pt x="2056" y="632"/>
                      </a:lnTo>
                      <a:lnTo>
                        <a:pt x="2080" y="632"/>
                      </a:lnTo>
                      <a:lnTo>
                        <a:pt x="2088" y="624"/>
                      </a:lnTo>
                      <a:lnTo>
                        <a:pt x="2096" y="632"/>
                      </a:lnTo>
                      <a:lnTo>
                        <a:pt x="2104" y="632"/>
                      </a:lnTo>
                      <a:lnTo>
                        <a:pt x="2104" y="624"/>
                      </a:lnTo>
                      <a:lnTo>
                        <a:pt x="2112" y="632"/>
                      </a:lnTo>
                      <a:lnTo>
                        <a:pt x="2112" y="640"/>
                      </a:lnTo>
                      <a:lnTo>
                        <a:pt x="2152" y="640"/>
                      </a:lnTo>
                      <a:lnTo>
                        <a:pt x="2168" y="640"/>
                      </a:lnTo>
                      <a:lnTo>
                        <a:pt x="2176" y="632"/>
                      </a:lnTo>
                      <a:lnTo>
                        <a:pt x="2168" y="624"/>
                      </a:lnTo>
                      <a:lnTo>
                        <a:pt x="2176" y="600"/>
                      </a:lnTo>
                      <a:lnTo>
                        <a:pt x="2200" y="592"/>
                      </a:lnTo>
                      <a:lnTo>
                        <a:pt x="2208" y="600"/>
                      </a:lnTo>
                      <a:lnTo>
                        <a:pt x="2200" y="608"/>
                      </a:lnTo>
                      <a:lnTo>
                        <a:pt x="2192" y="624"/>
                      </a:lnTo>
                      <a:lnTo>
                        <a:pt x="2192" y="632"/>
                      </a:lnTo>
                      <a:lnTo>
                        <a:pt x="2184" y="640"/>
                      </a:lnTo>
                      <a:lnTo>
                        <a:pt x="2184" y="664"/>
                      </a:lnTo>
                      <a:lnTo>
                        <a:pt x="2184" y="672"/>
                      </a:lnTo>
                      <a:lnTo>
                        <a:pt x="2152" y="688"/>
                      </a:lnTo>
                      <a:lnTo>
                        <a:pt x="2144" y="704"/>
                      </a:lnTo>
                      <a:lnTo>
                        <a:pt x="2128" y="728"/>
                      </a:lnTo>
                      <a:lnTo>
                        <a:pt x="2112" y="728"/>
                      </a:lnTo>
                      <a:lnTo>
                        <a:pt x="2112" y="744"/>
                      </a:lnTo>
                      <a:lnTo>
                        <a:pt x="2088" y="760"/>
                      </a:lnTo>
                      <a:lnTo>
                        <a:pt x="2088" y="768"/>
                      </a:lnTo>
                      <a:lnTo>
                        <a:pt x="2072" y="784"/>
                      </a:lnTo>
                      <a:lnTo>
                        <a:pt x="2064" y="784"/>
                      </a:lnTo>
                      <a:lnTo>
                        <a:pt x="2064" y="792"/>
                      </a:lnTo>
                      <a:lnTo>
                        <a:pt x="2040" y="792"/>
                      </a:lnTo>
                      <a:lnTo>
                        <a:pt x="2040" y="824"/>
                      </a:lnTo>
                      <a:lnTo>
                        <a:pt x="2040" y="832"/>
                      </a:lnTo>
                      <a:lnTo>
                        <a:pt x="2024" y="848"/>
                      </a:lnTo>
                      <a:lnTo>
                        <a:pt x="2016" y="888"/>
                      </a:lnTo>
                      <a:lnTo>
                        <a:pt x="2024" y="920"/>
                      </a:lnTo>
                      <a:lnTo>
                        <a:pt x="2024" y="936"/>
                      </a:lnTo>
                      <a:lnTo>
                        <a:pt x="2032" y="952"/>
                      </a:lnTo>
                      <a:lnTo>
                        <a:pt x="2032" y="984"/>
                      </a:lnTo>
                      <a:lnTo>
                        <a:pt x="2040" y="1000"/>
                      </a:lnTo>
                      <a:lnTo>
                        <a:pt x="2040" y="1024"/>
                      </a:lnTo>
                      <a:lnTo>
                        <a:pt x="2040" y="1032"/>
                      </a:lnTo>
                      <a:lnTo>
                        <a:pt x="2040" y="1040"/>
                      </a:lnTo>
                      <a:lnTo>
                        <a:pt x="2048" y="1040"/>
                      </a:lnTo>
                      <a:lnTo>
                        <a:pt x="2080" y="1000"/>
                      </a:lnTo>
                      <a:lnTo>
                        <a:pt x="2080" y="984"/>
                      </a:lnTo>
                      <a:lnTo>
                        <a:pt x="2088" y="968"/>
                      </a:lnTo>
                      <a:lnTo>
                        <a:pt x="2096" y="960"/>
                      </a:lnTo>
                      <a:lnTo>
                        <a:pt x="2112" y="968"/>
                      </a:lnTo>
                      <a:lnTo>
                        <a:pt x="2112" y="960"/>
                      </a:lnTo>
                      <a:lnTo>
                        <a:pt x="2112" y="936"/>
                      </a:lnTo>
                      <a:lnTo>
                        <a:pt x="2136" y="912"/>
                      </a:lnTo>
                      <a:lnTo>
                        <a:pt x="2136" y="920"/>
                      </a:lnTo>
                      <a:lnTo>
                        <a:pt x="2144" y="912"/>
                      </a:lnTo>
                      <a:lnTo>
                        <a:pt x="2152" y="904"/>
                      </a:lnTo>
                      <a:lnTo>
                        <a:pt x="2144" y="888"/>
                      </a:lnTo>
                      <a:lnTo>
                        <a:pt x="2152" y="864"/>
                      </a:lnTo>
                      <a:lnTo>
                        <a:pt x="2168" y="848"/>
                      </a:lnTo>
                      <a:lnTo>
                        <a:pt x="2168" y="864"/>
                      </a:lnTo>
                      <a:lnTo>
                        <a:pt x="2176" y="864"/>
                      </a:lnTo>
                      <a:lnTo>
                        <a:pt x="2184" y="856"/>
                      </a:lnTo>
                      <a:lnTo>
                        <a:pt x="2176" y="840"/>
                      </a:lnTo>
                      <a:lnTo>
                        <a:pt x="2168" y="832"/>
                      </a:lnTo>
                      <a:lnTo>
                        <a:pt x="2168" y="816"/>
                      </a:lnTo>
                      <a:lnTo>
                        <a:pt x="2176" y="800"/>
                      </a:lnTo>
                      <a:lnTo>
                        <a:pt x="2160" y="792"/>
                      </a:lnTo>
                      <a:lnTo>
                        <a:pt x="2160" y="800"/>
                      </a:lnTo>
                      <a:lnTo>
                        <a:pt x="2152" y="784"/>
                      </a:lnTo>
                      <a:lnTo>
                        <a:pt x="2152" y="768"/>
                      </a:lnTo>
                      <a:lnTo>
                        <a:pt x="2160" y="760"/>
                      </a:lnTo>
                      <a:lnTo>
                        <a:pt x="2176" y="744"/>
                      </a:lnTo>
                      <a:lnTo>
                        <a:pt x="2176" y="728"/>
                      </a:lnTo>
                      <a:lnTo>
                        <a:pt x="2192" y="712"/>
                      </a:lnTo>
                      <a:lnTo>
                        <a:pt x="2200" y="712"/>
                      </a:lnTo>
                      <a:lnTo>
                        <a:pt x="2208" y="720"/>
                      </a:lnTo>
                      <a:lnTo>
                        <a:pt x="2216" y="704"/>
                      </a:lnTo>
                      <a:lnTo>
                        <a:pt x="2224" y="696"/>
                      </a:lnTo>
                      <a:lnTo>
                        <a:pt x="2240" y="688"/>
                      </a:lnTo>
                      <a:lnTo>
                        <a:pt x="2240" y="696"/>
                      </a:lnTo>
                      <a:lnTo>
                        <a:pt x="2232" y="704"/>
                      </a:lnTo>
                      <a:lnTo>
                        <a:pt x="2232" y="720"/>
                      </a:lnTo>
                      <a:lnTo>
                        <a:pt x="2240" y="712"/>
                      </a:lnTo>
                      <a:lnTo>
                        <a:pt x="2248" y="696"/>
                      </a:lnTo>
                      <a:lnTo>
                        <a:pt x="2288" y="680"/>
                      </a:lnTo>
                      <a:lnTo>
                        <a:pt x="2304" y="688"/>
                      </a:lnTo>
                      <a:lnTo>
                        <a:pt x="2312" y="696"/>
                      </a:lnTo>
                      <a:lnTo>
                        <a:pt x="2312" y="712"/>
                      </a:lnTo>
                      <a:lnTo>
                        <a:pt x="2320" y="704"/>
                      </a:lnTo>
                      <a:lnTo>
                        <a:pt x="2328" y="696"/>
                      </a:lnTo>
                      <a:lnTo>
                        <a:pt x="2336" y="680"/>
                      </a:lnTo>
                      <a:lnTo>
                        <a:pt x="2360" y="672"/>
                      </a:lnTo>
                      <a:lnTo>
                        <a:pt x="2368" y="656"/>
                      </a:lnTo>
                      <a:lnTo>
                        <a:pt x="2376" y="656"/>
                      </a:lnTo>
                      <a:lnTo>
                        <a:pt x="2384" y="640"/>
                      </a:lnTo>
                      <a:lnTo>
                        <a:pt x="2400" y="640"/>
                      </a:lnTo>
                      <a:lnTo>
                        <a:pt x="2416" y="624"/>
                      </a:lnTo>
                      <a:lnTo>
                        <a:pt x="2440" y="616"/>
                      </a:lnTo>
                      <a:lnTo>
                        <a:pt x="2448" y="608"/>
                      </a:lnTo>
                      <a:lnTo>
                        <a:pt x="2472" y="600"/>
                      </a:lnTo>
                      <a:lnTo>
                        <a:pt x="2480" y="608"/>
                      </a:lnTo>
                      <a:lnTo>
                        <a:pt x="2504" y="616"/>
                      </a:lnTo>
                      <a:lnTo>
                        <a:pt x="2504" y="600"/>
                      </a:lnTo>
                      <a:lnTo>
                        <a:pt x="2512" y="592"/>
                      </a:lnTo>
                      <a:lnTo>
                        <a:pt x="2504" y="584"/>
                      </a:lnTo>
                      <a:lnTo>
                        <a:pt x="2504" y="568"/>
                      </a:lnTo>
                      <a:lnTo>
                        <a:pt x="2496" y="560"/>
                      </a:lnTo>
                      <a:lnTo>
                        <a:pt x="2496" y="536"/>
                      </a:lnTo>
                      <a:lnTo>
                        <a:pt x="2488" y="528"/>
                      </a:lnTo>
                      <a:lnTo>
                        <a:pt x="2488" y="520"/>
                      </a:lnTo>
                      <a:lnTo>
                        <a:pt x="2480" y="520"/>
                      </a:lnTo>
                      <a:lnTo>
                        <a:pt x="2480" y="528"/>
                      </a:lnTo>
                      <a:lnTo>
                        <a:pt x="2464" y="512"/>
                      </a:lnTo>
                      <a:lnTo>
                        <a:pt x="2456" y="512"/>
                      </a:lnTo>
                      <a:lnTo>
                        <a:pt x="2448" y="504"/>
                      </a:lnTo>
                      <a:lnTo>
                        <a:pt x="2440" y="496"/>
                      </a:lnTo>
                      <a:lnTo>
                        <a:pt x="2448" y="496"/>
                      </a:lnTo>
                      <a:lnTo>
                        <a:pt x="2456" y="504"/>
                      </a:lnTo>
                      <a:lnTo>
                        <a:pt x="2456" y="496"/>
                      </a:lnTo>
                      <a:lnTo>
                        <a:pt x="2448" y="488"/>
                      </a:lnTo>
                      <a:lnTo>
                        <a:pt x="2456" y="488"/>
                      </a:lnTo>
                      <a:lnTo>
                        <a:pt x="2472" y="496"/>
                      </a:lnTo>
                      <a:lnTo>
                        <a:pt x="2472" y="504"/>
                      </a:lnTo>
                      <a:lnTo>
                        <a:pt x="2504" y="504"/>
                      </a:lnTo>
                      <a:lnTo>
                        <a:pt x="2512" y="496"/>
                      </a:lnTo>
                      <a:lnTo>
                        <a:pt x="2512" y="488"/>
                      </a:lnTo>
                      <a:lnTo>
                        <a:pt x="2528" y="472"/>
                      </a:lnTo>
                      <a:lnTo>
                        <a:pt x="2528" y="456"/>
                      </a:lnTo>
                      <a:lnTo>
                        <a:pt x="2520" y="440"/>
                      </a:lnTo>
                      <a:lnTo>
                        <a:pt x="2528" y="432"/>
                      </a:lnTo>
                      <a:lnTo>
                        <a:pt x="2536" y="432"/>
                      </a:lnTo>
                      <a:lnTo>
                        <a:pt x="2544" y="424"/>
                      </a:lnTo>
                      <a:lnTo>
                        <a:pt x="2544" y="432"/>
                      </a:lnTo>
                      <a:lnTo>
                        <a:pt x="2544" y="448"/>
                      </a:lnTo>
                      <a:lnTo>
                        <a:pt x="2544" y="456"/>
                      </a:lnTo>
                      <a:lnTo>
                        <a:pt x="2552" y="464"/>
                      </a:lnTo>
                      <a:lnTo>
                        <a:pt x="2568" y="464"/>
                      </a:lnTo>
                      <a:lnTo>
                        <a:pt x="2576" y="464"/>
                      </a:lnTo>
                      <a:lnTo>
                        <a:pt x="2592" y="472"/>
                      </a:lnTo>
                      <a:lnTo>
                        <a:pt x="2600" y="480"/>
                      </a:lnTo>
                      <a:lnTo>
                        <a:pt x="2600" y="504"/>
                      </a:lnTo>
                      <a:lnTo>
                        <a:pt x="2616" y="496"/>
                      </a:lnTo>
                      <a:lnTo>
                        <a:pt x="2632" y="504"/>
                      </a:lnTo>
                      <a:lnTo>
                        <a:pt x="2640" y="520"/>
                      </a:lnTo>
                      <a:lnTo>
                        <a:pt x="2648" y="528"/>
                      </a:lnTo>
                      <a:lnTo>
                        <a:pt x="2672" y="520"/>
                      </a:lnTo>
                      <a:lnTo>
                        <a:pt x="2656" y="512"/>
                      </a:lnTo>
                      <a:lnTo>
                        <a:pt x="2656" y="496"/>
                      </a:lnTo>
                      <a:lnTo>
                        <a:pt x="2672" y="488"/>
                      </a:lnTo>
                      <a:lnTo>
                        <a:pt x="2664" y="480"/>
                      </a:lnTo>
                      <a:lnTo>
                        <a:pt x="2672" y="472"/>
                      </a:lnTo>
                      <a:lnTo>
                        <a:pt x="2672" y="464"/>
                      </a:lnTo>
                      <a:lnTo>
                        <a:pt x="2696" y="464"/>
                      </a:lnTo>
                      <a:lnTo>
                        <a:pt x="2704" y="456"/>
                      </a:lnTo>
                      <a:lnTo>
                        <a:pt x="2712" y="440"/>
                      </a:lnTo>
                      <a:lnTo>
                        <a:pt x="2720" y="440"/>
                      </a:lnTo>
                      <a:lnTo>
                        <a:pt x="2728" y="432"/>
                      </a:lnTo>
                      <a:lnTo>
                        <a:pt x="2696" y="4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92" name="Freeform 270">
                  <a:extLst>
                    <a:ext uri="{FF2B5EF4-FFF2-40B4-BE49-F238E27FC236}">
                      <a16:creationId xmlns:a16="http://schemas.microsoft.com/office/drawing/2014/main" id="{D2A49116-B4F6-BB5F-E5FB-8C06224D2B6D}"/>
                    </a:ext>
                  </a:extLst>
                </p:cNvPr>
                <p:cNvSpPr/>
                <p:nvPr/>
              </p:nvSpPr>
              <p:spPr bwMode="gray">
                <a:xfrm>
                  <a:off x="5332" y="1474"/>
                  <a:ext cx="57" cy="23"/>
                </a:xfrm>
                <a:custGeom>
                  <a:avLst/>
                  <a:gdLst>
                    <a:gd name="T0" fmla="*/ 11 w 80"/>
                    <a:gd name="T1" fmla="*/ 9 h 32"/>
                    <a:gd name="T2" fmla="*/ 24 w 80"/>
                    <a:gd name="T3" fmla="*/ 12 h 32"/>
                    <a:gd name="T4" fmla="*/ 29 w 80"/>
                    <a:gd name="T5" fmla="*/ 9 h 32"/>
                    <a:gd name="T6" fmla="*/ 29 w 80"/>
                    <a:gd name="T7" fmla="*/ 6 h 32"/>
                    <a:gd name="T8" fmla="*/ 29 w 80"/>
                    <a:gd name="T9" fmla="*/ 3 h 32"/>
                    <a:gd name="T10" fmla="*/ 26 w 80"/>
                    <a:gd name="T11" fmla="*/ 3 h 32"/>
                    <a:gd name="T12" fmla="*/ 24 w 80"/>
                    <a:gd name="T13" fmla="*/ 3 h 32"/>
                    <a:gd name="T14" fmla="*/ 17 w 80"/>
                    <a:gd name="T15" fmla="*/ 3 h 32"/>
                    <a:gd name="T16" fmla="*/ 9 w 80"/>
                    <a:gd name="T17" fmla="*/ 3 h 32"/>
                    <a:gd name="T18" fmla="*/ 3 w 80"/>
                    <a:gd name="T19" fmla="*/ 0 h 32"/>
                    <a:gd name="T20" fmla="*/ 0 w 80"/>
                    <a:gd name="T21" fmla="*/ 3 h 32"/>
                    <a:gd name="T22" fmla="*/ 6 w 80"/>
                    <a:gd name="T23" fmla="*/ 9 h 32"/>
                    <a:gd name="T24" fmla="*/ 11 w 80"/>
                    <a:gd name="T25" fmla="*/ 9 h 3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0"/>
                    <a:gd name="T40" fmla="*/ 0 h 32"/>
                    <a:gd name="T41" fmla="*/ 80 w 80"/>
                    <a:gd name="T42" fmla="*/ 32 h 3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0" h="32">
                      <a:moveTo>
                        <a:pt x="32" y="24"/>
                      </a:moveTo>
                      <a:lnTo>
                        <a:pt x="64" y="32"/>
                      </a:lnTo>
                      <a:lnTo>
                        <a:pt x="80" y="24"/>
                      </a:lnTo>
                      <a:lnTo>
                        <a:pt x="80" y="16"/>
                      </a:lnTo>
                      <a:lnTo>
                        <a:pt x="80" y="8"/>
                      </a:lnTo>
                      <a:lnTo>
                        <a:pt x="72" y="8"/>
                      </a:lnTo>
                      <a:lnTo>
                        <a:pt x="64" y="8"/>
                      </a:lnTo>
                      <a:lnTo>
                        <a:pt x="48" y="8"/>
                      </a:lnTo>
                      <a:lnTo>
                        <a:pt x="24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16" y="24"/>
                      </a:lnTo>
                      <a:lnTo>
                        <a:pt x="32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93" name="Freeform 271">
                  <a:extLst>
                    <a:ext uri="{FF2B5EF4-FFF2-40B4-BE49-F238E27FC236}">
                      <a16:creationId xmlns:a16="http://schemas.microsoft.com/office/drawing/2014/main" id="{B03DF599-CA34-7442-4A26-411174150FCA}"/>
                    </a:ext>
                  </a:extLst>
                </p:cNvPr>
                <p:cNvSpPr/>
                <p:nvPr/>
              </p:nvSpPr>
              <p:spPr bwMode="gray">
                <a:xfrm>
                  <a:off x="4787" y="1412"/>
                  <a:ext cx="45" cy="17"/>
                </a:xfrm>
                <a:custGeom>
                  <a:avLst/>
                  <a:gdLst>
                    <a:gd name="T0" fmla="*/ 6 w 64"/>
                    <a:gd name="T1" fmla="*/ 6 h 24"/>
                    <a:gd name="T2" fmla="*/ 6 w 64"/>
                    <a:gd name="T3" fmla="*/ 9 h 24"/>
                    <a:gd name="T4" fmla="*/ 11 w 64"/>
                    <a:gd name="T5" fmla="*/ 9 h 24"/>
                    <a:gd name="T6" fmla="*/ 23 w 64"/>
                    <a:gd name="T7" fmla="*/ 9 h 24"/>
                    <a:gd name="T8" fmla="*/ 23 w 64"/>
                    <a:gd name="T9" fmla="*/ 6 h 24"/>
                    <a:gd name="T10" fmla="*/ 19 w 64"/>
                    <a:gd name="T11" fmla="*/ 3 h 24"/>
                    <a:gd name="T12" fmla="*/ 14 w 64"/>
                    <a:gd name="T13" fmla="*/ 0 h 24"/>
                    <a:gd name="T14" fmla="*/ 6 w 64"/>
                    <a:gd name="T15" fmla="*/ 0 h 24"/>
                    <a:gd name="T16" fmla="*/ 3 w 64"/>
                    <a:gd name="T17" fmla="*/ 3 h 24"/>
                    <a:gd name="T18" fmla="*/ 0 w 64"/>
                    <a:gd name="T19" fmla="*/ 6 h 24"/>
                    <a:gd name="T20" fmla="*/ 6 w 64"/>
                    <a:gd name="T21" fmla="*/ 6 h 2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4"/>
                    <a:gd name="T34" fmla="*/ 0 h 24"/>
                    <a:gd name="T35" fmla="*/ 64 w 64"/>
                    <a:gd name="T36" fmla="*/ 24 h 2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4" h="24">
                      <a:moveTo>
                        <a:pt x="16" y="16"/>
                      </a:moveTo>
                      <a:lnTo>
                        <a:pt x="16" y="24"/>
                      </a:lnTo>
                      <a:lnTo>
                        <a:pt x="32" y="24"/>
                      </a:lnTo>
                      <a:lnTo>
                        <a:pt x="64" y="24"/>
                      </a:lnTo>
                      <a:lnTo>
                        <a:pt x="64" y="16"/>
                      </a:lnTo>
                      <a:lnTo>
                        <a:pt x="56" y="8"/>
                      </a:lnTo>
                      <a:lnTo>
                        <a:pt x="40" y="0"/>
                      </a:lnTo>
                      <a:lnTo>
                        <a:pt x="16" y="0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16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94" name="Freeform 272">
                  <a:extLst>
                    <a:ext uri="{FF2B5EF4-FFF2-40B4-BE49-F238E27FC236}">
                      <a16:creationId xmlns:a16="http://schemas.microsoft.com/office/drawing/2014/main" id="{EE9F8E50-2377-1911-F97C-C1BF46BBCB8D}"/>
                    </a:ext>
                  </a:extLst>
                </p:cNvPr>
                <p:cNvSpPr/>
                <p:nvPr/>
              </p:nvSpPr>
              <p:spPr bwMode="gray">
                <a:xfrm>
                  <a:off x="4730" y="1345"/>
                  <a:ext cx="124" cy="45"/>
                </a:xfrm>
                <a:custGeom>
                  <a:avLst/>
                  <a:gdLst>
                    <a:gd name="T0" fmla="*/ 6 w 176"/>
                    <a:gd name="T1" fmla="*/ 17 h 64"/>
                    <a:gd name="T2" fmla="*/ 8 w 176"/>
                    <a:gd name="T3" fmla="*/ 17 h 64"/>
                    <a:gd name="T4" fmla="*/ 8 w 176"/>
                    <a:gd name="T5" fmla="*/ 19 h 64"/>
                    <a:gd name="T6" fmla="*/ 19 w 176"/>
                    <a:gd name="T7" fmla="*/ 23 h 64"/>
                    <a:gd name="T8" fmla="*/ 19 w 176"/>
                    <a:gd name="T9" fmla="*/ 19 h 64"/>
                    <a:gd name="T10" fmla="*/ 19 w 176"/>
                    <a:gd name="T11" fmla="*/ 17 h 64"/>
                    <a:gd name="T12" fmla="*/ 23 w 176"/>
                    <a:gd name="T13" fmla="*/ 17 h 64"/>
                    <a:gd name="T14" fmla="*/ 25 w 176"/>
                    <a:gd name="T15" fmla="*/ 17 h 64"/>
                    <a:gd name="T16" fmla="*/ 31 w 176"/>
                    <a:gd name="T17" fmla="*/ 17 h 64"/>
                    <a:gd name="T18" fmla="*/ 36 w 176"/>
                    <a:gd name="T19" fmla="*/ 14 h 64"/>
                    <a:gd name="T20" fmla="*/ 39 w 176"/>
                    <a:gd name="T21" fmla="*/ 14 h 64"/>
                    <a:gd name="T22" fmla="*/ 39 w 176"/>
                    <a:gd name="T23" fmla="*/ 17 h 64"/>
                    <a:gd name="T24" fmla="*/ 44 w 176"/>
                    <a:gd name="T25" fmla="*/ 19 h 64"/>
                    <a:gd name="T26" fmla="*/ 50 w 176"/>
                    <a:gd name="T27" fmla="*/ 17 h 64"/>
                    <a:gd name="T28" fmla="*/ 44 w 176"/>
                    <a:gd name="T29" fmla="*/ 14 h 64"/>
                    <a:gd name="T30" fmla="*/ 39 w 176"/>
                    <a:gd name="T31" fmla="*/ 14 h 64"/>
                    <a:gd name="T32" fmla="*/ 39 w 176"/>
                    <a:gd name="T33" fmla="*/ 8 h 64"/>
                    <a:gd name="T34" fmla="*/ 42 w 176"/>
                    <a:gd name="T35" fmla="*/ 6 h 64"/>
                    <a:gd name="T36" fmla="*/ 44 w 176"/>
                    <a:gd name="T37" fmla="*/ 6 h 64"/>
                    <a:gd name="T38" fmla="*/ 44 w 176"/>
                    <a:gd name="T39" fmla="*/ 8 h 64"/>
                    <a:gd name="T40" fmla="*/ 42 w 176"/>
                    <a:gd name="T41" fmla="*/ 8 h 64"/>
                    <a:gd name="T42" fmla="*/ 42 w 176"/>
                    <a:gd name="T43" fmla="*/ 11 h 64"/>
                    <a:gd name="T44" fmla="*/ 48 w 176"/>
                    <a:gd name="T45" fmla="*/ 14 h 64"/>
                    <a:gd name="T46" fmla="*/ 50 w 176"/>
                    <a:gd name="T47" fmla="*/ 14 h 64"/>
                    <a:gd name="T48" fmla="*/ 53 w 176"/>
                    <a:gd name="T49" fmla="*/ 14 h 64"/>
                    <a:gd name="T50" fmla="*/ 58 w 176"/>
                    <a:gd name="T51" fmla="*/ 11 h 64"/>
                    <a:gd name="T52" fmla="*/ 56 w 176"/>
                    <a:gd name="T53" fmla="*/ 8 h 64"/>
                    <a:gd name="T54" fmla="*/ 61 w 176"/>
                    <a:gd name="T55" fmla="*/ 8 h 64"/>
                    <a:gd name="T56" fmla="*/ 61 w 176"/>
                    <a:gd name="T57" fmla="*/ 6 h 64"/>
                    <a:gd name="T58" fmla="*/ 56 w 176"/>
                    <a:gd name="T59" fmla="*/ 6 h 64"/>
                    <a:gd name="T60" fmla="*/ 50 w 176"/>
                    <a:gd name="T61" fmla="*/ 3 h 64"/>
                    <a:gd name="T62" fmla="*/ 48 w 176"/>
                    <a:gd name="T63" fmla="*/ 6 h 64"/>
                    <a:gd name="T64" fmla="*/ 42 w 176"/>
                    <a:gd name="T65" fmla="*/ 6 h 64"/>
                    <a:gd name="T66" fmla="*/ 39 w 176"/>
                    <a:gd name="T67" fmla="*/ 3 h 64"/>
                    <a:gd name="T68" fmla="*/ 39 w 176"/>
                    <a:gd name="T69" fmla="*/ 0 h 64"/>
                    <a:gd name="T70" fmla="*/ 36 w 176"/>
                    <a:gd name="T71" fmla="*/ 0 h 64"/>
                    <a:gd name="T72" fmla="*/ 34 w 176"/>
                    <a:gd name="T73" fmla="*/ 0 h 64"/>
                    <a:gd name="T74" fmla="*/ 31 w 176"/>
                    <a:gd name="T75" fmla="*/ 3 h 64"/>
                    <a:gd name="T76" fmla="*/ 31 w 176"/>
                    <a:gd name="T77" fmla="*/ 8 h 64"/>
                    <a:gd name="T78" fmla="*/ 27 w 176"/>
                    <a:gd name="T79" fmla="*/ 8 h 64"/>
                    <a:gd name="T80" fmla="*/ 25 w 176"/>
                    <a:gd name="T81" fmla="*/ 6 h 64"/>
                    <a:gd name="T82" fmla="*/ 19 w 176"/>
                    <a:gd name="T83" fmla="*/ 6 h 64"/>
                    <a:gd name="T84" fmla="*/ 19 w 176"/>
                    <a:gd name="T85" fmla="*/ 3 h 64"/>
                    <a:gd name="T86" fmla="*/ 23 w 176"/>
                    <a:gd name="T87" fmla="*/ 3 h 64"/>
                    <a:gd name="T88" fmla="*/ 14 w 176"/>
                    <a:gd name="T89" fmla="*/ 0 h 64"/>
                    <a:gd name="T90" fmla="*/ 8 w 176"/>
                    <a:gd name="T91" fmla="*/ 3 h 64"/>
                    <a:gd name="T92" fmla="*/ 6 w 176"/>
                    <a:gd name="T93" fmla="*/ 3 h 64"/>
                    <a:gd name="T94" fmla="*/ 6 w 176"/>
                    <a:gd name="T95" fmla="*/ 6 h 64"/>
                    <a:gd name="T96" fmla="*/ 3 w 176"/>
                    <a:gd name="T97" fmla="*/ 6 h 64"/>
                    <a:gd name="T98" fmla="*/ 3 w 176"/>
                    <a:gd name="T99" fmla="*/ 11 h 64"/>
                    <a:gd name="T100" fmla="*/ 0 w 176"/>
                    <a:gd name="T101" fmla="*/ 11 h 64"/>
                    <a:gd name="T102" fmla="*/ 6 w 176"/>
                    <a:gd name="T103" fmla="*/ 17 h 6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76"/>
                    <a:gd name="T157" fmla="*/ 0 h 64"/>
                    <a:gd name="T158" fmla="*/ 176 w 176"/>
                    <a:gd name="T159" fmla="*/ 64 h 6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76" h="64">
                      <a:moveTo>
                        <a:pt x="16" y="48"/>
                      </a:moveTo>
                      <a:lnTo>
                        <a:pt x="24" y="48"/>
                      </a:lnTo>
                      <a:lnTo>
                        <a:pt x="24" y="56"/>
                      </a:lnTo>
                      <a:lnTo>
                        <a:pt x="56" y="64"/>
                      </a:lnTo>
                      <a:lnTo>
                        <a:pt x="56" y="56"/>
                      </a:lnTo>
                      <a:lnTo>
                        <a:pt x="56" y="48"/>
                      </a:lnTo>
                      <a:lnTo>
                        <a:pt x="64" y="48"/>
                      </a:lnTo>
                      <a:lnTo>
                        <a:pt x="72" y="48"/>
                      </a:lnTo>
                      <a:lnTo>
                        <a:pt x="88" y="48"/>
                      </a:lnTo>
                      <a:lnTo>
                        <a:pt x="104" y="40"/>
                      </a:lnTo>
                      <a:lnTo>
                        <a:pt x="112" y="40"/>
                      </a:lnTo>
                      <a:lnTo>
                        <a:pt x="112" y="48"/>
                      </a:lnTo>
                      <a:lnTo>
                        <a:pt x="128" y="56"/>
                      </a:lnTo>
                      <a:lnTo>
                        <a:pt x="144" y="48"/>
                      </a:lnTo>
                      <a:lnTo>
                        <a:pt x="128" y="40"/>
                      </a:lnTo>
                      <a:lnTo>
                        <a:pt x="112" y="40"/>
                      </a:lnTo>
                      <a:lnTo>
                        <a:pt x="112" y="24"/>
                      </a:lnTo>
                      <a:lnTo>
                        <a:pt x="120" y="16"/>
                      </a:lnTo>
                      <a:lnTo>
                        <a:pt x="128" y="16"/>
                      </a:lnTo>
                      <a:lnTo>
                        <a:pt x="128" y="24"/>
                      </a:lnTo>
                      <a:lnTo>
                        <a:pt x="120" y="24"/>
                      </a:lnTo>
                      <a:lnTo>
                        <a:pt x="120" y="32"/>
                      </a:lnTo>
                      <a:lnTo>
                        <a:pt x="136" y="40"/>
                      </a:lnTo>
                      <a:lnTo>
                        <a:pt x="144" y="40"/>
                      </a:lnTo>
                      <a:lnTo>
                        <a:pt x="152" y="40"/>
                      </a:lnTo>
                      <a:lnTo>
                        <a:pt x="168" y="32"/>
                      </a:lnTo>
                      <a:lnTo>
                        <a:pt x="160" y="24"/>
                      </a:lnTo>
                      <a:lnTo>
                        <a:pt x="176" y="24"/>
                      </a:lnTo>
                      <a:lnTo>
                        <a:pt x="176" y="16"/>
                      </a:lnTo>
                      <a:lnTo>
                        <a:pt x="160" y="16"/>
                      </a:lnTo>
                      <a:lnTo>
                        <a:pt x="144" y="8"/>
                      </a:lnTo>
                      <a:lnTo>
                        <a:pt x="136" y="16"/>
                      </a:lnTo>
                      <a:lnTo>
                        <a:pt x="120" y="16"/>
                      </a:lnTo>
                      <a:lnTo>
                        <a:pt x="112" y="8"/>
                      </a:lnTo>
                      <a:lnTo>
                        <a:pt x="112" y="0"/>
                      </a:lnTo>
                      <a:lnTo>
                        <a:pt x="104" y="0"/>
                      </a:lnTo>
                      <a:lnTo>
                        <a:pt x="96" y="0"/>
                      </a:lnTo>
                      <a:lnTo>
                        <a:pt x="88" y="8"/>
                      </a:lnTo>
                      <a:lnTo>
                        <a:pt x="88" y="24"/>
                      </a:lnTo>
                      <a:lnTo>
                        <a:pt x="80" y="24"/>
                      </a:lnTo>
                      <a:lnTo>
                        <a:pt x="72" y="16"/>
                      </a:lnTo>
                      <a:lnTo>
                        <a:pt x="56" y="16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40" y="0"/>
                      </a:lnTo>
                      <a:lnTo>
                        <a:pt x="24" y="8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16" y="4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95" name="Freeform 273">
                  <a:extLst>
                    <a:ext uri="{FF2B5EF4-FFF2-40B4-BE49-F238E27FC236}">
                      <a16:creationId xmlns:a16="http://schemas.microsoft.com/office/drawing/2014/main" id="{0BEB6590-44A3-7BBD-BBF5-34663B9F66A2}"/>
                    </a:ext>
                  </a:extLst>
                </p:cNvPr>
                <p:cNvSpPr/>
                <p:nvPr/>
              </p:nvSpPr>
              <p:spPr bwMode="gray">
                <a:xfrm>
                  <a:off x="4871" y="1362"/>
                  <a:ext cx="68" cy="22"/>
                </a:xfrm>
                <a:custGeom>
                  <a:avLst/>
                  <a:gdLst>
                    <a:gd name="T0" fmla="*/ 6 w 96"/>
                    <a:gd name="T1" fmla="*/ 3 h 32"/>
                    <a:gd name="T2" fmla="*/ 6 w 96"/>
                    <a:gd name="T3" fmla="*/ 6 h 32"/>
                    <a:gd name="T4" fmla="*/ 11 w 96"/>
                    <a:gd name="T5" fmla="*/ 6 h 32"/>
                    <a:gd name="T6" fmla="*/ 17 w 96"/>
                    <a:gd name="T7" fmla="*/ 10 h 32"/>
                    <a:gd name="T8" fmla="*/ 26 w 96"/>
                    <a:gd name="T9" fmla="*/ 10 h 32"/>
                    <a:gd name="T10" fmla="*/ 31 w 96"/>
                    <a:gd name="T11" fmla="*/ 8 h 32"/>
                    <a:gd name="T12" fmla="*/ 34 w 96"/>
                    <a:gd name="T13" fmla="*/ 6 h 32"/>
                    <a:gd name="T14" fmla="*/ 31 w 96"/>
                    <a:gd name="T15" fmla="*/ 6 h 32"/>
                    <a:gd name="T16" fmla="*/ 26 w 96"/>
                    <a:gd name="T17" fmla="*/ 3 h 32"/>
                    <a:gd name="T18" fmla="*/ 17 w 96"/>
                    <a:gd name="T19" fmla="*/ 3 h 32"/>
                    <a:gd name="T20" fmla="*/ 17 w 96"/>
                    <a:gd name="T21" fmla="*/ 0 h 32"/>
                    <a:gd name="T22" fmla="*/ 6 w 96"/>
                    <a:gd name="T23" fmla="*/ 0 h 32"/>
                    <a:gd name="T24" fmla="*/ 3 w 96"/>
                    <a:gd name="T25" fmla="*/ 0 h 32"/>
                    <a:gd name="T26" fmla="*/ 0 w 96"/>
                    <a:gd name="T27" fmla="*/ 0 h 32"/>
                    <a:gd name="T28" fmla="*/ 6 w 96"/>
                    <a:gd name="T29" fmla="*/ 3 h 32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96"/>
                    <a:gd name="T46" fmla="*/ 0 h 32"/>
                    <a:gd name="T47" fmla="*/ 96 w 96"/>
                    <a:gd name="T48" fmla="*/ 32 h 32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96" h="32">
                      <a:moveTo>
                        <a:pt x="16" y="8"/>
                      </a:moveTo>
                      <a:lnTo>
                        <a:pt x="16" y="16"/>
                      </a:lnTo>
                      <a:lnTo>
                        <a:pt x="32" y="16"/>
                      </a:lnTo>
                      <a:lnTo>
                        <a:pt x="48" y="32"/>
                      </a:lnTo>
                      <a:lnTo>
                        <a:pt x="72" y="32"/>
                      </a:lnTo>
                      <a:lnTo>
                        <a:pt x="88" y="24"/>
                      </a:lnTo>
                      <a:lnTo>
                        <a:pt x="96" y="16"/>
                      </a:lnTo>
                      <a:lnTo>
                        <a:pt x="88" y="16"/>
                      </a:lnTo>
                      <a:lnTo>
                        <a:pt x="72" y="8"/>
                      </a:lnTo>
                      <a:lnTo>
                        <a:pt x="48" y="8"/>
                      </a:lnTo>
                      <a:lnTo>
                        <a:pt x="48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96" name="Freeform 274">
                  <a:extLst>
                    <a:ext uri="{FF2B5EF4-FFF2-40B4-BE49-F238E27FC236}">
                      <a16:creationId xmlns:a16="http://schemas.microsoft.com/office/drawing/2014/main" id="{25FAB043-4099-8408-0FDB-6CA44A715FAE}"/>
                    </a:ext>
                  </a:extLst>
                </p:cNvPr>
                <p:cNvSpPr/>
                <p:nvPr/>
              </p:nvSpPr>
              <p:spPr bwMode="gray">
                <a:xfrm>
                  <a:off x="4190" y="1249"/>
                  <a:ext cx="85" cy="51"/>
                </a:xfrm>
                <a:custGeom>
                  <a:avLst/>
                  <a:gdLst>
                    <a:gd name="T0" fmla="*/ 6 w 120"/>
                    <a:gd name="T1" fmla="*/ 17 h 72"/>
                    <a:gd name="T2" fmla="*/ 0 w 120"/>
                    <a:gd name="T3" fmla="*/ 20 h 72"/>
                    <a:gd name="T4" fmla="*/ 0 w 120"/>
                    <a:gd name="T5" fmla="*/ 23 h 72"/>
                    <a:gd name="T6" fmla="*/ 3 w 120"/>
                    <a:gd name="T7" fmla="*/ 26 h 72"/>
                    <a:gd name="T8" fmla="*/ 9 w 120"/>
                    <a:gd name="T9" fmla="*/ 23 h 72"/>
                    <a:gd name="T10" fmla="*/ 14 w 120"/>
                    <a:gd name="T11" fmla="*/ 20 h 72"/>
                    <a:gd name="T12" fmla="*/ 20 w 120"/>
                    <a:gd name="T13" fmla="*/ 20 h 72"/>
                    <a:gd name="T14" fmla="*/ 23 w 120"/>
                    <a:gd name="T15" fmla="*/ 20 h 72"/>
                    <a:gd name="T16" fmla="*/ 26 w 120"/>
                    <a:gd name="T17" fmla="*/ 23 h 72"/>
                    <a:gd name="T18" fmla="*/ 28 w 120"/>
                    <a:gd name="T19" fmla="*/ 20 h 72"/>
                    <a:gd name="T20" fmla="*/ 34 w 120"/>
                    <a:gd name="T21" fmla="*/ 20 h 72"/>
                    <a:gd name="T22" fmla="*/ 43 w 120"/>
                    <a:gd name="T23" fmla="*/ 17 h 72"/>
                    <a:gd name="T24" fmla="*/ 43 w 120"/>
                    <a:gd name="T25" fmla="*/ 14 h 72"/>
                    <a:gd name="T26" fmla="*/ 40 w 120"/>
                    <a:gd name="T27" fmla="*/ 11 h 72"/>
                    <a:gd name="T28" fmla="*/ 40 w 120"/>
                    <a:gd name="T29" fmla="*/ 8 h 72"/>
                    <a:gd name="T30" fmla="*/ 34 w 120"/>
                    <a:gd name="T31" fmla="*/ 6 h 72"/>
                    <a:gd name="T32" fmla="*/ 34 w 120"/>
                    <a:gd name="T33" fmla="*/ 3 h 72"/>
                    <a:gd name="T34" fmla="*/ 31 w 120"/>
                    <a:gd name="T35" fmla="*/ 3 h 72"/>
                    <a:gd name="T36" fmla="*/ 28 w 120"/>
                    <a:gd name="T37" fmla="*/ 6 h 72"/>
                    <a:gd name="T38" fmla="*/ 26 w 120"/>
                    <a:gd name="T39" fmla="*/ 6 h 72"/>
                    <a:gd name="T40" fmla="*/ 26 w 120"/>
                    <a:gd name="T41" fmla="*/ 3 h 72"/>
                    <a:gd name="T42" fmla="*/ 28 w 120"/>
                    <a:gd name="T43" fmla="*/ 3 h 72"/>
                    <a:gd name="T44" fmla="*/ 28 w 120"/>
                    <a:gd name="T45" fmla="*/ 0 h 72"/>
                    <a:gd name="T46" fmla="*/ 23 w 120"/>
                    <a:gd name="T47" fmla="*/ 0 h 72"/>
                    <a:gd name="T48" fmla="*/ 23 w 120"/>
                    <a:gd name="T49" fmla="*/ 3 h 72"/>
                    <a:gd name="T50" fmla="*/ 20 w 120"/>
                    <a:gd name="T51" fmla="*/ 3 h 72"/>
                    <a:gd name="T52" fmla="*/ 20 w 120"/>
                    <a:gd name="T53" fmla="*/ 0 h 72"/>
                    <a:gd name="T54" fmla="*/ 17 w 120"/>
                    <a:gd name="T55" fmla="*/ 0 h 72"/>
                    <a:gd name="T56" fmla="*/ 17 w 120"/>
                    <a:gd name="T57" fmla="*/ 3 h 72"/>
                    <a:gd name="T58" fmla="*/ 14 w 120"/>
                    <a:gd name="T59" fmla="*/ 3 h 72"/>
                    <a:gd name="T60" fmla="*/ 11 w 120"/>
                    <a:gd name="T61" fmla="*/ 6 h 72"/>
                    <a:gd name="T62" fmla="*/ 14 w 120"/>
                    <a:gd name="T63" fmla="*/ 6 h 72"/>
                    <a:gd name="T64" fmla="*/ 11 w 120"/>
                    <a:gd name="T65" fmla="*/ 8 h 72"/>
                    <a:gd name="T66" fmla="*/ 11 w 120"/>
                    <a:gd name="T67" fmla="*/ 11 h 72"/>
                    <a:gd name="T68" fmla="*/ 6 w 120"/>
                    <a:gd name="T69" fmla="*/ 11 h 72"/>
                    <a:gd name="T70" fmla="*/ 6 w 120"/>
                    <a:gd name="T71" fmla="*/ 14 h 72"/>
                    <a:gd name="T72" fmla="*/ 6 w 120"/>
                    <a:gd name="T73" fmla="*/ 14 h 72"/>
                    <a:gd name="T74" fmla="*/ 6 w 120"/>
                    <a:gd name="T75" fmla="*/ 17 h 72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20"/>
                    <a:gd name="T115" fmla="*/ 0 h 72"/>
                    <a:gd name="T116" fmla="*/ 120 w 120"/>
                    <a:gd name="T117" fmla="*/ 72 h 72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20" h="72">
                      <a:moveTo>
                        <a:pt x="16" y="48"/>
                      </a:moveTo>
                      <a:lnTo>
                        <a:pt x="0" y="56"/>
                      </a:lnTo>
                      <a:lnTo>
                        <a:pt x="0" y="64"/>
                      </a:lnTo>
                      <a:lnTo>
                        <a:pt x="8" y="72"/>
                      </a:lnTo>
                      <a:lnTo>
                        <a:pt x="24" y="64"/>
                      </a:lnTo>
                      <a:lnTo>
                        <a:pt x="40" y="56"/>
                      </a:lnTo>
                      <a:lnTo>
                        <a:pt x="56" y="56"/>
                      </a:lnTo>
                      <a:lnTo>
                        <a:pt x="64" y="56"/>
                      </a:lnTo>
                      <a:lnTo>
                        <a:pt x="72" y="64"/>
                      </a:lnTo>
                      <a:lnTo>
                        <a:pt x="80" y="56"/>
                      </a:lnTo>
                      <a:lnTo>
                        <a:pt x="96" y="56"/>
                      </a:lnTo>
                      <a:lnTo>
                        <a:pt x="120" y="48"/>
                      </a:lnTo>
                      <a:lnTo>
                        <a:pt x="120" y="40"/>
                      </a:lnTo>
                      <a:lnTo>
                        <a:pt x="112" y="32"/>
                      </a:lnTo>
                      <a:lnTo>
                        <a:pt x="112" y="24"/>
                      </a:lnTo>
                      <a:lnTo>
                        <a:pt x="96" y="16"/>
                      </a:lnTo>
                      <a:lnTo>
                        <a:pt x="96" y="8"/>
                      </a:lnTo>
                      <a:lnTo>
                        <a:pt x="88" y="8"/>
                      </a:lnTo>
                      <a:lnTo>
                        <a:pt x="80" y="16"/>
                      </a:lnTo>
                      <a:lnTo>
                        <a:pt x="72" y="16"/>
                      </a:lnTo>
                      <a:lnTo>
                        <a:pt x="72" y="8"/>
                      </a:lnTo>
                      <a:lnTo>
                        <a:pt x="80" y="8"/>
                      </a:lnTo>
                      <a:lnTo>
                        <a:pt x="80" y="0"/>
                      </a:lnTo>
                      <a:lnTo>
                        <a:pt x="64" y="0"/>
                      </a:lnTo>
                      <a:lnTo>
                        <a:pt x="64" y="8"/>
                      </a:lnTo>
                      <a:lnTo>
                        <a:pt x="56" y="8"/>
                      </a:lnTo>
                      <a:lnTo>
                        <a:pt x="56" y="0"/>
                      </a:lnTo>
                      <a:lnTo>
                        <a:pt x="48" y="0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32" y="16"/>
                      </a:lnTo>
                      <a:lnTo>
                        <a:pt x="40" y="16"/>
                      </a:lnTo>
                      <a:lnTo>
                        <a:pt x="32" y="24"/>
                      </a:lnTo>
                      <a:lnTo>
                        <a:pt x="32" y="32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16" y="4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97" name="Freeform 275">
                  <a:extLst>
                    <a:ext uri="{FF2B5EF4-FFF2-40B4-BE49-F238E27FC236}">
                      <a16:creationId xmlns:a16="http://schemas.microsoft.com/office/drawing/2014/main" id="{2643F76B-E978-0F1E-4E73-C910A9D3B2B2}"/>
                    </a:ext>
                  </a:extLst>
                </p:cNvPr>
                <p:cNvSpPr/>
                <p:nvPr/>
              </p:nvSpPr>
              <p:spPr bwMode="gray">
                <a:xfrm>
                  <a:off x="4100" y="1221"/>
                  <a:ext cx="101" cy="51"/>
                </a:xfrm>
                <a:custGeom>
                  <a:avLst/>
                  <a:gdLst>
                    <a:gd name="T0" fmla="*/ 30 w 144"/>
                    <a:gd name="T1" fmla="*/ 0 h 72"/>
                    <a:gd name="T2" fmla="*/ 22 w 144"/>
                    <a:gd name="T3" fmla="*/ 3 h 72"/>
                    <a:gd name="T4" fmla="*/ 14 w 144"/>
                    <a:gd name="T5" fmla="*/ 3 h 72"/>
                    <a:gd name="T6" fmla="*/ 11 w 144"/>
                    <a:gd name="T7" fmla="*/ 3 h 72"/>
                    <a:gd name="T8" fmla="*/ 8 w 144"/>
                    <a:gd name="T9" fmla="*/ 6 h 72"/>
                    <a:gd name="T10" fmla="*/ 8 w 144"/>
                    <a:gd name="T11" fmla="*/ 8 h 72"/>
                    <a:gd name="T12" fmla="*/ 6 w 144"/>
                    <a:gd name="T13" fmla="*/ 8 h 72"/>
                    <a:gd name="T14" fmla="*/ 3 w 144"/>
                    <a:gd name="T15" fmla="*/ 11 h 72"/>
                    <a:gd name="T16" fmla="*/ 0 w 144"/>
                    <a:gd name="T17" fmla="*/ 11 h 72"/>
                    <a:gd name="T18" fmla="*/ 6 w 144"/>
                    <a:gd name="T19" fmla="*/ 14 h 72"/>
                    <a:gd name="T20" fmla="*/ 8 w 144"/>
                    <a:gd name="T21" fmla="*/ 14 h 72"/>
                    <a:gd name="T22" fmla="*/ 8 w 144"/>
                    <a:gd name="T23" fmla="*/ 17 h 72"/>
                    <a:gd name="T24" fmla="*/ 8 w 144"/>
                    <a:gd name="T25" fmla="*/ 20 h 72"/>
                    <a:gd name="T26" fmla="*/ 14 w 144"/>
                    <a:gd name="T27" fmla="*/ 20 h 72"/>
                    <a:gd name="T28" fmla="*/ 17 w 144"/>
                    <a:gd name="T29" fmla="*/ 20 h 72"/>
                    <a:gd name="T30" fmla="*/ 30 w 144"/>
                    <a:gd name="T31" fmla="*/ 23 h 72"/>
                    <a:gd name="T32" fmla="*/ 30 w 144"/>
                    <a:gd name="T33" fmla="*/ 26 h 72"/>
                    <a:gd name="T34" fmla="*/ 33 w 144"/>
                    <a:gd name="T35" fmla="*/ 26 h 72"/>
                    <a:gd name="T36" fmla="*/ 47 w 144"/>
                    <a:gd name="T37" fmla="*/ 23 h 72"/>
                    <a:gd name="T38" fmla="*/ 41 w 144"/>
                    <a:gd name="T39" fmla="*/ 17 h 72"/>
                    <a:gd name="T40" fmla="*/ 44 w 144"/>
                    <a:gd name="T41" fmla="*/ 17 h 72"/>
                    <a:gd name="T42" fmla="*/ 47 w 144"/>
                    <a:gd name="T43" fmla="*/ 14 h 72"/>
                    <a:gd name="T44" fmla="*/ 50 w 144"/>
                    <a:gd name="T45" fmla="*/ 8 h 72"/>
                    <a:gd name="T46" fmla="*/ 44 w 144"/>
                    <a:gd name="T47" fmla="*/ 3 h 72"/>
                    <a:gd name="T48" fmla="*/ 41 w 144"/>
                    <a:gd name="T49" fmla="*/ 3 h 72"/>
                    <a:gd name="T50" fmla="*/ 36 w 144"/>
                    <a:gd name="T51" fmla="*/ 6 h 72"/>
                    <a:gd name="T52" fmla="*/ 33 w 144"/>
                    <a:gd name="T53" fmla="*/ 6 h 72"/>
                    <a:gd name="T54" fmla="*/ 30 w 144"/>
                    <a:gd name="T55" fmla="*/ 6 h 72"/>
                    <a:gd name="T56" fmla="*/ 36 w 144"/>
                    <a:gd name="T57" fmla="*/ 3 h 72"/>
                    <a:gd name="T58" fmla="*/ 30 w 144"/>
                    <a:gd name="T59" fmla="*/ 0 h 7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44"/>
                    <a:gd name="T91" fmla="*/ 0 h 72"/>
                    <a:gd name="T92" fmla="*/ 144 w 144"/>
                    <a:gd name="T93" fmla="*/ 72 h 72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44" h="72">
                      <a:moveTo>
                        <a:pt x="88" y="0"/>
                      </a:moveTo>
                      <a:lnTo>
                        <a:pt x="64" y="8"/>
                      </a:lnTo>
                      <a:lnTo>
                        <a:pt x="40" y="8"/>
                      </a:lnTo>
                      <a:lnTo>
                        <a:pt x="32" y="8"/>
                      </a:lnTo>
                      <a:lnTo>
                        <a:pt x="24" y="16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16" y="40"/>
                      </a:lnTo>
                      <a:lnTo>
                        <a:pt x="24" y="40"/>
                      </a:lnTo>
                      <a:lnTo>
                        <a:pt x="24" y="48"/>
                      </a:lnTo>
                      <a:lnTo>
                        <a:pt x="24" y="56"/>
                      </a:lnTo>
                      <a:lnTo>
                        <a:pt x="40" y="56"/>
                      </a:lnTo>
                      <a:lnTo>
                        <a:pt x="48" y="56"/>
                      </a:lnTo>
                      <a:lnTo>
                        <a:pt x="88" y="64"/>
                      </a:lnTo>
                      <a:lnTo>
                        <a:pt x="88" y="72"/>
                      </a:lnTo>
                      <a:lnTo>
                        <a:pt x="96" y="72"/>
                      </a:lnTo>
                      <a:lnTo>
                        <a:pt x="136" y="64"/>
                      </a:lnTo>
                      <a:lnTo>
                        <a:pt x="120" y="48"/>
                      </a:lnTo>
                      <a:lnTo>
                        <a:pt x="128" y="48"/>
                      </a:lnTo>
                      <a:lnTo>
                        <a:pt x="136" y="40"/>
                      </a:lnTo>
                      <a:lnTo>
                        <a:pt x="144" y="24"/>
                      </a:lnTo>
                      <a:lnTo>
                        <a:pt x="128" y="8"/>
                      </a:lnTo>
                      <a:lnTo>
                        <a:pt x="120" y="8"/>
                      </a:lnTo>
                      <a:lnTo>
                        <a:pt x="104" y="16"/>
                      </a:lnTo>
                      <a:lnTo>
                        <a:pt x="96" y="16"/>
                      </a:lnTo>
                      <a:lnTo>
                        <a:pt x="88" y="16"/>
                      </a:lnTo>
                      <a:lnTo>
                        <a:pt x="104" y="8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98" name="Freeform 276">
                  <a:extLst>
                    <a:ext uri="{FF2B5EF4-FFF2-40B4-BE49-F238E27FC236}">
                      <a16:creationId xmlns:a16="http://schemas.microsoft.com/office/drawing/2014/main" id="{73286878-DF31-1C12-0AAC-2A05657CB80C}"/>
                    </a:ext>
                  </a:extLst>
                </p:cNvPr>
                <p:cNvSpPr/>
                <p:nvPr/>
              </p:nvSpPr>
              <p:spPr bwMode="gray">
                <a:xfrm>
                  <a:off x="4072" y="1182"/>
                  <a:ext cx="96" cy="45"/>
                </a:xfrm>
                <a:custGeom>
                  <a:avLst/>
                  <a:gdLst>
                    <a:gd name="T0" fmla="*/ 3 w 136"/>
                    <a:gd name="T1" fmla="*/ 14 h 64"/>
                    <a:gd name="T2" fmla="*/ 0 w 136"/>
                    <a:gd name="T3" fmla="*/ 17 h 64"/>
                    <a:gd name="T4" fmla="*/ 3 w 136"/>
                    <a:gd name="T5" fmla="*/ 19 h 64"/>
                    <a:gd name="T6" fmla="*/ 8 w 136"/>
                    <a:gd name="T7" fmla="*/ 19 h 64"/>
                    <a:gd name="T8" fmla="*/ 14 w 136"/>
                    <a:gd name="T9" fmla="*/ 23 h 64"/>
                    <a:gd name="T10" fmla="*/ 23 w 136"/>
                    <a:gd name="T11" fmla="*/ 23 h 64"/>
                    <a:gd name="T12" fmla="*/ 25 w 136"/>
                    <a:gd name="T13" fmla="*/ 19 h 64"/>
                    <a:gd name="T14" fmla="*/ 31 w 136"/>
                    <a:gd name="T15" fmla="*/ 19 h 64"/>
                    <a:gd name="T16" fmla="*/ 45 w 136"/>
                    <a:gd name="T17" fmla="*/ 19 h 64"/>
                    <a:gd name="T18" fmla="*/ 42 w 136"/>
                    <a:gd name="T19" fmla="*/ 17 h 64"/>
                    <a:gd name="T20" fmla="*/ 42 w 136"/>
                    <a:gd name="T21" fmla="*/ 14 h 64"/>
                    <a:gd name="T22" fmla="*/ 48 w 136"/>
                    <a:gd name="T23" fmla="*/ 11 h 64"/>
                    <a:gd name="T24" fmla="*/ 48 w 136"/>
                    <a:gd name="T25" fmla="*/ 8 h 64"/>
                    <a:gd name="T26" fmla="*/ 40 w 136"/>
                    <a:gd name="T27" fmla="*/ 6 h 64"/>
                    <a:gd name="T28" fmla="*/ 37 w 136"/>
                    <a:gd name="T29" fmla="*/ 3 h 64"/>
                    <a:gd name="T30" fmla="*/ 34 w 136"/>
                    <a:gd name="T31" fmla="*/ 0 h 64"/>
                    <a:gd name="T32" fmla="*/ 28 w 136"/>
                    <a:gd name="T33" fmla="*/ 0 h 64"/>
                    <a:gd name="T34" fmla="*/ 28 w 136"/>
                    <a:gd name="T35" fmla="*/ 3 h 64"/>
                    <a:gd name="T36" fmla="*/ 14 w 136"/>
                    <a:gd name="T37" fmla="*/ 8 h 64"/>
                    <a:gd name="T38" fmla="*/ 8 w 136"/>
                    <a:gd name="T39" fmla="*/ 11 h 64"/>
                    <a:gd name="T40" fmla="*/ 11 w 136"/>
                    <a:gd name="T41" fmla="*/ 14 h 64"/>
                    <a:gd name="T42" fmla="*/ 8 w 136"/>
                    <a:gd name="T43" fmla="*/ 14 h 64"/>
                    <a:gd name="T44" fmla="*/ 3 w 136"/>
                    <a:gd name="T45" fmla="*/ 14 h 6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36"/>
                    <a:gd name="T70" fmla="*/ 0 h 64"/>
                    <a:gd name="T71" fmla="*/ 136 w 136"/>
                    <a:gd name="T72" fmla="*/ 64 h 6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36" h="64">
                      <a:moveTo>
                        <a:pt x="8" y="40"/>
                      </a:moveTo>
                      <a:lnTo>
                        <a:pt x="0" y="48"/>
                      </a:lnTo>
                      <a:lnTo>
                        <a:pt x="8" y="56"/>
                      </a:lnTo>
                      <a:lnTo>
                        <a:pt x="24" y="56"/>
                      </a:lnTo>
                      <a:lnTo>
                        <a:pt x="40" y="64"/>
                      </a:lnTo>
                      <a:lnTo>
                        <a:pt x="64" y="64"/>
                      </a:lnTo>
                      <a:lnTo>
                        <a:pt x="72" y="56"/>
                      </a:lnTo>
                      <a:lnTo>
                        <a:pt x="88" y="56"/>
                      </a:lnTo>
                      <a:lnTo>
                        <a:pt x="128" y="56"/>
                      </a:lnTo>
                      <a:lnTo>
                        <a:pt x="120" y="48"/>
                      </a:lnTo>
                      <a:lnTo>
                        <a:pt x="120" y="40"/>
                      </a:lnTo>
                      <a:lnTo>
                        <a:pt x="136" y="32"/>
                      </a:lnTo>
                      <a:lnTo>
                        <a:pt x="136" y="24"/>
                      </a:lnTo>
                      <a:lnTo>
                        <a:pt x="112" y="16"/>
                      </a:lnTo>
                      <a:lnTo>
                        <a:pt x="104" y="8"/>
                      </a:lnTo>
                      <a:lnTo>
                        <a:pt x="96" y="0"/>
                      </a:lnTo>
                      <a:lnTo>
                        <a:pt x="80" y="0"/>
                      </a:lnTo>
                      <a:lnTo>
                        <a:pt x="80" y="8"/>
                      </a:lnTo>
                      <a:lnTo>
                        <a:pt x="40" y="24"/>
                      </a:lnTo>
                      <a:lnTo>
                        <a:pt x="24" y="32"/>
                      </a:lnTo>
                      <a:lnTo>
                        <a:pt x="32" y="40"/>
                      </a:lnTo>
                      <a:lnTo>
                        <a:pt x="24" y="40"/>
                      </a:lnTo>
                      <a:lnTo>
                        <a:pt x="8" y="4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99" name="Freeform 277">
                  <a:extLst>
                    <a:ext uri="{FF2B5EF4-FFF2-40B4-BE49-F238E27FC236}">
                      <a16:creationId xmlns:a16="http://schemas.microsoft.com/office/drawing/2014/main" id="{6D3173D3-C3EE-7A3E-A649-57C538944FCC}"/>
                    </a:ext>
                  </a:extLst>
                </p:cNvPr>
                <p:cNvSpPr/>
                <p:nvPr/>
              </p:nvSpPr>
              <p:spPr bwMode="gray">
                <a:xfrm>
                  <a:off x="4066" y="1227"/>
                  <a:ext cx="40" cy="16"/>
                </a:xfrm>
                <a:custGeom>
                  <a:avLst/>
                  <a:gdLst>
                    <a:gd name="T0" fmla="*/ 17 w 56"/>
                    <a:gd name="T1" fmla="*/ 2 h 24"/>
                    <a:gd name="T2" fmla="*/ 15 w 56"/>
                    <a:gd name="T3" fmla="*/ 2 h 24"/>
                    <a:gd name="T4" fmla="*/ 9 w 56"/>
                    <a:gd name="T5" fmla="*/ 0 h 24"/>
                    <a:gd name="T6" fmla="*/ 0 w 56"/>
                    <a:gd name="T7" fmla="*/ 0 h 24"/>
                    <a:gd name="T8" fmla="*/ 3 w 56"/>
                    <a:gd name="T9" fmla="*/ 0 h 24"/>
                    <a:gd name="T10" fmla="*/ 6 w 56"/>
                    <a:gd name="T11" fmla="*/ 2 h 24"/>
                    <a:gd name="T12" fmla="*/ 6 w 56"/>
                    <a:gd name="T13" fmla="*/ 5 h 24"/>
                    <a:gd name="T14" fmla="*/ 9 w 56"/>
                    <a:gd name="T15" fmla="*/ 5 h 24"/>
                    <a:gd name="T16" fmla="*/ 11 w 56"/>
                    <a:gd name="T17" fmla="*/ 5 h 24"/>
                    <a:gd name="T18" fmla="*/ 9 w 56"/>
                    <a:gd name="T19" fmla="*/ 5 h 24"/>
                    <a:gd name="T20" fmla="*/ 11 w 56"/>
                    <a:gd name="T21" fmla="*/ 7 h 24"/>
                    <a:gd name="T22" fmla="*/ 15 w 56"/>
                    <a:gd name="T23" fmla="*/ 5 h 24"/>
                    <a:gd name="T24" fmla="*/ 21 w 56"/>
                    <a:gd name="T25" fmla="*/ 2 h 24"/>
                    <a:gd name="T26" fmla="*/ 17 w 56"/>
                    <a:gd name="T27" fmla="*/ 2 h 2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24"/>
                    <a:gd name="T44" fmla="*/ 56 w 56"/>
                    <a:gd name="T45" fmla="*/ 24 h 2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24">
                      <a:moveTo>
                        <a:pt x="48" y="8"/>
                      </a:moveTo>
                      <a:lnTo>
                        <a:pt x="40" y="8"/>
                      </a:lnTo>
                      <a:lnTo>
                        <a:pt x="24" y="0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40" y="16"/>
                      </a:lnTo>
                      <a:lnTo>
                        <a:pt x="56" y="8"/>
                      </a:lnTo>
                      <a:lnTo>
                        <a:pt x="48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00" name="Freeform 278">
                  <a:extLst>
                    <a:ext uri="{FF2B5EF4-FFF2-40B4-BE49-F238E27FC236}">
                      <a16:creationId xmlns:a16="http://schemas.microsoft.com/office/drawing/2014/main" id="{C78AEA14-1A78-D160-6BA1-3BAA2AADDF2E}"/>
                    </a:ext>
                  </a:extLst>
                </p:cNvPr>
                <p:cNvSpPr/>
                <p:nvPr/>
              </p:nvSpPr>
              <p:spPr bwMode="gray">
                <a:xfrm>
                  <a:off x="3526" y="1322"/>
                  <a:ext cx="225" cy="107"/>
                </a:xfrm>
                <a:custGeom>
                  <a:avLst/>
                  <a:gdLst>
                    <a:gd name="T0" fmla="*/ 14 w 320"/>
                    <a:gd name="T1" fmla="*/ 48 h 152"/>
                    <a:gd name="T2" fmla="*/ 6 w 320"/>
                    <a:gd name="T3" fmla="*/ 50 h 152"/>
                    <a:gd name="T4" fmla="*/ 14 w 320"/>
                    <a:gd name="T5" fmla="*/ 50 h 152"/>
                    <a:gd name="T6" fmla="*/ 23 w 320"/>
                    <a:gd name="T7" fmla="*/ 53 h 152"/>
                    <a:gd name="T8" fmla="*/ 31 w 320"/>
                    <a:gd name="T9" fmla="*/ 42 h 152"/>
                    <a:gd name="T10" fmla="*/ 36 w 320"/>
                    <a:gd name="T11" fmla="*/ 39 h 152"/>
                    <a:gd name="T12" fmla="*/ 39 w 320"/>
                    <a:gd name="T13" fmla="*/ 36 h 152"/>
                    <a:gd name="T14" fmla="*/ 44 w 320"/>
                    <a:gd name="T15" fmla="*/ 34 h 152"/>
                    <a:gd name="T16" fmla="*/ 50 w 320"/>
                    <a:gd name="T17" fmla="*/ 31 h 152"/>
                    <a:gd name="T18" fmla="*/ 58 w 320"/>
                    <a:gd name="T19" fmla="*/ 25 h 152"/>
                    <a:gd name="T20" fmla="*/ 64 w 320"/>
                    <a:gd name="T21" fmla="*/ 19 h 152"/>
                    <a:gd name="T22" fmla="*/ 72 w 320"/>
                    <a:gd name="T23" fmla="*/ 17 h 152"/>
                    <a:gd name="T24" fmla="*/ 84 w 320"/>
                    <a:gd name="T25" fmla="*/ 17 h 152"/>
                    <a:gd name="T26" fmla="*/ 101 w 320"/>
                    <a:gd name="T27" fmla="*/ 11 h 152"/>
                    <a:gd name="T28" fmla="*/ 108 w 320"/>
                    <a:gd name="T29" fmla="*/ 8 h 152"/>
                    <a:gd name="T30" fmla="*/ 108 w 320"/>
                    <a:gd name="T31" fmla="*/ 3 h 152"/>
                    <a:gd name="T32" fmla="*/ 94 w 320"/>
                    <a:gd name="T33" fmla="*/ 3 h 152"/>
                    <a:gd name="T34" fmla="*/ 89 w 320"/>
                    <a:gd name="T35" fmla="*/ 6 h 152"/>
                    <a:gd name="T36" fmla="*/ 61 w 320"/>
                    <a:gd name="T37" fmla="*/ 11 h 152"/>
                    <a:gd name="T38" fmla="*/ 56 w 320"/>
                    <a:gd name="T39" fmla="*/ 14 h 152"/>
                    <a:gd name="T40" fmla="*/ 48 w 320"/>
                    <a:gd name="T41" fmla="*/ 14 h 152"/>
                    <a:gd name="T42" fmla="*/ 36 w 320"/>
                    <a:gd name="T43" fmla="*/ 17 h 152"/>
                    <a:gd name="T44" fmla="*/ 31 w 320"/>
                    <a:gd name="T45" fmla="*/ 23 h 152"/>
                    <a:gd name="T46" fmla="*/ 19 w 320"/>
                    <a:gd name="T47" fmla="*/ 25 h 152"/>
                    <a:gd name="T48" fmla="*/ 14 w 320"/>
                    <a:gd name="T49" fmla="*/ 25 h 152"/>
                    <a:gd name="T50" fmla="*/ 19 w 320"/>
                    <a:gd name="T51" fmla="*/ 31 h 152"/>
                    <a:gd name="T52" fmla="*/ 17 w 320"/>
                    <a:gd name="T53" fmla="*/ 34 h 152"/>
                    <a:gd name="T54" fmla="*/ 14 w 320"/>
                    <a:gd name="T55" fmla="*/ 36 h 152"/>
                    <a:gd name="T56" fmla="*/ 14 w 320"/>
                    <a:gd name="T57" fmla="*/ 42 h 152"/>
                    <a:gd name="T58" fmla="*/ 8 w 320"/>
                    <a:gd name="T59" fmla="*/ 42 h 152"/>
                    <a:gd name="T60" fmla="*/ 3 w 320"/>
                    <a:gd name="T61" fmla="*/ 44 h 152"/>
                    <a:gd name="T62" fmla="*/ 6 w 320"/>
                    <a:gd name="T63" fmla="*/ 48 h 152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20"/>
                    <a:gd name="T97" fmla="*/ 0 h 152"/>
                    <a:gd name="T98" fmla="*/ 320 w 320"/>
                    <a:gd name="T99" fmla="*/ 152 h 152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20" h="152">
                      <a:moveTo>
                        <a:pt x="32" y="136"/>
                      </a:moveTo>
                      <a:lnTo>
                        <a:pt x="40" y="136"/>
                      </a:lnTo>
                      <a:lnTo>
                        <a:pt x="24" y="136"/>
                      </a:lnTo>
                      <a:lnTo>
                        <a:pt x="16" y="144"/>
                      </a:lnTo>
                      <a:lnTo>
                        <a:pt x="16" y="152"/>
                      </a:lnTo>
                      <a:lnTo>
                        <a:pt x="40" y="144"/>
                      </a:lnTo>
                      <a:lnTo>
                        <a:pt x="48" y="152"/>
                      </a:lnTo>
                      <a:lnTo>
                        <a:pt x="64" y="152"/>
                      </a:lnTo>
                      <a:lnTo>
                        <a:pt x="80" y="128"/>
                      </a:lnTo>
                      <a:lnTo>
                        <a:pt x="88" y="120"/>
                      </a:lnTo>
                      <a:lnTo>
                        <a:pt x="96" y="120"/>
                      </a:lnTo>
                      <a:lnTo>
                        <a:pt x="104" y="112"/>
                      </a:lnTo>
                      <a:lnTo>
                        <a:pt x="104" y="104"/>
                      </a:lnTo>
                      <a:lnTo>
                        <a:pt x="112" y="104"/>
                      </a:lnTo>
                      <a:lnTo>
                        <a:pt x="112" y="96"/>
                      </a:lnTo>
                      <a:lnTo>
                        <a:pt x="128" y="96"/>
                      </a:lnTo>
                      <a:lnTo>
                        <a:pt x="136" y="88"/>
                      </a:lnTo>
                      <a:lnTo>
                        <a:pt x="144" y="88"/>
                      </a:lnTo>
                      <a:lnTo>
                        <a:pt x="144" y="80"/>
                      </a:lnTo>
                      <a:lnTo>
                        <a:pt x="168" y="72"/>
                      </a:lnTo>
                      <a:lnTo>
                        <a:pt x="176" y="64"/>
                      </a:lnTo>
                      <a:lnTo>
                        <a:pt x="184" y="56"/>
                      </a:lnTo>
                      <a:lnTo>
                        <a:pt x="200" y="56"/>
                      </a:lnTo>
                      <a:lnTo>
                        <a:pt x="208" y="48"/>
                      </a:lnTo>
                      <a:lnTo>
                        <a:pt x="224" y="48"/>
                      </a:lnTo>
                      <a:lnTo>
                        <a:pt x="240" y="48"/>
                      </a:lnTo>
                      <a:lnTo>
                        <a:pt x="264" y="40"/>
                      </a:lnTo>
                      <a:lnTo>
                        <a:pt x="288" y="32"/>
                      </a:lnTo>
                      <a:lnTo>
                        <a:pt x="312" y="32"/>
                      </a:lnTo>
                      <a:lnTo>
                        <a:pt x="312" y="24"/>
                      </a:lnTo>
                      <a:lnTo>
                        <a:pt x="320" y="16"/>
                      </a:lnTo>
                      <a:lnTo>
                        <a:pt x="312" y="8"/>
                      </a:lnTo>
                      <a:lnTo>
                        <a:pt x="288" y="0"/>
                      </a:lnTo>
                      <a:lnTo>
                        <a:pt x="272" y="8"/>
                      </a:lnTo>
                      <a:lnTo>
                        <a:pt x="256" y="8"/>
                      </a:lnTo>
                      <a:lnTo>
                        <a:pt x="256" y="16"/>
                      </a:lnTo>
                      <a:lnTo>
                        <a:pt x="200" y="24"/>
                      </a:lnTo>
                      <a:lnTo>
                        <a:pt x="176" y="32"/>
                      </a:lnTo>
                      <a:lnTo>
                        <a:pt x="152" y="32"/>
                      </a:lnTo>
                      <a:lnTo>
                        <a:pt x="160" y="40"/>
                      </a:lnTo>
                      <a:lnTo>
                        <a:pt x="144" y="40"/>
                      </a:lnTo>
                      <a:lnTo>
                        <a:pt x="136" y="40"/>
                      </a:lnTo>
                      <a:lnTo>
                        <a:pt x="120" y="48"/>
                      </a:lnTo>
                      <a:lnTo>
                        <a:pt x="104" y="48"/>
                      </a:lnTo>
                      <a:lnTo>
                        <a:pt x="96" y="48"/>
                      </a:lnTo>
                      <a:lnTo>
                        <a:pt x="88" y="64"/>
                      </a:lnTo>
                      <a:lnTo>
                        <a:pt x="72" y="64"/>
                      </a:lnTo>
                      <a:lnTo>
                        <a:pt x="56" y="72"/>
                      </a:lnTo>
                      <a:lnTo>
                        <a:pt x="48" y="72"/>
                      </a:lnTo>
                      <a:lnTo>
                        <a:pt x="40" y="72"/>
                      </a:lnTo>
                      <a:lnTo>
                        <a:pt x="48" y="80"/>
                      </a:lnTo>
                      <a:lnTo>
                        <a:pt x="56" y="88"/>
                      </a:lnTo>
                      <a:lnTo>
                        <a:pt x="48" y="88"/>
                      </a:lnTo>
                      <a:lnTo>
                        <a:pt x="48" y="96"/>
                      </a:lnTo>
                      <a:lnTo>
                        <a:pt x="56" y="96"/>
                      </a:lnTo>
                      <a:lnTo>
                        <a:pt x="40" y="104"/>
                      </a:lnTo>
                      <a:lnTo>
                        <a:pt x="48" y="112"/>
                      </a:lnTo>
                      <a:lnTo>
                        <a:pt x="40" y="120"/>
                      </a:lnTo>
                      <a:lnTo>
                        <a:pt x="24" y="112"/>
                      </a:lnTo>
                      <a:lnTo>
                        <a:pt x="24" y="120"/>
                      </a:lnTo>
                      <a:lnTo>
                        <a:pt x="16" y="128"/>
                      </a:lnTo>
                      <a:lnTo>
                        <a:pt x="8" y="128"/>
                      </a:lnTo>
                      <a:lnTo>
                        <a:pt x="0" y="128"/>
                      </a:lnTo>
                      <a:lnTo>
                        <a:pt x="16" y="136"/>
                      </a:lnTo>
                      <a:lnTo>
                        <a:pt x="32" y="13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01" name="Freeform 279">
                  <a:extLst>
                    <a:ext uri="{FF2B5EF4-FFF2-40B4-BE49-F238E27FC236}">
                      <a16:creationId xmlns:a16="http://schemas.microsoft.com/office/drawing/2014/main" id="{8C723556-2125-3737-A94F-BB861B2EFD74}"/>
                    </a:ext>
                  </a:extLst>
                </p:cNvPr>
                <p:cNvSpPr/>
                <p:nvPr/>
              </p:nvSpPr>
              <p:spPr bwMode="gray">
                <a:xfrm>
                  <a:off x="3498" y="1429"/>
                  <a:ext cx="84" cy="79"/>
                </a:xfrm>
                <a:custGeom>
                  <a:avLst/>
                  <a:gdLst>
                    <a:gd name="T0" fmla="*/ 3 w 120"/>
                    <a:gd name="T1" fmla="*/ 28 h 112"/>
                    <a:gd name="T2" fmla="*/ 6 w 120"/>
                    <a:gd name="T3" fmla="*/ 25 h 112"/>
                    <a:gd name="T4" fmla="*/ 8 w 120"/>
                    <a:gd name="T5" fmla="*/ 28 h 112"/>
                    <a:gd name="T6" fmla="*/ 11 w 120"/>
                    <a:gd name="T7" fmla="*/ 28 h 112"/>
                    <a:gd name="T8" fmla="*/ 17 w 120"/>
                    <a:gd name="T9" fmla="*/ 28 h 112"/>
                    <a:gd name="T10" fmla="*/ 14 w 120"/>
                    <a:gd name="T11" fmla="*/ 34 h 112"/>
                    <a:gd name="T12" fmla="*/ 14 w 120"/>
                    <a:gd name="T13" fmla="*/ 36 h 112"/>
                    <a:gd name="T14" fmla="*/ 19 w 120"/>
                    <a:gd name="T15" fmla="*/ 36 h 112"/>
                    <a:gd name="T16" fmla="*/ 27 w 120"/>
                    <a:gd name="T17" fmla="*/ 40 h 112"/>
                    <a:gd name="T18" fmla="*/ 33 w 120"/>
                    <a:gd name="T19" fmla="*/ 40 h 112"/>
                    <a:gd name="T20" fmla="*/ 39 w 120"/>
                    <a:gd name="T21" fmla="*/ 36 h 112"/>
                    <a:gd name="T22" fmla="*/ 41 w 120"/>
                    <a:gd name="T23" fmla="*/ 34 h 112"/>
                    <a:gd name="T24" fmla="*/ 27 w 120"/>
                    <a:gd name="T25" fmla="*/ 28 h 112"/>
                    <a:gd name="T26" fmla="*/ 25 w 120"/>
                    <a:gd name="T27" fmla="*/ 23 h 112"/>
                    <a:gd name="T28" fmla="*/ 27 w 120"/>
                    <a:gd name="T29" fmla="*/ 11 h 112"/>
                    <a:gd name="T30" fmla="*/ 30 w 120"/>
                    <a:gd name="T31" fmla="*/ 11 h 112"/>
                    <a:gd name="T32" fmla="*/ 33 w 120"/>
                    <a:gd name="T33" fmla="*/ 3 h 112"/>
                    <a:gd name="T34" fmla="*/ 27 w 120"/>
                    <a:gd name="T35" fmla="*/ 0 h 112"/>
                    <a:gd name="T36" fmla="*/ 14 w 120"/>
                    <a:gd name="T37" fmla="*/ 0 h 112"/>
                    <a:gd name="T38" fmla="*/ 11 w 120"/>
                    <a:gd name="T39" fmla="*/ 6 h 112"/>
                    <a:gd name="T40" fmla="*/ 8 w 120"/>
                    <a:gd name="T41" fmla="*/ 6 h 112"/>
                    <a:gd name="T42" fmla="*/ 6 w 120"/>
                    <a:gd name="T43" fmla="*/ 8 h 112"/>
                    <a:gd name="T44" fmla="*/ 8 w 120"/>
                    <a:gd name="T45" fmla="*/ 11 h 112"/>
                    <a:gd name="T46" fmla="*/ 8 w 120"/>
                    <a:gd name="T47" fmla="*/ 14 h 112"/>
                    <a:gd name="T48" fmla="*/ 6 w 120"/>
                    <a:gd name="T49" fmla="*/ 17 h 112"/>
                    <a:gd name="T50" fmla="*/ 0 w 120"/>
                    <a:gd name="T51" fmla="*/ 17 h 112"/>
                    <a:gd name="T52" fmla="*/ 0 w 120"/>
                    <a:gd name="T53" fmla="*/ 23 h 112"/>
                    <a:gd name="T54" fmla="*/ 0 w 120"/>
                    <a:gd name="T55" fmla="*/ 25 h 112"/>
                    <a:gd name="T56" fmla="*/ 3 w 120"/>
                    <a:gd name="T57" fmla="*/ 28 h 11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20"/>
                    <a:gd name="T88" fmla="*/ 0 h 112"/>
                    <a:gd name="T89" fmla="*/ 120 w 120"/>
                    <a:gd name="T90" fmla="*/ 112 h 112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20" h="112">
                      <a:moveTo>
                        <a:pt x="8" y="80"/>
                      </a:moveTo>
                      <a:lnTo>
                        <a:pt x="16" y="72"/>
                      </a:lnTo>
                      <a:lnTo>
                        <a:pt x="24" y="80"/>
                      </a:lnTo>
                      <a:lnTo>
                        <a:pt x="32" y="80"/>
                      </a:lnTo>
                      <a:lnTo>
                        <a:pt x="48" y="80"/>
                      </a:lnTo>
                      <a:lnTo>
                        <a:pt x="40" y="96"/>
                      </a:lnTo>
                      <a:lnTo>
                        <a:pt x="40" y="104"/>
                      </a:lnTo>
                      <a:lnTo>
                        <a:pt x="56" y="104"/>
                      </a:lnTo>
                      <a:lnTo>
                        <a:pt x="80" y="112"/>
                      </a:lnTo>
                      <a:lnTo>
                        <a:pt x="96" y="112"/>
                      </a:lnTo>
                      <a:lnTo>
                        <a:pt x="112" y="104"/>
                      </a:lnTo>
                      <a:lnTo>
                        <a:pt x="120" y="96"/>
                      </a:lnTo>
                      <a:lnTo>
                        <a:pt x="80" y="80"/>
                      </a:lnTo>
                      <a:lnTo>
                        <a:pt x="72" y="64"/>
                      </a:lnTo>
                      <a:lnTo>
                        <a:pt x="80" y="32"/>
                      </a:lnTo>
                      <a:lnTo>
                        <a:pt x="88" y="32"/>
                      </a:lnTo>
                      <a:lnTo>
                        <a:pt x="96" y="8"/>
                      </a:lnTo>
                      <a:lnTo>
                        <a:pt x="80" y="0"/>
                      </a:lnTo>
                      <a:lnTo>
                        <a:pt x="40" y="0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24" y="40"/>
                      </a:lnTo>
                      <a:lnTo>
                        <a:pt x="16" y="48"/>
                      </a:lnTo>
                      <a:lnTo>
                        <a:pt x="0" y="48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8" y="8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02" name="Freeform 280">
                  <a:extLst>
                    <a:ext uri="{FF2B5EF4-FFF2-40B4-BE49-F238E27FC236}">
                      <a16:creationId xmlns:a16="http://schemas.microsoft.com/office/drawing/2014/main" id="{42A8962F-3A07-35BE-E827-AB1AC4674D27}"/>
                    </a:ext>
                  </a:extLst>
                </p:cNvPr>
                <p:cNvSpPr/>
                <p:nvPr/>
              </p:nvSpPr>
              <p:spPr bwMode="gray">
                <a:xfrm>
                  <a:off x="4803" y="1958"/>
                  <a:ext cx="46" cy="186"/>
                </a:xfrm>
                <a:custGeom>
                  <a:avLst/>
                  <a:gdLst>
                    <a:gd name="T0" fmla="*/ 3 w 64"/>
                    <a:gd name="T1" fmla="*/ 34 h 264"/>
                    <a:gd name="T2" fmla="*/ 3 w 64"/>
                    <a:gd name="T3" fmla="*/ 36 h 264"/>
                    <a:gd name="T4" fmla="*/ 3 w 64"/>
                    <a:gd name="T5" fmla="*/ 48 h 264"/>
                    <a:gd name="T6" fmla="*/ 6 w 64"/>
                    <a:gd name="T7" fmla="*/ 53 h 264"/>
                    <a:gd name="T8" fmla="*/ 3 w 64"/>
                    <a:gd name="T9" fmla="*/ 58 h 264"/>
                    <a:gd name="T10" fmla="*/ 3 w 64"/>
                    <a:gd name="T11" fmla="*/ 65 h 264"/>
                    <a:gd name="T12" fmla="*/ 3 w 64"/>
                    <a:gd name="T13" fmla="*/ 70 h 264"/>
                    <a:gd name="T14" fmla="*/ 3 w 64"/>
                    <a:gd name="T15" fmla="*/ 75 h 264"/>
                    <a:gd name="T16" fmla="*/ 3 w 64"/>
                    <a:gd name="T17" fmla="*/ 81 h 264"/>
                    <a:gd name="T18" fmla="*/ 3 w 64"/>
                    <a:gd name="T19" fmla="*/ 92 h 264"/>
                    <a:gd name="T20" fmla="*/ 3 w 64"/>
                    <a:gd name="T21" fmla="*/ 89 h 264"/>
                    <a:gd name="T22" fmla="*/ 6 w 64"/>
                    <a:gd name="T23" fmla="*/ 87 h 264"/>
                    <a:gd name="T24" fmla="*/ 9 w 64"/>
                    <a:gd name="T25" fmla="*/ 87 h 264"/>
                    <a:gd name="T26" fmla="*/ 12 w 64"/>
                    <a:gd name="T27" fmla="*/ 89 h 264"/>
                    <a:gd name="T28" fmla="*/ 15 w 64"/>
                    <a:gd name="T29" fmla="*/ 89 h 264"/>
                    <a:gd name="T30" fmla="*/ 15 w 64"/>
                    <a:gd name="T31" fmla="*/ 84 h 264"/>
                    <a:gd name="T32" fmla="*/ 12 w 64"/>
                    <a:gd name="T33" fmla="*/ 81 h 264"/>
                    <a:gd name="T34" fmla="*/ 9 w 64"/>
                    <a:gd name="T35" fmla="*/ 78 h 264"/>
                    <a:gd name="T36" fmla="*/ 9 w 64"/>
                    <a:gd name="T37" fmla="*/ 70 h 264"/>
                    <a:gd name="T38" fmla="*/ 9 w 64"/>
                    <a:gd name="T39" fmla="*/ 67 h 264"/>
                    <a:gd name="T40" fmla="*/ 12 w 64"/>
                    <a:gd name="T41" fmla="*/ 65 h 264"/>
                    <a:gd name="T42" fmla="*/ 12 w 64"/>
                    <a:gd name="T43" fmla="*/ 56 h 264"/>
                    <a:gd name="T44" fmla="*/ 18 w 64"/>
                    <a:gd name="T45" fmla="*/ 56 h 264"/>
                    <a:gd name="T46" fmla="*/ 21 w 64"/>
                    <a:gd name="T47" fmla="*/ 61 h 264"/>
                    <a:gd name="T48" fmla="*/ 24 w 64"/>
                    <a:gd name="T49" fmla="*/ 61 h 264"/>
                    <a:gd name="T50" fmla="*/ 24 w 64"/>
                    <a:gd name="T51" fmla="*/ 56 h 264"/>
                    <a:gd name="T52" fmla="*/ 18 w 64"/>
                    <a:gd name="T53" fmla="*/ 53 h 264"/>
                    <a:gd name="T54" fmla="*/ 18 w 64"/>
                    <a:gd name="T55" fmla="*/ 44 h 264"/>
                    <a:gd name="T56" fmla="*/ 15 w 64"/>
                    <a:gd name="T57" fmla="*/ 36 h 264"/>
                    <a:gd name="T58" fmla="*/ 12 w 64"/>
                    <a:gd name="T59" fmla="*/ 25 h 264"/>
                    <a:gd name="T60" fmla="*/ 12 w 64"/>
                    <a:gd name="T61" fmla="*/ 17 h 264"/>
                    <a:gd name="T62" fmla="*/ 12 w 64"/>
                    <a:gd name="T63" fmla="*/ 11 h 264"/>
                    <a:gd name="T64" fmla="*/ 12 w 64"/>
                    <a:gd name="T65" fmla="*/ 3 h 264"/>
                    <a:gd name="T66" fmla="*/ 9 w 64"/>
                    <a:gd name="T67" fmla="*/ 0 h 264"/>
                    <a:gd name="T68" fmla="*/ 6 w 64"/>
                    <a:gd name="T69" fmla="*/ 0 h 264"/>
                    <a:gd name="T70" fmla="*/ 6 w 64"/>
                    <a:gd name="T71" fmla="*/ 8 h 264"/>
                    <a:gd name="T72" fmla="*/ 3 w 64"/>
                    <a:gd name="T73" fmla="*/ 8 h 264"/>
                    <a:gd name="T74" fmla="*/ 0 w 64"/>
                    <a:gd name="T75" fmla="*/ 11 h 264"/>
                    <a:gd name="T76" fmla="*/ 3 w 64"/>
                    <a:gd name="T77" fmla="*/ 14 h 264"/>
                    <a:gd name="T78" fmla="*/ 0 w 64"/>
                    <a:gd name="T79" fmla="*/ 23 h 264"/>
                    <a:gd name="T80" fmla="*/ 3 w 64"/>
                    <a:gd name="T81" fmla="*/ 23 h 264"/>
                    <a:gd name="T82" fmla="*/ 0 w 64"/>
                    <a:gd name="T83" fmla="*/ 25 h 264"/>
                    <a:gd name="T84" fmla="*/ 3 w 64"/>
                    <a:gd name="T85" fmla="*/ 34 h 264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64"/>
                    <a:gd name="T130" fmla="*/ 0 h 264"/>
                    <a:gd name="T131" fmla="*/ 64 w 64"/>
                    <a:gd name="T132" fmla="*/ 264 h 264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64" h="264">
                      <a:moveTo>
                        <a:pt x="8" y="96"/>
                      </a:moveTo>
                      <a:lnTo>
                        <a:pt x="8" y="104"/>
                      </a:lnTo>
                      <a:lnTo>
                        <a:pt x="8" y="136"/>
                      </a:lnTo>
                      <a:lnTo>
                        <a:pt x="16" y="152"/>
                      </a:lnTo>
                      <a:lnTo>
                        <a:pt x="8" y="168"/>
                      </a:lnTo>
                      <a:lnTo>
                        <a:pt x="8" y="184"/>
                      </a:lnTo>
                      <a:lnTo>
                        <a:pt x="8" y="200"/>
                      </a:lnTo>
                      <a:lnTo>
                        <a:pt x="8" y="216"/>
                      </a:lnTo>
                      <a:lnTo>
                        <a:pt x="8" y="232"/>
                      </a:lnTo>
                      <a:lnTo>
                        <a:pt x="8" y="264"/>
                      </a:lnTo>
                      <a:lnTo>
                        <a:pt x="8" y="256"/>
                      </a:lnTo>
                      <a:lnTo>
                        <a:pt x="16" y="248"/>
                      </a:lnTo>
                      <a:lnTo>
                        <a:pt x="24" y="248"/>
                      </a:lnTo>
                      <a:lnTo>
                        <a:pt x="32" y="256"/>
                      </a:lnTo>
                      <a:lnTo>
                        <a:pt x="40" y="256"/>
                      </a:lnTo>
                      <a:lnTo>
                        <a:pt x="40" y="240"/>
                      </a:lnTo>
                      <a:lnTo>
                        <a:pt x="32" y="232"/>
                      </a:lnTo>
                      <a:lnTo>
                        <a:pt x="24" y="224"/>
                      </a:lnTo>
                      <a:lnTo>
                        <a:pt x="24" y="200"/>
                      </a:lnTo>
                      <a:lnTo>
                        <a:pt x="24" y="192"/>
                      </a:lnTo>
                      <a:lnTo>
                        <a:pt x="32" y="184"/>
                      </a:lnTo>
                      <a:lnTo>
                        <a:pt x="32" y="160"/>
                      </a:lnTo>
                      <a:lnTo>
                        <a:pt x="48" y="160"/>
                      </a:lnTo>
                      <a:lnTo>
                        <a:pt x="56" y="176"/>
                      </a:lnTo>
                      <a:lnTo>
                        <a:pt x="64" y="176"/>
                      </a:lnTo>
                      <a:lnTo>
                        <a:pt x="64" y="160"/>
                      </a:lnTo>
                      <a:lnTo>
                        <a:pt x="48" y="152"/>
                      </a:lnTo>
                      <a:lnTo>
                        <a:pt x="48" y="128"/>
                      </a:lnTo>
                      <a:lnTo>
                        <a:pt x="40" y="104"/>
                      </a:lnTo>
                      <a:lnTo>
                        <a:pt x="32" y="72"/>
                      </a:lnTo>
                      <a:lnTo>
                        <a:pt x="32" y="48"/>
                      </a:lnTo>
                      <a:lnTo>
                        <a:pt x="32" y="32"/>
                      </a:lnTo>
                      <a:lnTo>
                        <a:pt x="32" y="8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8" y="40"/>
                      </a:lnTo>
                      <a:lnTo>
                        <a:pt x="0" y="64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9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03" name="Freeform 281">
                  <a:extLst>
                    <a:ext uri="{FF2B5EF4-FFF2-40B4-BE49-F238E27FC236}">
                      <a16:creationId xmlns:a16="http://schemas.microsoft.com/office/drawing/2014/main" id="{80C98242-D65A-E3FC-37FB-042FBB547DD8}"/>
                    </a:ext>
                  </a:extLst>
                </p:cNvPr>
                <p:cNvSpPr/>
                <p:nvPr/>
              </p:nvSpPr>
              <p:spPr bwMode="gray">
                <a:xfrm>
                  <a:off x="3431" y="2127"/>
                  <a:ext cx="112" cy="202"/>
                </a:xfrm>
                <a:custGeom>
                  <a:avLst/>
                  <a:gdLst>
                    <a:gd name="T0" fmla="*/ 47 w 160"/>
                    <a:gd name="T1" fmla="*/ 96 h 288"/>
                    <a:gd name="T2" fmla="*/ 30 w 160"/>
                    <a:gd name="T3" fmla="*/ 100 h 288"/>
                    <a:gd name="T4" fmla="*/ 22 w 160"/>
                    <a:gd name="T5" fmla="*/ 91 h 288"/>
                    <a:gd name="T6" fmla="*/ 14 w 160"/>
                    <a:gd name="T7" fmla="*/ 86 h 288"/>
                    <a:gd name="T8" fmla="*/ 14 w 160"/>
                    <a:gd name="T9" fmla="*/ 75 h 288"/>
                    <a:gd name="T10" fmla="*/ 22 w 160"/>
                    <a:gd name="T11" fmla="*/ 63 h 288"/>
                    <a:gd name="T12" fmla="*/ 17 w 160"/>
                    <a:gd name="T13" fmla="*/ 53 h 288"/>
                    <a:gd name="T14" fmla="*/ 8 w 160"/>
                    <a:gd name="T15" fmla="*/ 47 h 288"/>
                    <a:gd name="T16" fmla="*/ 3 w 160"/>
                    <a:gd name="T17" fmla="*/ 30 h 288"/>
                    <a:gd name="T18" fmla="*/ 0 w 160"/>
                    <a:gd name="T19" fmla="*/ 22 h 288"/>
                    <a:gd name="T20" fmla="*/ 6 w 160"/>
                    <a:gd name="T21" fmla="*/ 14 h 288"/>
                    <a:gd name="T22" fmla="*/ 14 w 160"/>
                    <a:gd name="T23" fmla="*/ 6 h 288"/>
                    <a:gd name="T24" fmla="*/ 25 w 160"/>
                    <a:gd name="T25" fmla="*/ 3 h 288"/>
                    <a:gd name="T26" fmla="*/ 27 w 160"/>
                    <a:gd name="T27" fmla="*/ 0 h 288"/>
                    <a:gd name="T28" fmla="*/ 36 w 160"/>
                    <a:gd name="T29" fmla="*/ 0 h 288"/>
                    <a:gd name="T30" fmla="*/ 41 w 160"/>
                    <a:gd name="T31" fmla="*/ 0 h 288"/>
                    <a:gd name="T32" fmla="*/ 44 w 160"/>
                    <a:gd name="T33" fmla="*/ 3 h 288"/>
                    <a:gd name="T34" fmla="*/ 44 w 160"/>
                    <a:gd name="T35" fmla="*/ 8 h 288"/>
                    <a:gd name="T36" fmla="*/ 44 w 160"/>
                    <a:gd name="T37" fmla="*/ 17 h 288"/>
                    <a:gd name="T38" fmla="*/ 30 w 160"/>
                    <a:gd name="T39" fmla="*/ 22 h 288"/>
                    <a:gd name="T40" fmla="*/ 27 w 160"/>
                    <a:gd name="T41" fmla="*/ 25 h 288"/>
                    <a:gd name="T42" fmla="*/ 27 w 160"/>
                    <a:gd name="T43" fmla="*/ 27 h 288"/>
                    <a:gd name="T44" fmla="*/ 30 w 160"/>
                    <a:gd name="T45" fmla="*/ 36 h 288"/>
                    <a:gd name="T46" fmla="*/ 38 w 160"/>
                    <a:gd name="T47" fmla="*/ 39 h 288"/>
                    <a:gd name="T48" fmla="*/ 41 w 160"/>
                    <a:gd name="T49" fmla="*/ 47 h 288"/>
                    <a:gd name="T50" fmla="*/ 44 w 160"/>
                    <a:gd name="T51" fmla="*/ 47 h 288"/>
                    <a:gd name="T52" fmla="*/ 52 w 160"/>
                    <a:gd name="T53" fmla="*/ 53 h 288"/>
                    <a:gd name="T54" fmla="*/ 55 w 160"/>
                    <a:gd name="T55" fmla="*/ 58 h 288"/>
                    <a:gd name="T56" fmla="*/ 44 w 160"/>
                    <a:gd name="T57" fmla="*/ 60 h 288"/>
                    <a:gd name="T58" fmla="*/ 44 w 160"/>
                    <a:gd name="T59" fmla="*/ 67 h 288"/>
                    <a:gd name="T60" fmla="*/ 50 w 160"/>
                    <a:gd name="T61" fmla="*/ 72 h 288"/>
                    <a:gd name="T62" fmla="*/ 50 w 160"/>
                    <a:gd name="T63" fmla="*/ 77 h 288"/>
                    <a:gd name="T64" fmla="*/ 52 w 160"/>
                    <a:gd name="T65" fmla="*/ 94 h 28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60"/>
                    <a:gd name="T100" fmla="*/ 0 h 288"/>
                    <a:gd name="T101" fmla="*/ 160 w 160"/>
                    <a:gd name="T102" fmla="*/ 288 h 28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60" h="288">
                      <a:moveTo>
                        <a:pt x="152" y="272"/>
                      </a:moveTo>
                      <a:lnTo>
                        <a:pt x="136" y="280"/>
                      </a:lnTo>
                      <a:lnTo>
                        <a:pt x="120" y="280"/>
                      </a:lnTo>
                      <a:lnTo>
                        <a:pt x="88" y="288"/>
                      </a:lnTo>
                      <a:lnTo>
                        <a:pt x="72" y="272"/>
                      </a:lnTo>
                      <a:lnTo>
                        <a:pt x="64" y="264"/>
                      </a:lnTo>
                      <a:lnTo>
                        <a:pt x="48" y="256"/>
                      </a:lnTo>
                      <a:lnTo>
                        <a:pt x="40" y="248"/>
                      </a:lnTo>
                      <a:lnTo>
                        <a:pt x="40" y="232"/>
                      </a:lnTo>
                      <a:lnTo>
                        <a:pt x="40" y="216"/>
                      </a:lnTo>
                      <a:lnTo>
                        <a:pt x="64" y="192"/>
                      </a:lnTo>
                      <a:lnTo>
                        <a:pt x="64" y="184"/>
                      </a:lnTo>
                      <a:lnTo>
                        <a:pt x="56" y="168"/>
                      </a:lnTo>
                      <a:lnTo>
                        <a:pt x="48" y="152"/>
                      </a:lnTo>
                      <a:lnTo>
                        <a:pt x="32" y="144"/>
                      </a:lnTo>
                      <a:lnTo>
                        <a:pt x="24" y="136"/>
                      </a:lnTo>
                      <a:lnTo>
                        <a:pt x="16" y="112"/>
                      </a:lnTo>
                      <a:lnTo>
                        <a:pt x="8" y="88"/>
                      </a:lnTo>
                      <a:lnTo>
                        <a:pt x="0" y="80"/>
                      </a:lnTo>
                      <a:lnTo>
                        <a:pt x="0" y="64"/>
                      </a:lnTo>
                      <a:lnTo>
                        <a:pt x="0" y="56"/>
                      </a:lnTo>
                      <a:lnTo>
                        <a:pt x="16" y="40"/>
                      </a:lnTo>
                      <a:lnTo>
                        <a:pt x="32" y="32"/>
                      </a:lnTo>
                      <a:lnTo>
                        <a:pt x="40" y="16"/>
                      </a:lnTo>
                      <a:lnTo>
                        <a:pt x="48" y="16"/>
                      </a:lnTo>
                      <a:lnTo>
                        <a:pt x="72" y="8"/>
                      </a:lnTo>
                      <a:lnTo>
                        <a:pt x="80" y="8"/>
                      </a:lnTo>
                      <a:lnTo>
                        <a:pt x="80" y="0"/>
                      </a:lnTo>
                      <a:lnTo>
                        <a:pt x="88" y="0"/>
                      </a:lnTo>
                      <a:lnTo>
                        <a:pt x="104" y="0"/>
                      </a:lnTo>
                      <a:lnTo>
                        <a:pt x="112" y="0"/>
                      </a:lnTo>
                      <a:lnTo>
                        <a:pt x="120" y="0"/>
                      </a:lnTo>
                      <a:lnTo>
                        <a:pt x="128" y="0"/>
                      </a:lnTo>
                      <a:lnTo>
                        <a:pt x="128" y="8"/>
                      </a:lnTo>
                      <a:lnTo>
                        <a:pt x="128" y="16"/>
                      </a:lnTo>
                      <a:lnTo>
                        <a:pt x="128" y="24"/>
                      </a:lnTo>
                      <a:lnTo>
                        <a:pt x="128" y="40"/>
                      </a:lnTo>
                      <a:lnTo>
                        <a:pt x="128" y="48"/>
                      </a:lnTo>
                      <a:lnTo>
                        <a:pt x="88" y="56"/>
                      </a:lnTo>
                      <a:lnTo>
                        <a:pt x="88" y="64"/>
                      </a:lnTo>
                      <a:lnTo>
                        <a:pt x="88" y="72"/>
                      </a:lnTo>
                      <a:lnTo>
                        <a:pt x="80" y="72"/>
                      </a:lnTo>
                      <a:lnTo>
                        <a:pt x="72" y="64"/>
                      </a:lnTo>
                      <a:lnTo>
                        <a:pt x="80" y="80"/>
                      </a:lnTo>
                      <a:lnTo>
                        <a:pt x="88" y="88"/>
                      </a:lnTo>
                      <a:lnTo>
                        <a:pt x="88" y="104"/>
                      </a:lnTo>
                      <a:lnTo>
                        <a:pt x="96" y="112"/>
                      </a:lnTo>
                      <a:lnTo>
                        <a:pt x="112" y="112"/>
                      </a:lnTo>
                      <a:lnTo>
                        <a:pt x="120" y="120"/>
                      </a:lnTo>
                      <a:lnTo>
                        <a:pt x="120" y="136"/>
                      </a:lnTo>
                      <a:lnTo>
                        <a:pt x="120" y="144"/>
                      </a:lnTo>
                      <a:lnTo>
                        <a:pt x="128" y="136"/>
                      </a:lnTo>
                      <a:lnTo>
                        <a:pt x="144" y="144"/>
                      </a:lnTo>
                      <a:lnTo>
                        <a:pt x="152" y="152"/>
                      </a:lnTo>
                      <a:lnTo>
                        <a:pt x="160" y="160"/>
                      </a:lnTo>
                      <a:lnTo>
                        <a:pt x="160" y="168"/>
                      </a:lnTo>
                      <a:lnTo>
                        <a:pt x="144" y="176"/>
                      </a:lnTo>
                      <a:lnTo>
                        <a:pt x="128" y="176"/>
                      </a:lnTo>
                      <a:lnTo>
                        <a:pt x="120" y="192"/>
                      </a:lnTo>
                      <a:lnTo>
                        <a:pt x="128" y="192"/>
                      </a:lnTo>
                      <a:lnTo>
                        <a:pt x="136" y="192"/>
                      </a:lnTo>
                      <a:lnTo>
                        <a:pt x="144" y="208"/>
                      </a:lnTo>
                      <a:lnTo>
                        <a:pt x="136" y="208"/>
                      </a:lnTo>
                      <a:lnTo>
                        <a:pt x="144" y="224"/>
                      </a:lnTo>
                      <a:lnTo>
                        <a:pt x="152" y="264"/>
                      </a:lnTo>
                      <a:lnTo>
                        <a:pt x="152" y="27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04" name="Freeform 282">
                  <a:extLst>
                    <a:ext uri="{FF2B5EF4-FFF2-40B4-BE49-F238E27FC236}">
                      <a16:creationId xmlns:a16="http://schemas.microsoft.com/office/drawing/2014/main" id="{FB74F48C-0962-90EA-29BE-20839B23CA7D}"/>
                    </a:ext>
                  </a:extLst>
                </p:cNvPr>
                <p:cNvSpPr/>
                <p:nvPr/>
              </p:nvSpPr>
              <p:spPr bwMode="gray">
                <a:xfrm>
                  <a:off x="4365" y="1390"/>
                  <a:ext cx="28" cy="17"/>
                </a:xfrm>
                <a:custGeom>
                  <a:avLst/>
                  <a:gdLst>
                    <a:gd name="T0" fmla="*/ 3 w 40"/>
                    <a:gd name="T1" fmla="*/ 0 h 24"/>
                    <a:gd name="T2" fmla="*/ 8 w 40"/>
                    <a:gd name="T3" fmla="*/ 0 h 24"/>
                    <a:gd name="T4" fmla="*/ 14 w 40"/>
                    <a:gd name="T5" fmla="*/ 0 h 24"/>
                    <a:gd name="T6" fmla="*/ 14 w 40"/>
                    <a:gd name="T7" fmla="*/ 3 h 24"/>
                    <a:gd name="T8" fmla="*/ 10 w 40"/>
                    <a:gd name="T9" fmla="*/ 3 h 24"/>
                    <a:gd name="T10" fmla="*/ 10 w 40"/>
                    <a:gd name="T11" fmla="*/ 6 h 24"/>
                    <a:gd name="T12" fmla="*/ 6 w 40"/>
                    <a:gd name="T13" fmla="*/ 9 h 24"/>
                    <a:gd name="T14" fmla="*/ 3 w 40"/>
                    <a:gd name="T15" fmla="*/ 6 h 24"/>
                    <a:gd name="T16" fmla="*/ 0 w 40"/>
                    <a:gd name="T17" fmla="*/ 3 h 24"/>
                    <a:gd name="T18" fmla="*/ 3 w 40"/>
                    <a:gd name="T19" fmla="*/ 3 h 24"/>
                    <a:gd name="T20" fmla="*/ 3 w 40"/>
                    <a:gd name="T21" fmla="*/ 0 h 2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0"/>
                    <a:gd name="T34" fmla="*/ 0 h 24"/>
                    <a:gd name="T35" fmla="*/ 40 w 40"/>
                    <a:gd name="T36" fmla="*/ 24 h 2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0" h="24">
                      <a:moveTo>
                        <a:pt x="8" y="0"/>
                      </a:move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8"/>
                      </a:lnTo>
                      <a:lnTo>
                        <a:pt x="32" y="8"/>
                      </a:lnTo>
                      <a:lnTo>
                        <a:pt x="32" y="16"/>
                      </a:lnTo>
                      <a:lnTo>
                        <a:pt x="16" y="24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05" name="Freeform 283">
                  <a:extLst>
                    <a:ext uri="{FF2B5EF4-FFF2-40B4-BE49-F238E27FC236}">
                      <a16:creationId xmlns:a16="http://schemas.microsoft.com/office/drawing/2014/main" id="{28C963E0-72A4-1D77-FDC2-31FFDE44ABB1}"/>
                    </a:ext>
                  </a:extLst>
                </p:cNvPr>
                <p:cNvSpPr/>
                <p:nvPr/>
              </p:nvSpPr>
              <p:spPr bwMode="gray">
                <a:xfrm>
                  <a:off x="4365" y="1390"/>
                  <a:ext cx="28" cy="17"/>
                </a:xfrm>
                <a:custGeom>
                  <a:avLst/>
                  <a:gdLst>
                    <a:gd name="T0" fmla="*/ 3 w 40"/>
                    <a:gd name="T1" fmla="*/ 0 h 24"/>
                    <a:gd name="T2" fmla="*/ 3 w 40"/>
                    <a:gd name="T3" fmla="*/ 3 h 24"/>
                    <a:gd name="T4" fmla="*/ 0 w 40"/>
                    <a:gd name="T5" fmla="*/ 3 h 24"/>
                    <a:gd name="T6" fmla="*/ 3 w 40"/>
                    <a:gd name="T7" fmla="*/ 6 h 24"/>
                    <a:gd name="T8" fmla="*/ 6 w 40"/>
                    <a:gd name="T9" fmla="*/ 9 h 24"/>
                    <a:gd name="T10" fmla="*/ 10 w 40"/>
                    <a:gd name="T11" fmla="*/ 6 h 24"/>
                    <a:gd name="T12" fmla="*/ 10 w 40"/>
                    <a:gd name="T13" fmla="*/ 3 h 24"/>
                    <a:gd name="T14" fmla="*/ 14 w 40"/>
                    <a:gd name="T15" fmla="*/ 3 h 24"/>
                    <a:gd name="T16" fmla="*/ 14 w 40"/>
                    <a:gd name="T17" fmla="*/ 0 h 24"/>
                    <a:gd name="T18" fmla="*/ 8 w 40"/>
                    <a:gd name="T19" fmla="*/ 0 h 24"/>
                    <a:gd name="T20" fmla="*/ 3 w 40"/>
                    <a:gd name="T21" fmla="*/ 0 h 2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0"/>
                    <a:gd name="T34" fmla="*/ 0 h 24"/>
                    <a:gd name="T35" fmla="*/ 40 w 40"/>
                    <a:gd name="T36" fmla="*/ 24 h 2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0" h="24">
                      <a:moveTo>
                        <a:pt x="8" y="0"/>
                      </a:move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16" y="24"/>
                      </a:lnTo>
                      <a:lnTo>
                        <a:pt x="32" y="16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40" y="0"/>
                      </a:lnTo>
                      <a:lnTo>
                        <a:pt x="24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06" name="Freeform 284">
                  <a:extLst>
                    <a:ext uri="{FF2B5EF4-FFF2-40B4-BE49-F238E27FC236}">
                      <a16:creationId xmlns:a16="http://schemas.microsoft.com/office/drawing/2014/main" id="{C2AD5A33-4ECB-55E6-4E88-364FDEA87EEA}"/>
                    </a:ext>
                  </a:extLst>
                </p:cNvPr>
                <p:cNvSpPr/>
                <p:nvPr/>
              </p:nvSpPr>
              <p:spPr bwMode="gray">
                <a:xfrm>
                  <a:off x="4995" y="2042"/>
                  <a:ext cx="17" cy="12"/>
                </a:xfrm>
                <a:custGeom>
                  <a:avLst/>
                  <a:gdLst>
                    <a:gd name="T0" fmla="*/ 9 w 24"/>
                    <a:gd name="T1" fmla="*/ 0 h 16"/>
                    <a:gd name="T2" fmla="*/ 9 w 24"/>
                    <a:gd name="T3" fmla="*/ 7 h 16"/>
                    <a:gd name="T4" fmla="*/ 3 w 24"/>
                    <a:gd name="T5" fmla="*/ 7 h 16"/>
                    <a:gd name="T6" fmla="*/ 0 w 24"/>
                    <a:gd name="T7" fmla="*/ 7 h 16"/>
                    <a:gd name="T8" fmla="*/ 6 w 24"/>
                    <a:gd name="T9" fmla="*/ 4 h 16"/>
                    <a:gd name="T10" fmla="*/ 9 w 24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16"/>
                    <a:gd name="T20" fmla="*/ 24 w 24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16">
                      <a:moveTo>
                        <a:pt x="24" y="0"/>
                      </a:moveTo>
                      <a:lnTo>
                        <a:pt x="24" y="16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16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07" name="Rectangle 285">
                  <a:extLst>
                    <a:ext uri="{FF2B5EF4-FFF2-40B4-BE49-F238E27FC236}">
                      <a16:creationId xmlns:a16="http://schemas.microsoft.com/office/drawing/2014/main" id="{AB19B3DF-443C-A5C9-6CF0-6353B12131D5}"/>
                    </a:ext>
                  </a:extLst>
                </p:cNvPr>
                <p:cNvSpPr/>
                <p:nvPr/>
              </p:nvSpPr>
              <p:spPr bwMode="gray">
                <a:xfrm>
                  <a:off x="4989" y="2065"/>
                  <a:ext cx="6" cy="5"/>
                </a:xfrm>
                <a:prstGeom prst="rect">
                  <a:avLst/>
                </a:prstGeom>
                <a:grpFill/>
                <a:ln w="3175">
                  <a:solidFill>
                    <a:sysClr val="window" lastClr="FFFFFF"/>
                  </a:solidFill>
                  <a:miter lim="800000"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08" name="Freeform 286">
                  <a:extLst>
                    <a:ext uri="{FF2B5EF4-FFF2-40B4-BE49-F238E27FC236}">
                      <a16:creationId xmlns:a16="http://schemas.microsoft.com/office/drawing/2014/main" id="{40C95406-59ED-62A0-9C78-3C33033DEF8C}"/>
                    </a:ext>
                  </a:extLst>
                </p:cNvPr>
                <p:cNvSpPr/>
                <p:nvPr/>
              </p:nvSpPr>
              <p:spPr bwMode="gray">
                <a:xfrm>
                  <a:off x="4984" y="2076"/>
                  <a:ext cx="5" cy="11"/>
                </a:xfrm>
                <a:custGeom>
                  <a:avLst/>
                  <a:gdLst>
                    <a:gd name="T0" fmla="*/ 0 w 8"/>
                    <a:gd name="T1" fmla="*/ 3 h 16"/>
                    <a:gd name="T2" fmla="*/ 0 w 8"/>
                    <a:gd name="T3" fmla="*/ 0 h 16"/>
                    <a:gd name="T4" fmla="*/ 2 w 8"/>
                    <a:gd name="T5" fmla="*/ 0 h 16"/>
                    <a:gd name="T6" fmla="*/ 2 w 8"/>
                    <a:gd name="T7" fmla="*/ 3 h 16"/>
                    <a:gd name="T8" fmla="*/ 0 w 8"/>
                    <a:gd name="T9" fmla="*/ 6 h 16"/>
                    <a:gd name="T10" fmla="*/ 0 w 8"/>
                    <a:gd name="T11" fmla="*/ 3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16"/>
                    <a:gd name="T20" fmla="*/ 8 w 8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16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09" name="Freeform 287">
                  <a:extLst>
                    <a:ext uri="{FF2B5EF4-FFF2-40B4-BE49-F238E27FC236}">
                      <a16:creationId xmlns:a16="http://schemas.microsoft.com/office/drawing/2014/main" id="{3D8DD37F-4AE6-D7CC-988B-472B1D59EDE7}"/>
                    </a:ext>
                  </a:extLst>
                </p:cNvPr>
                <p:cNvSpPr/>
                <p:nvPr/>
              </p:nvSpPr>
              <p:spPr bwMode="gray">
                <a:xfrm>
                  <a:off x="3065" y="1907"/>
                  <a:ext cx="79" cy="62"/>
                </a:xfrm>
                <a:custGeom>
                  <a:avLst/>
                  <a:gdLst>
                    <a:gd name="T0" fmla="*/ 0 w 112"/>
                    <a:gd name="T1" fmla="*/ 17 h 88"/>
                    <a:gd name="T2" fmla="*/ 6 w 112"/>
                    <a:gd name="T3" fmla="*/ 19 h 88"/>
                    <a:gd name="T4" fmla="*/ 8 w 112"/>
                    <a:gd name="T5" fmla="*/ 19 h 88"/>
                    <a:gd name="T6" fmla="*/ 11 w 112"/>
                    <a:gd name="T7" fmla="*/ 25 h 88"/>
                    <a:gd name="T8" fmla="*/ 14 w 112"/>
                    <a:gd name="T9" fmla="*/ 25 h 88"/>
                    <a:gd name="T10" fmla="*/ 17 w 112"/>
                    <a:gd name="T11" fmla="*/ 27 h 88"/>
                    <a:gd name="T12" fmla="*/ 23 w 112"/>
                    <a:gd name="T13" fmla="*/ 31 h 88"/>
                    <a:gd name="T14" fmla="*/ 25 w 112"/>
                    <a:gd name="T15" fmla="*/ 27 h 88"/>
                    <a:gd name="T16" fmla="*/ 25 w 112"/>
                    <a:gd name="T17" fmla="*/ 25 h 88"/>
                    <a:gd name="T18" fmla="*/ 31 w 112"/>
                    <a:gd name="T19" fmla="*/ 23 h 88"/>
                    <a:gd name="T20" fmla="*/ 34 w 112"/>
                    <a:gd name="T21" fmla="*/ 17 h 88"/>
                    <a:gd name="T22" fmla="*/ 40 w 112"/>
                    <a:gd name="T23" fmla="*/ 11 h 88"/>
                    <a:gd name="T24" fmla="*/ 31 w 112"/>
                    <a:gd name="T25" fmla="*/ 3 h 88"/>
                    <a:gd name="T26" fmla="*/ 20 w 112"/>
                    <a:gd name="T27" fmla="*/ 0 h 88"/>
                    <a:gd name="T28" fmla="*/ 3 w 112"/>
                    <a:gd name="T29" fmla="*/ 0 h 88"/>
                    <a:gd name="T30" fmla="*/ 0 w 112"/>
                    <a:gd name="T31" fmla="*/ 3 h 88"/>
                    <a:gd name="T32" fmla="*/ 0 w 112"/>
                    <a:gd name="T33" fmla="*/ 17 h 8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12"/>
                    <a:gd name="T52" fmla="*/ 0 h 88"/>
                    <a:gd name="T53" fmla="*/ 112 w 112"/>
                    <a:gd name="T54" fmla="*/ 88 h 88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12" h="88">
                      <a:moveTo>
                        <a:pt x="0" y="48"/>
                      </a:moveTo>
                      <a:lnTo>
                        <a:pt x="16" y="56"/>
                      </a:lnTo>
                      <a:lnTo>
                        <a:pt x="24" y="56"/>
                      </a:lnTo>
                      <a:lnTo>
                        <a:pt x="32" y="72"/>
                      </a:lnTo>
                      <a:lnTo>
                        <a:pt x="40" y="72"/>
                      </a:lnTo>
                      <a:lnTo>
                        <a:pt x="48" y="80"/>
                      </a:lnTo>
                      <a:lnTo>
                        <a:pt x="64" y="88"/>
                      </a:lnTo>
                      <a:lnTo>
                        <a:pt x="72" y="80"/>
                      </a:lnTo>
                      <a:lnTo>
                        <a:pt x="72" y="72"/>
                      </a:lnTo>
                      <a:lnTo>
                        <a:pt x="88" y="64"/>
                      </a:lnTo>
                      <a:lnTo>
                        <a:pt x="96" y="48"/>
                      </a:lnTo>
                      <a:lnTo>
                        <a:pt x="112" y="32"/>
                      </a:lnTo>
                      <a:lnTo>
                        <a:pt x="88" y="8"/>
                      </a:lnTo>
                      <a:lnTo>
                        <a:pt x="56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0" y="4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10" name="Freeform 288">
                  <a:extLst>
                    <a:ext uri="{FF2B5EF4-FFF2-40B4-BE49-F238E27FC236}">
                      <a16:creationId xmlns:a16="http://schemas.microsoft.com/office/drawing/2014/main" id="{16754486-4C0A-E5AE-6682-16139B88446E}"/>
                    </a:ext>
                  </a:extLst>
                </p:cNvPr>
                <p:cNvSpPr/>
                <p:nvPr/>
              </p:nvSpPr>
              <p:spPr bwMode="gray">
                <a:xfrm>
                  <a:off x="3048" y="1941"/>
                  <a:ext cx="39" cy="23"/>
                </a:xfrm>
                <a:custGeom>
                  <a:avLst/>
                  <a:gdLst>
                    <a:gd name="T0" fmla="*/ 19 w 56"/>
                    <a:gd name="T1" fmla="*/ 9 h 32"/>
                    <a:gd name="T2" fmla="*/ 10 w 56"/>
                    <a:gd name="T3" fmla="*/ 12 h 32"/>
                    <a:gd name="T4" fmla="*/ 3 w 56"/>
                    <a:gd name="T5" fmla="*/ 9 h 32"/>
                    <a:gd name="T6" fmla="*/ 0 w 56"/>
                    <a:gd name="T7" fmla="*/ 9 h 32"/>
                    <a:gd name="T8" fmla="*/ 0 w 56"/>
                    <a:gd name="T9" fmla="*/ 6 h 32"/>
                    <a:gd name="T10" fmla="*/ 0 w 56"/>
                    <a:gd name="T11" fmla="*/ 3 h 32"/>
                    <a:gd name="T12" fmla="*/ 8 w 56"/>
                    <a:gd name="T13" fmla="*/ 3 h 32"/>
                    <a:gd name="T14" fmla="*/ 8 w 56"/>
                    <a:gd name="T15" fmla="*/ 0 h 32"/>
                    <a:gd name="T16" fmla="*/ 14 w 56"/>
                    <a:gd name="T17" fmla="*/ 3 h 32"/>
                    <a:gd name="T18" fmla="*/ 16 w 56"/>
                    <a:gd name="T19" fmla="*/ 3 h 32"/>
                    <a:gd name="T20" fmla="*/ 19 w 56"/>
                    <a:gd name="T21" fmla="*/ 9 h 3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6"/>
                    <a:gd name="T34" fmla="*/ 0 h 32"/>
                    <a:gd name="T35" fmla="*/ 56 w 56"/>
                    <a:gd name="T36" fmla="*/ 32 h 3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6" h="32">
                      <a:moveTo>
                        <a:pt x="56" y="24"/>
                      </a:moveTo>
                      <a:lnTo>
                        <a:pt x="32" y="32"/>
                      </a:lnTo>
                      <a:lnTo>
                        <a:pt x="8" y="24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56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11" name="Freeform 289">
                  <a:extLst>
                    <a:ext uri="{FF2B5EF4-FFF2-40B4-BE49-F238E27FC236}">
                      <a16:creationId xmlns:a16="http://schemas.microsoft.com/office/drawing/2014/main" id="{F848BC84-92E5-E2FC-AFDF-41396169E739}"/>
                    </a:ext>
                  </a:extLst>
                </p:cNvPr>
                <p:cNvSpPr/>
                <p:nvPr/>
              </p:nvSpPr>
              <p:spPr bwMode="gray">
                <a:xfrm>
                  <a:off x="3093" y="1823"/>
                  <a:ext cx="62" cy="51"/>
                </a:xfrm>
                <a:custGeom>
                  <a:avLst/>
                  <a:gdLst>
                    <a:gd name="T0" fmla="*/ 31 w 88"/>
                    <a:gd name="T1" fmla="*/ 26 h 72"/>
                    <a:gd name="T2" fmla="*/ 23 w 88"/>
                    <a:gd name="T3" fmla="*/ 26 h 72"/>
                    <a:gd name="T4" fmla="*/ 19 w 88"/>
                    <a:gd name="T5" fmla="*/ 26 h 72"/>
                    <a:gd name="T6" fmla="*/ 17 w 88"/>
                    <a:gd name="T7" fmla="*/ 23 h 72"/>
                    <a:gd name="T8" fmla="*/ 14 w 88"/>
                    <a:gd name="T9" fmla="*/ 20 h 72"/>
                    <a:gd name="T10" fmla="*/ 8 w 88"/>
                    <a:gd name="T11" fmla="*/ 23 h 72"/>
                    <a:gd name="T12" fmla="*/ 8 w 88"/>
                    <a:gd name="T13" fmla="*/ 20 h 72"/>
                    <a:gd name="T14" fmla="*/ 3 w 88"/>
                    <a:gd name="T15" fmla="*/ 17 h 72"/>
                    <a:gd name="T16" fmla="*/ 3 w 88"/>
                    <a:gd name="T17" fmla="*/ 11 h 72"/>
                    <a:gd name="T18" fmla="*/ 0 w 88"/>
                    <a:gd name="T19" fmla="*/ 8 h 72"/>
                    <a:gd name="T20" fmla="*/ 3 w 88"/>
                    <a:gd name="T21" fmla="*/ 8 h 72"/>
                    <a:gd name="T22" fmla="*/ 8 w 88"/>
                    <a:gd name="T23" fmla="*/ 0 h 72"/>
                    <a:gd name="T24" fmla="*/ 14 w 88"/>
                    <a:gd name="T25" fmla="*/ 3 h 72"/>
                    <a:gd name="T26" fmla="*/ 19 w 88"/>
                    <a:gd name="T27" fmla="*/ 0 h 72"/>
                    <a:gd name="T28" fmla="*/ 23 w 88"/>
                    <a:gd name="T29" fmla="*/ 0 h 72"/>
                    <a:gd name="T30" fmla="*/ 31 w 88"/>
                    <a:gd name="T31" fmla="*/ 3 h 72"/>
                    <a:gd name="T32" fmla="*/ 27 w 88"/>
                    <a:gd name="T33" fmla="*/ 14 h 72"/>
                    <a:gd name="T34" fmla="*/ 31 w 88"/>
                    <a:gd name="T35" fmla="*/ 20 h 72"/>
                    <a:gd name="T36" fmla="*/ 31 w 88"/>
                    <a:gd name="T37" fmla="*/ 26 h 7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88"/>
                    <a:gd name="T58" fmla="*/ 0 h 72"/>
                    <a:gd name="T59" fmla="*/ 88 w 88"/>
                    <a:gd name="T60" fmla="*/ 72 h 7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88" h="72">
                      <a:moveTo>
                        <a:pt x="88" y="72"/>
                      </a:moveTo>
                      <a:lnTo>
                        <a:pt x="64" y="72"/>
                      </a:lnTo>
                      <a:lnTo>
                        <a:pt x="56" y="72"/>
                      </a:lnTo>
                      <a:lnTo>
                        <a:pt x="48" y="64"/>
                      </a:lnTo>
                      <a:lnTo>
                        <a:pt x="40" y="56"/>
                      </a:lnTo>
                      <a:lnTo>
                        <a:pt x="24" y="64"/>
                      </a:lnTo>
                      <a:lnTo>
                        <a:pt x="24" y="56"/>
                      </a:lnTo>
                      <a:lnTo>
                        <a:pt x="8" y="48"/>
                      </a:lnTo>
                      <a:lnTo>
                        <a:pt x="8" y="32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24" y="0"/>
                      </a:lnTo>
                      <a:lnTo>
                        <a:pt x="40" y="8"/>
                      </a:lnTo>
                      <a:lnTo>
                        <a:pt x="56" y="0"/>
                      </a:lnTo>
                      <a:lnTo>
                        <a:pt x="64" y="0"/>
                      </a:lnTo>
                      <a:lnTo>
                        <a:pt x="88" y="8"/>
                      </a:lnTo>
                      <a:lnTo>
                        <a:pt x="80" y="40"/>
                      </a:lnTo>
                      <a:lnTo>
                        <a:pt x="88" y="56"/>
                      </a:lnTo>
                      <a:lnTo>
                        <a:pt x="88" y="72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12" name="Freeform 290">
                  <a:extLst>
                    <a:ext uri="{FF2B5EF4-FFF2-40B4-BE49-F238E27FC236}">
                      <a16:creationId xmlns:a16="http://schemas.microsoft.com/office/drawing/2014/main" id="{A46A11DC-9FB6-944A-8E4D-C31D3DE4D911}"/>
                    </a:ext>
                  </a:extLst>
                </p:cNvPr>
                <p:cNvSpPr/>
                <p:nvPr/>
              </p:nvSpPr>
              <p:spPr bwMode="gray">
                <a:xfrm>
                  <a:off x="3059" y="1862"/>
                  <a:ext cx="101" cy="68"/>
                </a:xfrm>
                <a:custGeom>
                  <a:avLst/>
                  <a:gdLst>
                    <a:gd name="T0" fmla="*/ 50 w 144"/>
                    <a:gd name="T1" fmla="*/ 26 h 96"/>
                    <a:gd name="T2" fmla="*/ 50 w 144"/>
                    <a:gd name="T3" fmla="*/ 17 h 96"/>
                    <a:gd name="T4" fmla="*/ 47 w 144"/>
                    <a:gd name="T5" fmla="*/ 14 h 96"/>
                    <a:gd name="T6" fmla="*/ 47 w 144"/>
                    <a:gd name="T7" fmla="*/ 6 h 96"/>
                    <a:gd name="T8" fmla="*/ 39 w 144"/>
                    <a:gd name="T9" fmla="*/ 6 h 96"/>
                    <a:gd name="T10" fmla="*/ 36 w 144"/>
                    <a:gd name="T11" fmla="*/ 6 h 96"/>
                    <a:gd name="T12" fmla="*/ 33 w 144"/>
                    <a:gd name="T13" fmla="*/ 3 h 96"/>
                    <a:gd name="T14" fmla="*/ 30 w 144"/>
                    <a:gd name="T15" fmla="*/ 0 h 96"/>
                    <a:gd name="T16" fmla="*/ 25 w 144"/>
                    <a:gd name="T17" fmla="*/ 3 h 96"/>
                    <a:gd name="T18" fmla="*/ 25 w 144"/>
                    <a:gd name="T19" fmla="*/ 6 h 96"/>
                    <a:gd name="T20" fmla="*/ 25 w 144"/>
                    <a:gd name="T21" fmla="*/ 14 h 96"/>
                    <a:gd name="T22" fmla="*/ 19 w 144"/>
                    <a:gd name="T23" fmla="*/ 17 h 96"/>
                    <a:gd name="T24" fmla="*/ 17 w 144"/>
                    <a:gd name="T25" fmla="*/ 11 h 96"/>
                    <a:gd name="T26" fmla="*/ 14 w 144"/>
                    <a:gd name="T27" fmla="*/ 6 h 96"/>
                    <a:gd name="T28" fmla="*/ 8 w 144"/>
                    <a:gd name="T29" fmla="*/ 9 h 96"/>
                    <a:gd name="T30" fmla="*/ 3 w 144"/>
                    <a:gd name="T31" fmla="*/ 9 h 96"/>
                    <a:gd name="T32" fmla="*/ 6 w 144"/>
                    <a:gd name="T33" fmla="*/ 17 h 96"/>
                    <a:gd name="T34" fmla="*/ 0 w 144"/>
                    <a:gd name="T35" fmla="*/ 20 h 96"/>
                    <a:gd name="T36" fmla="*/ 0 w 144"/>
                    <a:gd name="T37" fmla="*/ 23 h 96"/>
                    <a:gd name="T38" fmla="*/ 3 w 144"/>
                    <a:gd name="T39" fmla="*/ 26 h 96"/>
                    <a:gd name="T40" fmla="*/ 6 w 144"/>
                    <a:gd name="T41" fmla="*/ 23 h 96"/>
                    <a:gd name="T42" fmla="*/ 22 w 144"/>
                    <a:gd name="T43" fmla="*/ 23 h 96"/>
                    <a:gd name="T44" fmla="*/ 33 w 144"/>
                    <a:gd name="T45" fmla="*/ 26 h 96"/>
                    <a:gd name="T46" fmla="*/ 41 w 144"/>
                    <a:gd name="T47" fmla="*/ 34 h 96"/>
                    <a:gd name="T48" fmla="*/ 44 w 144"/>
                    <a:gd name="T49" fmla="*/ 34 h 96"/>
                    <a:gd name="T50" fmla="*/ 50 w 144"/>
                    <a:gd name="T51" fmla="*/ 26 h 9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44"/>
                    <a:gd name="T79" fmla="*/ 0 h 96"/>
                    <a:gd name="T80" fmla="*/ 144 w 144"/>
                    <a:gd name="T81" fmla="*/ 96 h 9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44" h="96">
                      <a:moveTo>
                        <a:pt x="144" y="72"/>
                      </a:moveTo>
                      <a:lnTo>
                        <a:pt x="144" y="48"/>
                      </a:lnTo>
                      <a:lnTo>
                        <a:pt x="136" y="40"/>
                      </a:lnTo>
                      <a:lnTo>
                        <a:pt x="136" y="16"/>
                      </a:lnTo>
                      <a:lnTo>
                        <a:pt x="112" y="16"/>
                      </a:lnTo>
                      <a:lnTo>
                        <a:pt x="104" y="16"/>
                      </a:lnTo>
                      <a:lnTo>
                        <a:pt x="96" y="8"/>
                      </a:lnTo>
                      <a:lnTo>
                        <a:pt x="88" y="0"/>
                      </a:lnTo>
                      <a:lnTo>
                        <a:pt x="72" y="8"/>
                      </a:lnTo>
                      <a:lnTo>
                        <a:pt x="72" y="16"/>
                      </a:lnTo>
                      <a:lnTo>
                        <a:pt x="72" y="40"/>
                      </a:lnTo>
                      <a:lnTo>
                        <a:pt x="56" y="48"/>
                      </a:lnTo>
                      <a:lnTo>
                        <a:pt x="48" y="32"/>
                      </a:lnTo>
                      <a:lnTo>
                        <a:pt x="40" y="16"/>
                      </a:lnTo>
                      <a:lnTo>
                        <a:pt x="24" y="24"/>
                      </a:lnTo>
                      <a:lnTo>
                        <a:pt x="8" y="24"/>
                      </a:lnTo>
                      <a:lnTo>
                        <a:pt x="16" y="48"/>
                      </a:lnTo>
                      <a:lnTo>
                        <a:pt x="0" y="56"/>
                      </a:lnTo>
                      <a:lnTo>
                        <a:pt x="0" y="64"/>
                      </a:lnTo>
                      <a:lnTo>
                        <a:pt x="8" y="72"/>
                      </a:lnTo>
                      <a:lnTo>
                        <a:pt x="16" y="64"/>
                      </a:lnTo>
                      <a:lnTo>
                        <a:pt x="64" y="64"/>
                      </a:lnTo>
                      <a:lnTo>
                        <a:pt x="96" y="72"/>
                      </a:lnTo>
                      <a:lnTo>
                        <a:pt x="120" y="96"/>
                      </a:lnTo>
                      <a:lnTo>
                        <a:pt x="128" y="96"/>
                      </a:lnTo>
                      <a:lnTo>
                        <a:pt x="144" y="7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313" name="Freeform 291">
                  <a:extLst>
                    <a:ext uri="{FF2B5EF4-FFF2-40B4-BE49-F238E27FC236}">
                      <a16:creationId xmlns:a16="http://schemas.microsoft.com/office/drawing/2014/main" id="{3CFB1F41-6E04-0E28-39E9-2386EBE2EDFF}"/>
                    </a:ext>
                  </a:extLst>
                </p:cNvPr>
                <p:cNvSpPr/>
                <p:nvPr/>
              </p:nvSpPr>
              <p:spPr bwMode="gray">
                <a:xfrm>
                  <a:off x="3053" y="2228"/>
                  <a:ext cx="102" cy="45"/>
                </a:xfrm>
                <a:custGeom>
                  <a:avLst/>
                  <a:gdLst>
                    <a:gd name="T0" fmla="*/ 51 w 144"/>
                    <a:gd name="T1" fmla="*/ 0 h 64"/>
                    <a:gd name="T2" fmla="*/ 48 w 144"/>
                    <a:gd name="T3" fmla="*/ 0 h 64"/>
                    <a:gd name="T4" fmla="*/ 42 w 144"/>
                    <a:gd name="T5" fmla="*/ 0 h 64"/>
                    <a:gd name="T6" fmla="*/ 40 w 144"/>
                    <a:gd name="T7" fmla="*/ 6 h 64"/>
                    <a:gd name="T8" fmla="*/ 37 w 144"/>
                    <a:gd name="T9" fmla="*/ 6 h 64"/>
                    <a:gd name="T10" fmla="*/ 34 w 144"/>
                    <a:gd name="T11" fmla="*/ 6 h 64"/>
                    <a:gd name="T12" fmla="*/ 28 w 144"/>
                    <a:gd name="T13" fmla="*/ 3 h 64"/>
                    <a:gd name="T14" fmla="*/ 26 w 144"/>
                    <a:gd name="T15" fmla="*/ 6 h 64"/>
                    <a:gd name="T16" fmla="*/ 20 w 144"/>
                    <a:gd name="T17" fmla="*/ 6 h 64"/>
                    <a:gd name="T18" fmla="*/ 17 w 144"/>
                    <a:gd name="T19" fmla="*/ 6 h 64"/>
                    <a:gd name="T20" fmla="*/ 14 w 144"/>
                    <a:gd name="T21" fmla="*/ 11 h 64"/>
                    <a:gd name="T22" fmla="*/ 6 w 144"/>
                    <a:gd name="T23" fmla="*/ 11 h 64"/>
                    <a:gd name="T24" fmla="*/ 6 w 144"/>
                    <a:gd name="T25" fmla="*/ 14 h 64"/>
                    <a:gd name="T26" fmla="*/ 3 w 144"/>
                    <a:gd name="T27" fmla="*/ 19 h 64"/>
                    <a:gd name="T28" fmla="*/ 0 w 144"/>
                    <a:gd name="T29" fmla="*/ 23 h 64"/>
                    <a:gd name="T30" fmla="*/ 51 w 144"/>
                    <a:gd name="T31" fmla="*/ 0 h 6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4"/>
                    <a:gd name="T49" fmla="*/ 0 h 64"/>
                    <a:gd name="T50" fmla="*/ 144 w 144"/>
                    <a:gd name="T51" fmla="*/ 64 h 6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4" h="64">
                      <a:moveTo>
                        <a:pt x="144" y="0"/>
                      </a:moveTo>
                      <a:lnTo>
                        <a:pt x="136" y="0"/>
                      </a:lnTo>
                      <a:lnTo>
                        <a:pt x="120" y="0"/>
                      </a:lnTo>
                      <a:lnTo>
                        <a:pt x="112" y="16"/>
                      </a:lnTo>
                      <a:lnTo>
                        <a:pt x="104" y="16"/>
                      </a:lnTo>
                      <a:lnTo>
                        <a:pt x="96" y="16"/>
                      </a:lnTo>
                      <a:lnTo>
                        <a:pt x="80" y="8"/>
                      </a:lnTo>
                      <a:lnTo>
                        <a:pt x="72" y="16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40" y="32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8" y="56"/>
                      </a:lnTo>
                      <a:lnTo>
                        <a:pt x="0" y="64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</p:grpSp>
          <p:grpSp>
            <p:nvGrpSpPr>
              <p:cNvPr id="1116" name="Group 292">
                <a:extLst>
                  <a:ext uri="{FF2B5EF4-FFF2-40B4-BE49-F238E27FC236}">
                    <a16:creationId xmlns:a16="http://schemas.microsoft.com/office/drawing/2014/main" id="{96C07F20-2625-F13E-1E27-FC9E8918AF7B}"/>
                  </a:ext>
                </a:extLst>
              </p:cNvPr>
              <p:cNvGrpSpPr/>
              <p:nvPr/>
            </p:nvGrpSpPr>
            <p:grpSpPr bwMode="gray">
              <a:xfrm>
                <a:off x="5329807" y="3353937"/>
                <a:ext cx="2386851" cy="2169133"/>
                <a:chOff x="2519" y="2273"/>
                <a:chExt cx="1148" cy="1153"/>
              </a:xfrm>
              <a:solidFill>
                <a:srgbClr val="D9D9D9"/>
              </a:solidFill>
            </p:grpSpPr>
            <p:sp>
              <p:nvSpPr>
                <p:cNvPr id="1146" name="Freeform 293">
                  <a:extLst>
                    <a:ext uri="{FF2B5EF4-FFF2-40B4-BE49-F238E27FC236}">
                      <a16:creationId xmlns:a16="http://schemas.microsoft.com/office/drawing/2014/main" id="{AC98543D-D40A-5CF7-2F3D-B44998C5CFEA}"/>
                    </a:ext>
                  </a:extLst>
                </p:cNvPr>
                <p:cNvSpPr/>
                <p:nvPr/>
              </p:nvSpPr>
              <p:spPr bwMode="gray">
                <a:xfrm>
                  <a:off x="2997" y="3213"/>
                  <a:ext cx="231" cy="213"/>
                </a:xfrm>
                <a:custGeom>
                  <a:avLst/>
                  <a:gdLst>
                    <a:gd name="T0" fmla="*/ 0 w 328"/>
                    <a:gd name="T1" fmla="*/ 53 h 304"/>
                    <a:gd name="T2" fmla="*/ 0 w 328"/>
                    <a:gd name="T3" fmla="*/ 55 h 304"/>
                    <a:gd name="T4" fmla="*/ 6 w 328"/>
                    <a:gd name="T5" fmla="*/ 63 h 304"/>
                    <a:gd name="T6" fmla="*/ 11 w 328"/>
                    <a:gd name="T7" fmla="*/ 71 h 304"/>
                    <a:gd name="T8" fmla="*/ 14 w 328"/>
                    <a:gd name="T9" fmla="*/ 83 h 304"/>
                    <a:gd name="T10" fmla="*/ 14 w 328"/>
                    <a:gd name="T11" fmla="*/ 88 h 304"/>
                    <a:gd name="T12" fmla="*/ 11 w 328"/>
                    <a:gd name="T13" fmla="*/ 91 h 304"/>
                    <a:gd name="T14" fmla="*/ 14 w 328"/>
                    <a:gd name="T15" fmla="*/ 94 h 304"/>
                    <a:gd name="T16" fmla="*/ 25 w 328"/>
                    <a:gd name="T17" fmla="*/ 104 h 304"/>
                    <a:gd name="T18" fmla="*/ 27 w 328"/>
                    <a:gd name="T19" fmla="*/ 102 h 304"/>
                    <a:gd name="T20" fmla="*/ 34 w 328"/>
                    <a:gd name="T21" fmla="*/ 99 h 304"/>
                    <a:gd name="T22" fmla="*/ 42 w 328"/>
                    <a:gd name="T23" fmla="*/ 99 h 304"/>
                    <a:gd name="T24" fmla="*/ 48 w 328"/>
                    <a:gd name="T25" fmla="*/ 96 h 304"/>
                    <a:gd name="T26" fmla="*/ 61 w 328"/>
                    <a:gd name="T27" fmla="*/ 99 h 304"/>
                    <a:gd name="T28" fmla="*/ 65 w 328"/>
                    <a:gd name="T29" fmla="*/ 96 h 304"/>
                    <a:gd name="T30" fmla="*/ 70 w 328"/>
                    <a:gd name="T31" fmla="*/ 96 h 304"/>
                    <a:gd name="T32" fmla="*/ 78 w 328"/>
                    <a:gd name="T33" fmla="*/ 91 h 304"/>
                    <a:gd name="T34" fmla="*/ 87 w 328"/>
                    <a:gd name="T35" fmla="*/ 83 h 304"/>
                    <a:gd name="T36" fmla="*/ 92 w 328"/>
                    <a:gd name="T37" fmla="*/ 80 h 304"/>
                    <a:gd name="T38" fmla="*/ 98 w 328"/>
                    <a:gd name="T39" fmla="*/ 71 h 304"/>
                    <a:gd name="T40" fmla="*/ 101 w 328"/>
                    <a:gd name="T41" fmla="*/ 63 h 304"/>
                    <a:gd name="T42" fmla="*/ 106 w 328"/>
                    <a:gd name="T43" fmla="*/ 55 h 304"/>
                    <a:gd name="T44" fmla="*/ 111 w 328"/>
                    <a:gd name="T45" fmla="*/ 50 h 304"/>
                    <a:gd name="T46" fmla="*/ 111 w 328"/>
                    <a:gd name="T47" fmla="*/ 44 h 304"/>
                    <a:gd name="T48" fmla="*/ 115 w 328"/>
                    <a:gd name="T49" fmla="*/ 41 h 304"/>
                    <a:gd name="T50" fmla="*/ 115 w 328"/>
                    <a:gd name="T51" fmla="*/ 39 h 304"/>
                    <a:gd name="T52" fmla="*/ 109 w 328"/>
                    <a:gd name="T53" fmla="*/ 36 h 304"/>
                    <a:gd name="T54" fmla="*/ 106 w 328"/>
                    <a:gd name="T55" fmla="*/ 27 h 304"/>
                    <a:gd name="T56" fmla="*/ 109 w 328"/>
                    <a:gd name="T57" fmla="*/ 19 h 304"/>
                    <a:gd name="T58" fmla="*/ 106 w 328"/>
                    <a:gd name="T59" fmla="*/ 3 h 304"/>
                    <a:gd name="T60" fmla="*/ 95 w 328"/>
                    <a:gd name="T61" fmla="*/ 0 h 304"/>
                    <a:gd name="T62" fmla="*/ 89 w 328"/>
                    <a:gd name="T63" fmla="*/ 3 h 304"/>
                    <a:gd name="T64" fmla="*/ 87 w 328"/>
                    <a:gd name="T65" fmla="*/ 3 h 304"/>
                    <a:gd name="T66" fmla="*/ 78 w 328"/>
                    <a:gd name="T67" fmla="*/ 8 h 304"/>
                    <a:gd name="T68" fmla="*/ 75 w 328"/>
                    <a:gd name="T69" fmla="*/ 11 h 304"/>
                    <a:gd name="T70" fmla="*/ 67 w 328"/>
                    <a:gd name="T71" fmla="*/ 14 h 304"/>
                    <a:gd name="T72" fmla="*/ 67 w 328"/>
                    <a:gd name="T73" fmla="*/ 22 h 304"/>
                    <a:gd name="T74" fmla="*/ 61 w 328"/>
                    <a:gd name="T75" fmla="*/ 27 h 304"/>
                    <a:gd name="T76" fmla="*/ 56 w 328"/>
                    <a:gd name="T77" fmla="*/ 30 h 304"/>
                    <a:gd name="T78" fmla="*/ 53 w 328"/>
                    <a:gd name="T79" fmla="*/ 27 h 304"/>
                    <a:gd name="T80" fmla="*/ 48 w 328"/>
                    <a:gd name="T81" fmla="*/ 27 h 304"/>
                    <a:gd name="T82" fmla="*/ 39 w 328"/>
                    <a:gd name="T83" fmla="*/ 36 h 304"/>
                    <a:gd name="T84" fmla="*/ 34 w 328"/>
                    <a:gd name="T85" fmla="*/ 36 h 304"/>
                    <a:gd name="T86" fmla="*/ 31 w 328"/>
                    <a:gd name="T87" fmla="*/ 25 h 304"/>
                    <a:gd name="T88" fmla="*/ 25 w 328"/>
                    <a:gd name="T89" fmla="*/ 19 h 304"/>
                    <a:gd name="T90" fmla="*/ 25 w 328"/>
                    <a:gd name="T91" fmla="*/ 53 h 304"/>
                    <a:gd name="T92" fmla="*/ 17 w 328"/>
                    <a:gd name="T93" fmla="*/ 55 h 304"/>
                    <a:gd name="T94" fmla="*/ 11 w 328"/>
                    <a:gd name="T95" fmla="*/ 53 h 304"/>
                    <a:gd name="T96" fmla="*/ 8 w 328"/>
                    <a:gd name="T97" fmla="*/ 50 h 304"/>
                    <a:gd name="T98" fmla="*/ 6 w 328"/>
                    <a:gd name="T99" fmla="*/ 50 h 304"/>
                    <a:gd name="T100" fmla="*/ 3 w 328"/>
                    <a:gd name="T101" fmla="*/ 50 h 304"/>
                    <a:gd name="T102" fmla="*/ 0 w 328"/>
                    <a:gd name="T103" fmla="*/ 53 h 30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328"/>
                    <a:gd name="T157" fmla="*/ 0 h 304"/>
                    <a:gd name="T158" fmla="*/ 328 w 328"/>
                    <a:gd name="T159" fmla="*/ 304 h 30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328" h="304">
                      <a:moveTo>
                        <a:pt x="0" y="152"/>
                      </a:moveTo>
                      <a:lnTo>
                        <a:pt x="0" y="160"/>
                      </a:lnTo>
                      <a:lnTo>
                        <a:pt x="16" y="184"/>
                      </a:lnTo>
                      <a:lnTo>
                        <a:pt x="32" y="208"/>
                      </a:lnTo>
                      <a:lnTo>
                        <a:pt x="40" y="240"/>
                      </a:lnTo>
                      <a:lnTo>
                        <a:pt x="40" y="256"/>
                      </a:lnTo>
                      <a:lnTo>
                        <a:pt x="32" y="264"/>
                      </a:lnTo>
                      <a:lnTo>
                        <a:pt x="40" y="272"/>
                      </a:lnTo>
                      <a:lnTo>
                        <a:pt x="72" y="304"/>
                      </a:lnTo>
                      <a:lnTo>
                        <a:pt x="80" y="296"/>
                      </a:lnTo>
                      <a:lnTo>
                        <a:pt x="96" y="288"/>
                      </a:lnTo>
                      <a:lnTo>
                        <a:pt x="120" y="288"/>
                      </a:lnTo>
                      <a:lnTo>
                        <a:pt x="136" y="280"/>
                      </a:lnTo>
                      <a:lnTo>
                        <a:pt x="176" y="288"/>
                      </a:lnTo>
                      <a:lnTo>
                        <a:pt x="184" y="280"/>
                      </a:lnTo>
                      <a:lnTo>
                        <a:pt x="200" y="280"/>
                      </a:lnTo>
                      <a:lnTo>
                        <a:pt x="224" y="264"/>
                      </a:lnTo>
                      <a:lnTo>
                        <a:pt x="248" y="240"/>
                      </a:lnTo>
                      <a:lnTo>
                        <a:pt x="264" y="232"/>
                      </a:lnTo>
                      <a:lnTo>
                        <a:pt x="280" y="208"/>
                      </a:lnTo>
                      <a:lnTo>
                        <a:pt x="288" y="184"/>
                      </a:lnTo>
                      <a:lnTo>
                        <a:pt x="304" y="160"/>
                      </a:lnTo>
                      <a:lnTo>
                        <a:pt x="320" y="144"/>
                      </a:lnTo>
                      <a:lnTo>
                        <a:pt x="320" y="128"/>
                      </a:lnTo>
                      <a:lnTo>
                        <a:pt x="328" y="120"/>
                      </a:lnTo>
                      <a:lnTo>
                        <a:pt x="328" y="112"/>
                      </a:lnTo>
                      <a:lnTo>
                        <a:pt x="312" y="104"/>
                      </a:lnTo>
                      <a:lnTo>
                        <a:pt x="304" y="80"/>
                      </a:lnTo>
                      <a:lnTo>
                        <a:pt x="312" y="56"/>
                      </a:lnTo>
                      <a:lnTo>
                        <a:pt x="304" y="8"/>
                      </a:lnTo>
                      <a:lnTo>
                        <a:pt x="272" y="0"/>
                      </a:lnTo>
                      <a:lnTo>
                        <a:pt x="256" y="8"/>
                      </a:lnTo>
                      <a:lnTo>
                        <a:pt x="248" y="8"/>
                      </a:lnTo>
                      <a:lnTo>
                        <a:pt x="224" y="24"/>
                      </a:lnTo>
                      <a:lnTo>
                        <a:pt x="216" y="32"/>
                      </a:lnTo>
                      <a:lnTo>
                        <a:pt x="192" y="40"/>
                      </a:lnTo>
                      <a:lnTo>
                        <a:pt x="192" y="64"/>
                      </a:lnTo>
                      <a:lnTo>
                        <a:pt x="176" y="80"/>
                      </a:lnTo>
                      <a:lnTo>
                        <a:pt x="160" y="88"/>
                      </a:lnTo>
                      <a:lnTo>
                        <a:pt x="152" y="80"/>
                      </a:lnTo>
                      <a:lnTo>
                        <a:pt x="136" y="80"/>
                      </a:lnTo>
                      <a:lnTo>
                        <a:pt x="112" y="104"/>
                      </a:lnTo>
                      <a:lnTo>
                        <a:pt x="96" y="104"/>
                      </a:lnTo>
                      <a:lnTo>
                        <a:pt x="88" y="72"/>
                      </a:lnTo>
                      <a:lnTo>
                        <a:pt x="72" y="56"/>
                      </a:lnTo>
                      <a:lnTo>
                        <a:pt x="72" y="152"/>
                      </a:lnTo>
                      <a:lnTo>
                        <a:pt x="48" y="160"/>
                      </a:lnTo>
                      <a:lnTo>
                        <a:pt x="32" y="152"/>
                      </a:lnTo>
                      <a:lnTo>
                        <a:pt x="24" y="144"/>
                      </a:lnTo>
                      <a:lnTo>
                        <a:pt x="16" y="144"/>
                      </a:lnTo>
                      <a:lnTo>
                        <a:pt x="8" y="144"/>
                      </a:lnTo>
                      <a:lnTo>
                        <a:pt x="0" y="152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47" name="Freeform 294">
                  <a:extLst>
                    <a:ext uri="{FF2B5EF4-FFF2-40B4-BE49-F238E27FC236}">
                      <a16:creationId xmlns:a16="http://schemas.microsoft.com/office/drawing/2014/main" id="{0DCD9098-D353-B3CD-38BC-6E9BDDBDEF60}"/>
                    </a:ext>
                  </a:extLst>
                </p:cNvPr>
                <p:cNvSpPr/>
                <p:nvPr/>
              </p:nvSpPr>
              <p:spPr bwMode="gray">
                <a:xfrm>
                  <a:off x="3380" y="3066"/>
                  <a:ext cx="101" cy="209"/>
                </a:xfrm>
                <a:custGeom>
                  <a:avLst/>
                  <a:gdLst>
                    <a:gd name="T0" fmla="*/ 41 w 144"/>
                    <a:gd name="T1" fmla="*/ 0 h 296"/>
                    <a:gd name="T2" fmla="*/ 44 w 144"/>
                    <a:gd name="T3" fmla="*/ 0 h 296"/>
                    <a:gd name="T4" fmla="*/ 44 w 144"/>
                    <a:gd name="T5" fmla="*/ 3 h 296"/>
                    <a:gd name="T6" fmla="*/ 44 w 144"/>
                    <a:gd name="T7" fmla="*/ 8 h 296"/>
                    <a:gd name="T8" fmla="*/ 50 w 144"/>
                    <a:gd name="T9" fmla="*/ 23 h 296"/>
                    <a:gd name="T10" fmla="*/ 50 w 144"/>
                    <a:gd name="T11" fmla="*/ 28 h 296"/>
                    <a:gd name="T12" fmla="*/ 44 w 144"/>
                    <a:gd name="T13" fmla="*/ 28 h 296"/>
                    <a:gd name="T14" fmla="*/ 44 w 144"/>
                    <a:gd name="T15" fmla="*/ 37 h 296"/>
                    <a:gd name="T16" fmla="*/ 44 w 144"/>
                    <a:gd name="T17" fmla="*/ 40 h 296"/>
                    <a:gd name="T18" fmla="*/ 39 w 144"/>
                    <a:gd name="T19" fmla="*/ 59 h 296"/>
                    <a:gd name="T20" fmla="*/ 36 w 144"/>
                    <a:gd name="T21" fmla="*/ 71 h 296"/>
                    <a:gd name="T22" fmla="*/ 30 w 144"/>
                    <a:gd name="T23" fmla="*/ 79 h 296"/>
                    <a:gd name="T24" fmla="*/ 30 w 144"/>
                    <a:gd name="T25" fmla="*/ 92 h 296"/>
                    <a:gd name="T26" fmla="*/ 25 w 144"/>
                    <a:gd name="T27" fmla="*/ 99 h 296"/>
                    <a:gd name="T28" fmla="*/ 19 w 144"/>
                    <a:gd name="T29" fmla="*/ 101 h 296"/>
                    <a:gd name="T30" fmla="*/ 14 w 144"/>
                    <a:gd name="T31" fmla="*/ 105 h 296"/>
                    <a:gd name="T32" fmla="*/ 8 w 144"/>
                    <a:gd name="T33" fmla="*/ 101 h 296"/>
                    <a:gd name="T34" fmla="*/ 6 w 144"/>
                    <a:gd name="T35" fmla="*/ 96 h 296"/>
                    <a:gd name="T36" fmla="*/ 3 w 144"/>
                    <a:gd name="T37" fmla="*/ 88 h 296"/>
                    <a:gd name="T38" fmla="*/ 0 w 144"/>
                    <a:gd name="T39" fmla="*/ 82 h 296"/>
                    <a:gd name="T40" fmla="*/ 0 w 144"/>
                    <a:gd name="T41" fmla="*/ 73 h 296"/>
                    <a:gd name="T42" fmla="*/ 6 w 144"/>
                    <a:gd name="T43" fmla="*/ 65 h 296"/>
                    <a:gd name="T44" fmla="*/ 8 w 144"/>
                    <a:gd name="T45" fmla="*/ 51 h 296"/>
                    <a:gd name="T46" fmla="*/ 6 w 144"/>
                    <a:gd name="T47" fmla="*/ 48 h 296"/>
                    <a:gd name="T48" fmla="*/ 6 w 144"/>
                    <a:gd name="T49" fmla="*/ 37 h 296"/>
                    <a:gd name="T50" fmla="*/ 8 w 144"/>
                    <a:gd name="T51" fmla="*/ 31 h 296"/>
                    <a:gd name="T52" fmla="*/ 14 w 144"/>
                    <a:gd name="T53" fmla="*/ 31 h 296"/>
                    <a:gd name="T54" fmla="*/ 14 w 144"/>
                    <a:gd name="T55" fmla="*/ 28 h 296"/>
                    <a:gd name="T56" fmla="*/ 19 w 144"/>
                    <a:gd name="T57" fmla="*/ 28 h 296"/>
                    <a:gd name="T58" fmla="*/ 22 w 144"/>
                    <a:gd name="T59" fmla="*/ 25 h 296"/>
                    <a:gd name="T60" fmla="*/ 27 w 144"/>
                    <a:gd name="T61" fmla="*/ 23 h 296"/>
                    <a:gd name="T62" fmla="*/ 30 w 144"/>
                    <a:gd name="T63" fmla="*/ 20 h 296"/>
                    <a:gd name="T64" fmla="*/ 33 w 144"/>
                    <a:gd name="T65" fmla="*/ 17 h 296"/>
                    <a:gd name="T66" fmla="*/ 33 w 144"/>
                    <a:gd name="T67" fmla="*/ 14 h 296"/>
                    <a:gd name="T68" fmla="*/ 36 w 144"/>
                    <a:gd name="T69" fmla="*/ 11 h 296"/>
                    <a:gd name="T70" fmla="*/ 39 w 144"/>
                    <a:gd name="T71" fmla="*/ 3 h 296"/>
                    <a:gd name="T72" fmla="*/ 41 w 144"/>
                    <a:gd name="T73" fmla="*/ 0 h 29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44"/>
                    <a:gd name="T112" fmla="*/ 0 h 296"/>
                    <a:gd name="T113" fmla="*/ 144 w 144"/>
                    <a:gd name="T114" fmla="*/ 296 h 29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44" h="296">
                      <a:moveTo>
                        <a:pt x="120" y="0"/>
                      </a:moveTo>
                      <a:lnTo>
                        <a:pt x="128" y="0"/>
                      </a:lnTo>
                      <a:lnTo>
                        <a:pt x="128" y="8"/>
                      </a:lnTo>
                      <a:lnTo>
                        <a:pt x="128" y="24"/>
                      </a:lnTo>
                      <a:lnTo>
                        <a:pt x="144" y="64"/>
                      </a:lnTo>
                      <a:lnTo>
                        <a:pt x="144" y="80"/>
                      </a:lnTo>
                      <a:lnTo>
                        <a:pt x="128" y="80"/>
                      </a:lnTo>
                      <a:lnTo>
                        <a:pt x="128" y="104"/>
                      </a:lnTo>
                      <a:lnTo>
                        <a:pt x="128" y="112"/>
                      </a:lnTo>
                      <a:lnTo>
                        <a:pt x="112" y="168"/>
                      </a:lnTo>
                      <a:lnTo>
                        <a:pt x="104" y="200"/>
                      </a:lnTo>
                      <a:lnTo>
                        <a:pt x="88" y="224"/>
                      </a:lnTo>
                      <a:lnTo>
                        <a:pt x="88" y="264"/>
                      </a:lnTo>
                      <a:lnTo>
                        <a:pt x="72" y="280"/>
                      </a:lnTo>
                      <a:lnTo>
                        <a:pt x="56" y="288"/>
                      </a:lnTo>
                      <a:lnTo>
                        <a:pt x="40" y="296"/>
                      </a:lnTo>
                      <a:lnTo>
                        <a:pt x="24" y="288"/>
                      </a:lnTo>
                      <a:lnTo>
                        <a:pt x="16" y="272"/>
                      </a:lnTo>
                      <a:lnTo>
                        <a:pt x="8" y="248"/>
                      </a:lnTo>
                      <a:lnTo>
                        <a:pt x="0" y="232"/>
                      </a:lnTo>
                      <a:lnTo>
                        <a:pt x="0" y="208"/>
                      </a:lnTo>
                      <a:lnTo>
                        <a:pt x="16" y="184"/>
                      </a:lnTo>
                      <a:lnTo>
                        <a:pt x="24" y="144"/>
                      </a:lnTo>
                      <a:lnTo>
                        <a:pt x="16" y="136"/>
                      </a:lnTo>
                      <a:lnTo>
                        <a:pt x="16" y="104"/>
                      </a:lnTo>
                      <a:lnTo>
                        <a:pt x="24" y="88"/>
                      </a:lnTo>
                      <a:lnTo>
                        <a:pt x="40" y="88"/>
                      </a:lnTo>
                      <a:lnTo>
                        <a:pt x="40" y="80"/>
                      </a:lnTo>
                      <a:lnTo>
                        <a:pt x="56" y="80"/>
                      </a:lnTo>
                      <a:lnTo>
                        <a:pt x="64" y="72"/>
                      </a:lnTo>
                      <a:lnTo>
                        <a:pt x="80" y="64"/>
                      </a:lnTo>
                      <a:lnTo>
                        <a:pt x="88" y="56"/>
                      </a:lnTo>
                      <a:lnTo>
                        <a:pt x="96" y="48"/>
                      </a:lnTo>
                      <a:lnTo>
                        <a:pt x="96" y="40"/>
                      </a:lnTo>
                      <a:lnTo>
                        <a:pt x="104" y="32"/>
                      </a:lnTo>
                      <a:lnTo>
                        <a:pt x="112" y="8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48" name="Freeform 295">
                  <a:extLst>
                    <a:ext uri="{FF2B5EF4-FFF2-40B4-BE49-F238E27FC236}">
                      <a16:creationId xmlns:a16="http://schemas.microsoft.com/office/drawing/2014/main" id="{6F6CEE54-775C-4093-422B-EDE1A6AD8F53}"/>
                    </a:ext>
                  </a:extLst>
                </p:cNvPr>
                <p:cNvSpPr/>
                <p:nvPr/>
              </p:nvSpPr>
              <p:spPr bwMode="gray">
                <a:xfrm>
                  <a:off x="3245" y="2419"/>
                  <a:ext cx="11" cy="6"/>
                </a:xfrm>
                <a:custGeom>
                  <a:avLst/>
                  <a:gdLst>
                    <a:gd name="T0" fmla="*/ 3 w 16"/>
                    <a:gd name="T1" fmla="*/ 0 h 8"/>
                    <a:gd name="T2" fmla="*/ 0 w 16"/>
                    <a:gd name="T3" fmla="*/ 0 h 8"/>
                    <a:gd name="T4" fmla="*/ 3 w 16"/>
                    <a:gd name="T5" fmla="*/ 4 h 8"/>
                    <a:gd name="T6" fmla="*/ 6 w 16"/>
                    <a:gd name="T7" fmla="*/ 0 h 8"/>
                    <a:gd name="T8" fmla="*/ 3 w 16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49" name="Freeform 296">
                  <a:extLst>
                    <a:ext uri="{FF2B5EF4-FFF2-40B4-BE49-F238E27FC236}">
                      <a16:creationId xmlns:a16="http://schemas.microsoft.com/office/drawing/2014/main" id="{E40BE0F8-C3AD-5965-5B6E-6A842ADD83DE}"/>
                    </a:ext>
                  </a:extLst>
                </p:cNvPr>
                <p:cNvSpPr/>
                <p:nvPr/>
              </p:nvSpPr>
              <p:spPr bwMode="gray">
                <a:xfrm>
                  <a:off x="2586" y="2526"/>
                  <a:ext cx="242" cy="220"/>
                </a:xfrm>
                <a:custGeom>
                  <a:avLst/>
                  <a:gdLst>
                    <a:gd name="T0" fmla="*/ 56 w 344"/>
                    <a:gd name="T1" fmla="*/ 0 h 312"/>
                    <a:gd name="T2" fmla="*/ 39 w 344"/>
                    <a:gd name="T3" fmla="*/ 0 h 312"/>
                    <a:gd name="T4" fmla="*/ 48 w 344"/>
                    <a:gd name="T5" fmla="*/ 70 h 312"/>
                    <a:gd name="T6" fmla="*/ 23 w 344"/>
                    <a:gd name="T7" fmla="*/ 70 h 312"/>
                    <a:gd name="T8" fmla="*/ 19 w 344"/>
                    <a:gd name="T9" fmla="*/ 67 h 312"/>
                    <a:gd name="T10" fmla="*/ 17 w 344"/>
                    <a:gd name="T11" fmla="*/ 70 h 312"/>
                    <a:gd name="T12" fmla="*/ 11 w 344"/>
                    <a:gd name="T13" fmla="*/ 70 h 312"/>
                    <a:gd name="T14" fmla="*/ 8 w 344"/>
                    <a:gd name="T15" fmla="*/ 73 h 312"/>
                    <a:gd name="T16" fmla="*/ 6 w 344"/>
                    <a:gd name="T17" fmla="*/ 70 h 312"/>
                    <a:gd name="T18" fmla="*/ 3 w 344"/>
                    <a:gd name="T19" fmla="*/ 70 h 312"/>
                    <a:gd name="T20" fmla="*/ 0 w 344"/>
                    <a:gd name="T21" fmla="*/ 75 h 312"/>
                    <a:gd name="T22" fmla="*/ 3 w 344"/>
                    <a:gd name="T23" fmla="*/ 87 h 312"/>
                    <a:gd name="T24" fmla="*/ 6 w 344"/>
                    <a:gd name="T25" fmla="*/ 90 h 312"/>
                    <a:gd name="T26" fmla="*/ 6 w 344"/>
                    <a:gd name="T27" fmla="*/ 95 h 312"/>
                    <a:gd name="T28" fmla="*/ 14 w 344"/>
                    <a:gd name="T29" fmla="*/ 98 h 312"/>
                    <a:gd name="T30" fmla="*/ 19 w 344"/>
                    <a:gd name="T31" fmla="*/ 98 h 312"/>
                    <a:gd name="T32" fmla="*/ 23 w 344"/>
                    <a:gd name="T33" fmla="*/ 95 h 312"/>
                    <a:gd name="T34" fmla="*/ 25 w 344"/>
                    <a:gd name="T35" fmla="*/ 98 h 312"/>
                    <a:gd name="T36" fmla="*/ 31 w 344"/>
                    <a:gd name="T37" fmla="*/ 109 h 312"/>
                    <a:gd name="T38" fmla="*/ 36 w 344"/>
                    <a:gd name="T39" fmla="*/ 109 h 312"/>
                    <a:gd name="T40" fmla="*/ 39 w 344"/>
                    <a:gd name="T41" fmla="*/ 104 h 312"/>
                    <a:gd name="T42" fmla="*/ 44 w 344"/>
                    <a:gd name="T43" fmla="*/ 109 h 312"/>
                    <a:gd name="T44" fmla="*/ 50 w 344"/>
                    <a:gd name="T45" fmla="*/ 109 h 312"/>
                    <a:gd name="T46" fmla="*/ 50 w 344"/>
                    <a:gd name="T47" fmla="*/ 101 h 312"/>
                    <a:gd name="T48" fmla="*/ 53 w 344"/>
                    <a:gd name="T49" fmla="*/ 98 h 312"/>
                    <a:gd name="T50" fmla="*/ 53 w 344"/>
                    <a:gd name="T51" fmla="*/ 95 h 312"/>
                    <a:gd name="T52" fmla="*/ 58 w 344"/>
                    <a:gd name="T53" fmla="*/ 90 h 312"/>
                    <a:gd name="T54" fmla="*/ 58 w 344"/>
                    <a:gd name="T55" fmla="*/ 87 h 312"/>
                    <a:gd name="T56" fmla="*/ 64 w 344"/>
                    <a:gd name="T57" fmla="*/ 87 h 312"/>
                    <a:gd name="T58" fmla="*/ 72 w 344"/>
                    <a:gd name="T59" fmla="*/ 78 h 312"/>
                    <a:gd name="T60" fmla="*/ 75 w 344"/>
                    <a:gd name="T61" fmla="*/ 78 h 312"/>
                    <a:gd name="T62" fmla="*/ 78 w 344"/>
                    <a:gd name="T63" fmla="*/ 73 h 312"/>
                    <a:gd name="T64" fmla="*/ 86 w 344"/>
                    <a:gd name="T65" fmla="*/ 73 h 312"/>
                    <a:gd name="T66" fmla="*/ 89 w 344"/>
                    <a:gd name="T67" fmla="*/ 75 h 312"/>
                    <a:gd name="T68" fmla="*/ 98 w 344"/>
                    <a:gd name="T69" fmla="*/ 75 h 312"/>
                    <a:gd name="T70" fmla="*/ 103 w 344"/>
                    <a:gd name="T71" fmla="*/ 73 h 312"/>
                    <a:gd name="T72" fmla="*/ 111 w 344"/>
                    <a:gd name="T73" fmla="*/ 73 h 312"/>
                    <a:gd name="T74" fmla="*/ 120 w 344"/>
                    <a:gd name="T75" fmla="*/ 42 h 312"/>
                    <a:gd name="T76" fmla="*/ 108 w 344"/>
                    <a:gd name="T77" fmla="*/ 44 h 312"/>
                    <a:gd name="T78" fmla="*/ 108 w 344"/>
                    <a:gd name="T79" fmla="*/ 39 h 312"/>
                    <a:gd name="T80" fmla="*/ 106 w 344"/>
                    <a:gd name="T81" fmla="*/ 36 h 312"/>
                    <a:gd name="T82" fmla="*/ 103 w 344"/>
                    <a:gd name="T83" fmla="*/ 36 h 312"/>
                    <a:gd name="T84" fmla="*/ 98 w 344"/>
                    <a:gd name="T85" fmla="*/ 36 h 312"/>
                    <a:gd name="T86" fmla="*/ 94 w 344"/>
                    <a:gd name="T87" fmla="*/ 31 h 312"/>
                    <a:gd name="T88" fmla="*/ 58 w 344"/>
                    <a:gd name="T89" fmla="*/ 0 h 312"/>
                    <a:gd name="T90" fmla="*/ 56 w 344"/>
                    <a:gd name="T91" fmla="*/ 0 h 312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344"/>
                    <a:gd name="T139" fmla="*/ 0 h 312"/>
                    <a:gd name="T140" fmla="*/ 344 w 344"/>
                    <a:gd name="T141" fmla="*/ 312 h 312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344" h="312">
                      <a:moveTo>
                        <a:pt x="160" y="0"/>
                      </a:moveTo>
                      <a:lnTo>
                        <a:pt x="112" y="0"/>
                      </a:lnTo>
                      <a:lnTo>
                        <a:pt x="136" y="200"/>
                      </a:lnTo>
                      <a:lnTo>
                        <a:pt x="64" y="200"/>
                      </a:lnTo>
                      <a:lnTo>
                        <a:pt x="56" y="192"/>
                      </a:lnTo>
                      <a:lnTo>
                        <a:pt x="48" y="200"/>
                      </a:lnTo>
                      <a:lnTo>
                        <a:pt x="32" y="200"/>
                      </a:lnTo>
                      <a:lnTo>
                        <a:pt x="24" y="208"/>
                      </a:lnTo>
                      <a:lnTo>
                        <a:pt x="16" y="200"/>
                      </a:lnTo>
                      <a:lnTo>
                        <a:pt x="8" y="200"/>
                      </a:lnTo>
                      <a:lnTo>
                        <a:pt x="0" y="216"/>
                      </a:lnTo>
                      <a:lnTo>
                        <a:pt x="8" y="248"/>
                      </a:lnTo>
                      <a:lnTo>
                        <a:pt x="16" y="256"/>
                      </a:lnTo>
                      <a:lnTo>
                        <a:pt x="16" y="272"/>
                      </a:lnTo>
                      <a:lnTo>
                        <a:pt x="40" y="280"/>
                      </a:lnTo>
                      <a:lnTo>
                        <a:pt x="56" y="280"/>
                      </a:lnTo>
                      <a:lnTo>
                        <a:pt x="64" y="272"/>
                      </a:lnTo>
                      <a:lnTo>
                        <a:pt x="72" y="280"/>
                      </a:lnTo>
                      <a:lnTo>
                        <a:pt x="88" y="312"/>
                      </a:lnTo>
                      <a:lnTo>
                        <a:pt x="104" y="312"/>
                      </a:lnTo>
                      <a:lnTo>
                        <a:pt x="112" y="296"/>
                      </a:lnTo>
                      <a:lnTo>
                        <a:pt x="128" y="312"/>
                      </a:lnTo>
                      <a:lnTo>
                        <a:pt x="144" y="312"/>
                      </a:lnTo>
                      <a:lnTo>
                        <a:pt x="144" y="288"/>
                      </a:lnTo>
                      <a:lnTo>
                        <a:pt x="152" y="280"/>
                      </a:lnTo>
                      <a:lnTo>
                        <a:pt x="152" y="272"/>
                      </a:lnTo>
                      <a:lnTo>
                        <a:pt x="168" y="256"/>
                      </a:lnTo>
                      <a:lnTo>
                        <a:pt x="168" y="248"/>
                      </a:lnTo>
                      <a:lnTo>
                        <a:pt x="184" y="248"/>
                      </a:lnTo>
                      <a:lnTo>
                        <a:pt x="208" y="224"/>
                      </a:lnTo>
                      <a:lnTo>
                        <a:pt x="216" y="224"/>
                      </a:lnTo>
                      <a:lnTo>
                        <a:pt x="224" y="208"/>
                      </a:lnTo>
                      <a:lnTo>
                        <a:pt x="248" y="208"/>
                      </a:lnTo>
                      <a:lnTo>
                        <a:pt x="256" y="216"/>
                      </a:lnTo>
                      <a:lnTo>
                        <a:pt x="280" y="216"/>
                      </a:lnTo>
                      <a:lnTo>
                        <a:pt x="296" y="208"/>
                      </a:lnTo>
                      <a:lnTo>
                        <a:pt x="320" y="208"/>
                      </a:lnTo>
                      <a:lnTo>
                        <a:pt x="344" y="120"/>
                      </a:lnTo>
                      <a:lnTo>
                        <a:pt x="312" y="128"/>
                      </a:lnTo>
                      <a:lnTo>
                        <a:pt x="312" y="112"/>
                      </a:lnTo>
                      <a:lnTo>
                        <a:pt x="304" y="104"/>
                      </a:lnTo>
                      <a:lnTo>
                        <a:pt x="296" y="104"/>
                      </a:lnTo>
                      <a:lnTo>
                        <a:pt x="280" y="104"/>
                      </a:lnTo>
                      <a:lnTo>
                        <a:pt x="272" y="88"/>
                      </a:lnTo>
                      <a:lnTo>
                        <a:pt x="168" y="0"/>
                      </a:lnTo>
                      <a:lnTo>
                        <a:pt x="16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50" name="Freeform 297">
                  <a:extLst>
                    <a:ext uri="{FF2B5EF4-FFF2-40B4-BE49-F238E27FC236}">
                      <a16:creationId xmlns:a16="http://schemas.microsoft.com/office/drawing/2014/main" id="{5F9D522F-A123-3973-69C6-E463482F3B66}"/>
                    </a:ext>
                  </a:extLst>
                </p:cNvPr>
                <p:cNvSpPr/>
                <p:nvPr/>
              </p:nvSpPr>
              <p:spPr bwMode="gray">
                <a:xfrm>
                  <a:off x="2688" y="2672"/>
                  <a:ext cx="107" cy="85"/>
                </a:xfrm>
                <a:custGeom>
                  <a:avLst/>
                  <a:gdLst>
                    <a:gd name="T0" fmla="*/ 39 w 152"/>
                    <a:gd name="T1" fmla="*/ 3 h 120"/>
                    <a:gd name="T2" fmla="*/ 39 w 152"/>
                    <a:gd name="T3" fmla="*/ 9 h 120"/>
                    <a:gd name="T4" fmla="*/ 42 w 152"/>
                    <a:gd name="T5" fmla="*/ 11 h 120"/>
                    <a:gd name="T6" fmla="*/ 44 w 152"/>
                    <a:gd name="T7" fmla="*/ 11 h 120"/>
                    <a:gd name="T8" fmla="*/ 48 w 152"/>
                    <a:gd name="T9" fmla="*/ 17 h 120"/>
                    <a:gd name="T10" fmla="*/ 53 w 152"/>
                    <a:gd name="T11" fmla="*/ 20 h 120"/>
                    <a:gd name="T12" fmla="*/ 53 w 152"/>
                    <a:gd name="T13" fmla="*/ 23 h 120"/>
                    <a:gd name="T14" fmla="*/ 53 w 152"/>
                    <a:gd name="T15" fmla="*/ 26 h 120"/>
                    <a:gd name="T16" fmla="*/ 42 w 152"/>
                    <a:gd name="T17" fmla="*/ 31 h 120"/>
                    <a:gd name="T18" fmla="*/ 36 w 152"/>
                    <a:gd name="T19" fmla="*/ 31 h 120"/>
                    <a:gd name="T20" fmla="*/ 34 w 152"/>
                    <a:gd name="T21" fmla="*/ 28 h 120"/>
                    <a:gd name="T22" fmla="*/ 31 w 152"/>
                    <a:gd name="T23" fmla="*/ 31 h 120"/>
                    <a:gd name="T24" fmla="*/ 25 w 152"/>
                    <a:gd name="T25" fmla="*/ 28 h 120"/>
                    <a:gd name="T26" fmla="*/ 19 w 152"/>
                    <a:gd name="T27" fmla="*/ 28 h 120"/>
                    <a:gd name="T28" fmla="*/ 17 w 152"/>
                    <a:gd name="T29" fmla="*/ 40 h 120"/>
                    <a:gd name="T30" fmla="*/ 8 w 152"/>
                    <a:gd name="T31" fmla="*/ 40 h 120"/>
                    <a:gd name="T32" fmla="*/ 6 w 152"/>
                    <a:gd name="T33" fmla="*/ 43 h 120"/>
                    <a:gd name="T34" fmla="*/ 0 w 152"/>
                    <a:gd name="T35" fmla="*/ 37 h 120"/>
                    <a:gd name="T36" fmla="*/ 0 w 152"/>
                    <a:gd name="T37" fmla="*/ 28 h 120"/>
                    <a:gd name="T38" fmla="*/ 3 w 152"/>
                    <a:gd name="T39" fmla="*/ 26 h 120"/>
                    <a:gd name="T40" fmla="*/ 3 w 152"/>
                    <a:gd name="T41" fmla="*/ 23 h 120"/>
                    <a:gd name="T42" fmla="*/ 8 w 152"/>
                    <a:gd name="T43" fmla="*/ 17 h 120"/>
                    <a:gd name="T44" fmla="*/ 8 w 152"/>
                    <a:gd name="T45" fmla="*/ 14 h 120"/>
                    <a:gd name="T46" fmla="*/ 14 w 152"/>
                    <a:gd name="T47" fmla="*/ 14 h 120"/>
                    <a:gd name="T48" fmla="*/ 23 w 152"/>
                    <a:gd name="T49" fmla="*/ 6 h 120"/>
                    <a:gd name="T50" fmla="*/ 25 w 152"/>
                    <a:gd name="T51" fmla="*/ 6 h 120"/>
                    <a:gd name="T52" fmla="*/ 27 w 152"/>
                    <a:gd name="T53" fmla="*/ 0 h 120"/>
                    <a:gd name="T54" fmla="*/ 36 w 152"/>
                    <a:gd name="T55" fmla="*/ 0 h 120"/>
                    <a:gd name="T56" fmla="*/ 39 w 152"/>
                    <a:gd name="T57" fmla="*/ 3 h 12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52"/>
                    <a:gd name="T88" fmla="*/ 0 h 120"/>
                    <a:gd name="T89" fmla="*/ 152 w 152"/>
                    <a:gd name="T90" fmla="*/ 120 h 12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52" h="120">
                      <a:moveTo>
                        <a:pt x="112" y="8"/>
                      </a:moveTo>
                      <a:lnTo>
                        <a:pt x="112" y="24"/>
                      </a:lnTo>
                      <a:lnTo>
                        <a:pt x="120" y="32"/>
                      </a:lnTo>
                      <a:lnTo>
                        <a:pt x="128" y="32"/>
                      </a:lnTo>
                      <a:lnTo>
                        <a:pt x="136" y="48"/>
                      </a:lnTo>
                      <a:lnTo>
                        <a:pt x="152" y="56"/>
                      </a:lnTo>
                      <a:lnTo>
                        <a:pt x="152" y="64"/>
                      </a:lnTo>
                      <a:lnTo>
                        <a:pt x="152" y="72"/>
                      </a:lnTo>
                      <a:lnTo>
                        <a:pt x="120" y="88"/>
                      </a:lnTo>
                      <a:lnTo>
                        <a:pt x="104" y="88"/>
                      </a:lnTo>
                      <a:lnTo>
                        <a:pt x="96" y="80"/>
                      </a:lnTo>
                      <a:lnTo>
                        <a:pt x="88" y="88"/>
                      </a:lnTo>
                      <a:lnTo>
                        <a:pt x="72" y="80"/>
                      </a:lnTo>
                      <a:lnTo>
                        <a:pt x="56" y="80"/>
                      </a:lnTo>
                      <a:lnTo>
                        <a:pt x="48" y="112"/>
                      </a:lnTo>
                      <a:lnTo>
                        <a:pt x="24" y="112"/>
                      </a:lnTo>
                      <a:lnTo>
                        <a:pt x="16" y="120"/>
                      </a:lnTo>
                      <a:lnTo>
                        <a:pt x="0" y="104"/>
                      </a:lnTo>
                      <a:lnTo>
                        <a:pt x="0" y="80"/>
                      </a:lnTo>
                      <a:lnTo>
                        <a:pt x="8" y="72"/>
                      </a:lnTo>
                      <a:lnTo>
                        <a:pt x="8" y="64"/>
                      </a:lnTo>
                      <a:lnTo>
                        <a:pt x="24" y="48"/>
                      </a:lnTo>
                      <a:lnTo>
                        <a:pt x="24" y="40"/>
                      </a:lnTo>
                      <a:lnTo>
                        <a:pt x="40" y="40"/>
                      </a:lnTo>
                      <a:lnTo>
                        <a:pt x="64" y="16"/>
                      </a:lnTo>
                      <a:lnTo>
                        <a:pt x="72" y="16"/>
                      </a:lnTo>
                      <a:lnTo>
                        <a:pt x="80" y="0"/>
                      </a:lnTo>
                      <a:lnTo>
                        <a:pt x="104" y="0"/>
                      </a:lnTo>
                      <a:lnTo>
                        <a:pt x="112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51" name="Freeform 298">
                  <a:extLst>
                    <a:ext uri="{FF2B5EF4-FFF2-40B4-BE49-F238E27FC236}">
                      <a16:creationId xmlns:a16="http://schemas.microsoft.com/office/drawing/2014/main" id="{380922BD-99CC-634B-CAAB-0B7F619FE1B2}"/>
                    </a:ext>
                  </a:extLst>
                </p:cNvPr>
                <p:cNvSpPr/>
                <p:nvPr/>
              </p:nvSpPr>
              <p:spPr bwMode="gray">
                <a:xfrm>
                  <a:off x="2930" y="2959"/>
                  <a:ext cx="22" cy="17"/>
                </a:xfrm>
                <a:custGeom>
                  <a:avLst/>
                  <a:gdLst>
                    <a:gd name="T0" fmla="*/ 0 w 32"/>
                    <a:gd name="T1" fmla="*/ 3 h 24"/>
                    <a:gd name="T2" fmla="*/ 8 w 32"/>
                    <a:gd name="T3" fmla="*/ 0 h 24"/>
                    <a:gd name="T4" fmla="*/ 10 w 32"/>
                    <a:gd name="T5" fmla="*/ 0 h 24"/>
                    <a:gd name="T6" fmla="*/ 10 w 32"/>
                    <a:gd name="T7" fmla="*/ 3 h 24"/>
                    <a:gd name="T8" fmla="*/ 8 w 32"/>
                    <a:gd name="T9" fmla="*/ 6 h 24"/>
                    <a:gd name="T10" fmla="*/ 3 w 32"/>
                    <a:gd name="T11" fmla="*/ 9 h 24"/>
                    <a:gd name="T12" fmla="*/ 0 w 32"/>
                    <a:gd name="T13" fmla="*/ 3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24"/>
                    <a:gd name="T23" fmla="*/ 32 w 32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24">
                      <a:moveTo>
                        <a:pt x="0" y="8"/>
                      </a:moveTo>
                      <a:lnTo>
                        <a:pt x="24" y="0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24" y="16"/>
                      </a:lnTo>
                      <a:lnTo>
                        <a:pt x="8" y="24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52" name="Freeform 299">
                  <a:extLst>
                    <a:ext uri="{FF2B5EF4-FFF2-40B4-BE49-F238E27FC236}">
                      <a16:creationId xmlns:a16="http://schemas.microsoft.com/office/drawing/2014/main" id="{49C82B36-4C95-FBF1-F92A-577E99D2F5E4}"/>
                    </a:ext>
                  </a:extLst>
                </p:cNvPr>
                <p:cNvSpPr/>
                <p:nvPr/>
              </p:nvSpPr>
              <p:spPr bwMode="gray">
                <a:xfrm>
                  <a:off x="3082" y="3010"/>
                  <a:ext cx="157" cy="141"/>
                </a:xfrm>
                <a:custGeom>
                  <a:avLst/>
                  <a:gdLst>
                    <a:gd name="T0" fmla="*/ 6 w 224"/>
                    <a:gd name="T1" fmla="*/ 65 h 200"/>
                    <a:gd name="T2" fmla="*/ 8 w 224"/>
                    <a:gd name="T3" fmla="*/ 67 h 200"/>
                    <a:gd name="T4" fmla="*/ 17 w 224"/>
                    <a:gd name="T5" fmla="*/ 67 h 200"/>
                    <a:gd name="T6" fmla="*/ 22 w 224"/>
                    <a:gd name="T7" fmla="*/ 67 h 200"/>
                    <a:gd name="T8" fmla="*/ 25 w 224"/>
                    <a:gd name="T9" fmla="*/ 70 h 200"/>
                    <a:gd name="T10" fmla="*/ 30 w 224"/>
                    <a:gd name="T11" fmla="*/ 70 h 200"/>
                    <a:gd name="T12" fmla="*/ 36 w 224"/>
                    <a:gd name="T13" fmla="*/ 65 h 200"/>
                    <a:gd name="T14" fmla="*/ 39 w 224"/>
                    <a:gd name="T15" fmla="*/ 65 h 200"/>
                    <a:gd name="T16" fmla="*/ 44 w 224"/>
                    <a:gd name="T17" fmla="*/ 61 h 200"/>
                    <a:gd name="T18" fmla="*/ 44 w 224"/>
                    <a:gd name="T19" fmla="*/ 56 h 200"/>
                    <a:gd name="T20" fmla="*/ 47 w 224"/>
                    <a:gd name="T21" fmla="*/ 56 h 200"/>
                    <a:gd name="T22" fmla="*/ 53 w 224"/>
                    <a:gd name="T23" fmla="*/ 53 h 200"/>
                    <a:gd name="T24" fmla="*/ 55 w 224"/>
                    <a:gd name="T25" fmla="*/ 48 h 200"/>
                    <a:gd name="T26" fmla="*/ 58 w 224"/>
                    <a:gd name="T27" fmla="*/ 48 h 200"/>
                    <a:gd name="T28" fmla="*/ 63 w 224"/>
                    <a:gd name="T29" fmla="*/ 44 h 200"/>
                    <a:gd name="T30" fmla="*/ 67 w 224"/>
                    <a:gd name="T31" fmla="*/ 44 h 200"/>
                    <a:gd name="T32" fmla="*/ 74 w 224"/>
                    <a:gd name="T33" fmla="*/ 42 h 200"/>
                    <a:gd name="T34" fmla="*/ 74 w 224"/>
                    <a:gd name="T35" fmla="*/ 27 h 200"/>
                    <a:gd name="T36" fmla="*/ 77 w 224"/>
                    <a:gd name="T37" fmla="*/ 27 h 200"/>
                    <a:gd name="T38" fmla="*/ 77 w 224"/>
                    <a:gd name="T39" fmla="*/ 14 h 200"/>
                    <a:gd name="T40" fmla="*/ 71 w 224"/>
                    <a:gd name="T41" fmla="*/ 8 h 200"/>
                    <a:gd name="T42" fmla="*/ 63 w 224"/>
                    <a:gd name="T43" fmla="*/ 6 h 200"/>
                    <a:gd name="T44" fmla="*/ 58 w 224"/>
                    <a:gd name="T45" fmla="*/ 0 h 200"/>
                    <a:gd name="T46" fmla="*/ 53 w 224"/>
                    <a:gd name="T47" fmla="*/ 3 h 200"/>
                    <a:gd name="T48" fmla="*/ 47 w 224"/>
                    <a:gd name="T49" fmla="*/ 3 h 200"/>
                    <a:gd name="T50" fmla="*/ 44 w 224"/>
                    <a:gd name="T51" fmla="*/ 6 h 200"/>
                    <a:gd name="T52" fmla="*/ 41 w 224"/>
                    <a:gd name="T53" fmla="*/ 23 h 200"/>
                    <a:gd name="T54" fmla="*/ 44 w 224"/>
                    <a:gd name="T55" fmla="*/ 27 h 200"/>
                    <a:gd name="T56" fmla="*/ 47 w 224"/>
                    <a:gd name="T57" fmla="*/ 27 h 200"/>
                    <a:gd name="T58" fmla="*/ 50 w 224"/>
                    <a:gd name="T59" fmla="*/ 25 h 200"/>
                    <a:gd name="T60" fmla="*/ 53 w 224"/>
                    <a:gd name="T61" fmla="*/ 27 h 200"/>
                    <a:gd name="T62" fmla="*/ 53 w 224"/>
                    <a:gd name="T63" fmla="*/ 36 h 200"/>
                    <a:gd name="T64" fmla="*/ 50 w 224"/>
                    <a:gd name="T65" fmla="*/ 39 h 200"/>
                    <a:gd name="T66" fmla="*/ 33 w 224"/>
                    <a:gd name="T67" fmla="*/ 23 h 200"/>
                    <a:gd name="T68" fmla="*/ 30 w 224"/>
                    <a:gd name="T69" fmla="*/ 23 h 200"/>
                    <a:gd name="T70" fmla="*/ 27 w 224"/>
                    <a:gd name="T71" fmla="*/ 25 h 200"/>
                    <a:gd name="T72" fmla="*/ 25 w 224"/>
                    <a:gd name="T73" fmla="*/ 25 h 200"/>
                    <a:gd name="T74" fmla="*/ 22 w 224"/>
                    <a:gd name="T75" fmla="*/ 23 h 200"/>
                    <a:gd name="T76" fmla="*/ 19 w 224"/>
                    <a:gd name="T77" fmla="*/ 19 h 200"/>
                    <a:gd name="T78" fmla="*/ 19 w 224"/>
                    <a:gd name="T79" fmla="*/ 23 h 200"/>
                    <a:gd name="T80" fmla="*/ 17 w 224"/>
                    <a:gd name="T81" fmla="*/ 23 h 200"/>
                    <a:gd name="T82" fmla="*/ 14 w 224"/>
                    <a:gd name="T83" fmla="*/ 23 h 200"/>
                    <a:gd name="T84" fmla="*/ 11 w 224"/>
                    <a:gd name="T85" fmla="*/ 34 h 200"/>
                    <a:gd name="T86" fmla="*/ 0 w 224"/>
                    <a:gd name="T87" fmla="*/ 34 h 200"/>
                    <a:gd name="T88" fmla="*/ 0 w 224"/>
                    <a:gd name="T89" fmla="*/ 61 h 200"/>
                    <a:gd name="T90" fmla="*/ 6 w 224"/>
                    <a:gd name="T91" fmla="*/ 65 h 200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4"/>
                    <a:gd name="T139" fmla="*/ 0 h 200"/>
                    <a:gd name="T140" fmla="*/ 224 w 224"/>
                    <a:gd name="T141" fmla="*/ 200 h 200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4" h="200">
                      <a:moveTo>
                        <a:pt x="16" y="184"/>
                      </a:moveTo>
                      <a:lnTo>
                        <a:pt x="24" y="192"/>
                      </a:lnTo>
                      <a:lnTo>
                        <a:pt x="48" y="192"/>
                      </a:lnTo>
                      <a:lnTo>
                        <a:pt x="64" y="192"/>
                      </a:lnTo>
                      <a:lnTo>
                        <a:pt x="72" y="200"/>
                      </a:lnTo>
                      <a:lnTo>
                        <a:pt x="88" y="200"/>
                      </a:lnTo>
                      <a:lnTo>
                        <a:pt x="104" y="184"/>
                      </a:lnTo>
                      <a:lnTo>
                        <a:pt x="112" y="184"/>
                      </a:lnTo>
                      <a:lnTo>
                        <a:pt x="128" y="176"/>
                      </a:lnTo>
                      <a:lnTo>
                        <a:pt x="128" y="160"/>
                      </a:lnTo>
                      <a:lnTo>
                        <a:pt x="136" y="160"/>
                      </a:lnTo>
                      <a:lnTo>
                        <a:pt x="152" y="152"/>
                      </a:lnTo>
                      <a:lnTo>
                        <a:pt x="160" y="136"/>
                      </a:lnTo>
                      <a:lnTo>
                        <a:pt x="168" y="136"/>
                      </a:lnTo>
                      <a:lnTo>
                        <a:pt x="184" y="128"/>
                      </a:lnTo>
                      <a:lnTo>
                        <a:pt x="192" y="128"/>
                      </a:lnTo>
                      <a:lnTo>
                        <a:pt x="216" y="120"/>
                      </a:lnTo>
                      <a:lnTo>
                        <a:pt x="216" y="80"/>
                      </a:lnTo>
                      <a:lnTo>
                        <a:pt x="224" y="80"/>
                      </a:lnTo>
                      <a:lnTo>
                        <a:pt x="224" y="40"/>
                      </a:lnTo>
                      <a:lnTo>
                        <a:pt x="208" y="24"/>
                      </a:lnTo>
                      <a:lnTo>
                        <a:pt x="184" y="16"/>
                      </a:lnTo>
                      <a:lnTo>
                        <a:pt x="168" y="0"/>
                      </a:lnTo>
                      <a:lnTo>
                        <a:pt x="152" y="8"/>
                      </a:lnTo>
                      <a:lnTo>
                        <a:pt x="136" y="8"/>
                      </a:lnTo>
                      <a:lnTo>
                        <a:pt x="128" y="16"/>
                      </a:lnTo>
                      <a:lnTo>
                        <a:pt x="120" y="64"/>
                      </a:lnTo>
                      <a:lnTo>
                        <a:pt x="128" y="80"/>
                      </a:lnTo>
                      <a:lnTo>
                        <a:pt x="136" y="80"/>
                      </a:lnTo>
                      <a:lnTo>
                        <a:pt x="144" y="72"/>
                      </a:lnTo>
                      <a:lnTo>
                        <a:pt x="152" y="80"/>
                      </a:lnTo>
                      <a:lnTo>
                        <a:pt x="152" y="104"/>
                      </a:lnTo>
                      <a:lnTo>
                        <a:pt x="144" y="112"/>
                      </a:lnTo>
                      <a:lnTo>
                        <a:pt x="96" y="64"/>
                      </a:lnTo>
                      <a:lnTo>
                        <a:pt x="88" y="64"/>
                      </a:lnTo>
                      <a:lnTo>
                        <a:pt x="80" y="72"/>
                      </a:lnTo>
                      <a:lnTo>
                        <a:pt x="72" y="72"/>
                      </a:lnTo>
                      <a:lnTo>
                        <a:pt x="64" y="64"/>
                      </a:lnTo>
                      <a:lnTo>
                        <a:pt x="56" y="56"/>
                      </a:lnTo>
                      <a:lnTo>
                        <a:pt x="56" y="64"/>
                      </a:lnTo>
                      <a:lnTo>
                        <a:pt x="48" y="64"/>
                      </a:lnTo>
                      <a:lnTo>
                        <a:pt x="40" y="64"/>
                      </a:lnTo>
                      <a:lnTo>
                        <a:pt x="32" y="96"/>
                      </a:lnTo>
                      <a:lnTo>
                        <a:pt x="0" y="96"/>
                      </a:lnTo>
                      <a:lnTo>
                        <a:pt x="0" y="176"/>
                      </a:lnTo>
                      <a:lnTo>
                        <a:pt x="16" y="18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53" name="Freeform 300">
                  <a:extLst>
                    <a:ext uri="{FF2B5EF4-FFF2-40B4-BE49-F238E27FC236}">
                      <a16:creationId xmlns:a16="http://schemas.microsoft.com/office/drawing/2014/main" id="{CE8AE5DB-3DD8-700A-AF04-8FD97EC10108}"/>
                    </a:ext>
                  </a:extLst>
                </p:cNvPr>
                <p:cNvSpPr/>
                <p:nvPr/>
              </p:nvSpPr>
              <p:spPr bwMode="gray">
                <a:xfrm>
                  <a:off x="3177" y="2903"/>
                  <a:ext cx="28" cy="23"/>
                </a:xfrm>
                <a:custGeom>
                  <a:avLst/>
                  <a:gdLst>
                    <a:gd name="T0" fmla="*/ 0 w 40"/>
                    <a:gd name="T1" fmla="*/ 3 h 32"/>
                    <a:gd name="T2" fmla="*/ 6 w 40"/>
                    <a:gd name="T3" fmla="*/ 3 h 32"/>
                    <a:gd name="T4" fmla="*/ 8 w 40"/>
                    <a:gd name="T5" fmla="*/ 0 h 32"/>
                    <a:gd name="T6" fmla="*/ 10 w 40"/>
                    <a:gd name="T7" fmla="*/ 0 h 32"/>
                    <a:gd name="T8" fmla="*/ 14 w 40"/>
                    <a:gd name="T9" fmla="*/ 3 h 32"/>
                    <a:gd name="T10" fmla="*/ 10 w 40"/>
                    <a:gd name="T11" fmla="*/ 6 h 32"/>
                    <a:gd name="T12" fmla="*/ 8 w 40"/>
                    <a:gd name="T13" fmla="*/ 9 h 32"/>
                    <a:gd name="T14" fmla="*/ 8 w 40"/>
                    <a:gd name="T15" fmla="*/ 12 h 32"/>
                    <a:gd name="T16" fmla="*/ 6 w 40"/>
                    <a:gd name="T17" fmla="*/ 12 h 32"/>
                    <a:gd name="T18" fmla="*/ 3 w 40"/>
                    <a:gd name="T19" fmla="*/ 12 h 32"/>
                    <a:gd name="T20" fmla="*/ 0 w 40"/>
                    <a:gd name="T21" fmla="*/ 12 h 32"/>
                    <a:gd name="T22" fmla="*/ 0 w 40"/>
                    <a:gd name="T23" fmla="*/ 3 h 3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0"/>
                    <a:gd name="T37" fmla="*/ 0 h 32"/>
                    <a:gd name="T38" fmla="*/ 40 w 40"/>
                    <a:gd name="T39" fmla="*/ 32 h 3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0" h="32">
                      <a:moveTo>
                        <a:pt x="0" y="8"/>
                      </a:move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32" y="0"/>
                      </a:lnTo>
                      <a:lnTo>
                        <a:pt x="40" y="8"/>
                      </a:lnTo>
                      <a:lnTo>
                        <a:pt x="32" y="16"/>
                      </a:lnTo>
                      <a:lnTo>
                        <a:pt x="24" y="24"/>
                      </a:lnTo>
                      <a:lnTo>
                        <a:pt x="24" y="32"/>
                      </a:lnTo>
                      <a:lnTo>
                        <a:pt x="16" y="32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54" name="Freeform 301">
                  <a:extLst>
                    <a:ext uri="{FF2B5EF4-FFF2-40B4-BE49-F238E27FC236}">
                      <a16:creationId xmlns:a16="http://schemas.microsoft.com/office/drawing/2014/main" id="{74B512A2-F7A0-D8FD-B507-C1B04ED944CE}"/>
                    </a:ext>
                  </a:extLst>
                </p:cNvPr>
                <p:cNvSpPr/>
                <p:nvPr/>
              </p:nvSpPr>
              <p:spPr bwMode="gray">
                <a:xfrm>
                  <a:off x="3228" y="3027"/>
                  <a:ext cx="39" cy="112"/>
                </a:xfrm>
                <a:custGeom>
                  <a:avLst/>
                  <a:gdLst>
                    <a:gd name="T0" fmla="*/ 0 w 56"/>
                    <a:gd name="T1" fmla="*/ 0 h 160"/>
                    <a:gd name="T2" fmla="*/ 6 w 56"/>
                    <a:gd name="T3" fmla="*/ 6 h 160"/>
                    <a:gd name="T4" fmla="*/ 6 w 56"/>
                    <a:gd name="T5" fmla="*/ 19 h 160"/>
                    <a:gd name="T6" fmla="*/ 3 w 56"/>
                    <a:gd name="T7" fmla="*/ 19 h 160"/>
                    <a:gd name="T8" fmla="*/ 3 w 56"/>
                    <a:gd name="T9" fmla="*/ 33 h 160"/>
                    <a:gd name="T10" fmla="*/ 6 w 56"/>
                    <a:gd name="T11" fmla="*/ 33 h 160"/>
                    <a:gd name="T12" fmla="*/ 8 w 56"/>
                    <a:gd name="T13" fmla="*/ 36 h 160"/>
                    <a:gd name="T14" fmla="*/ 10 w 56"/>
                    <a:gd name="T15" fmla="*/ 36 h 160"/>
                    <a:gd name="T16" fmla="*/ 10 w 56"/>
                    <a:gd name="T17" fmla="*/ 41 h 160"/>
                    <a:gd name="T18" fmla="*/ 10 w 56"/>
                    <a:gd name="T19" fmla="*/ 47 h 160"/>
                    <a:gd name="T20" fmla="*/ 10 w 56"/>
                    <a:gd name="T21" fmla="*/ 52 h 160"/>
                    <a:gd name="T22" fmla="*/ 16 w 56"/>
                    <a:gd name="T23" fmla="*/ 55 h 160"/>
                    <a:gd name="T24" fmla="*/ 19 w 56"/>
                    <a:gd name="T25" fmla="*/ 55 h 160"/>
                    <a:gd name="T26" fmla="*/ 16 w 56"/>
                    <a:gd name="T27" fmla="*/ 50 h 160"/>
                    <a:gd name="T28" fmla="*/ 19 w 56"/>
                    <a:gd name="T29" fmla="*/ 44 h 160"/>
                    <a:gd name="T30" fmla="*/ 19 w 56"/>
                    <a:gd name="T31" fmla="*/ 36 h 160"/>
                    <a:gd name="T32" fmla="*/ 16 w 56"/>
                    <a:gd name="T33" fmla="*/ 30 h 160"/>
                    <a:gd name="T34" fmla="*/ 14 w 56"/>
                    <a:gd name="T35" fmla="*/ 25 h 160"/>
                    <a:gd name="T36" fmla="*/ 14 w 56"/>
                    <a:gd name="T37" fmla="*/ 17 h 160"/>
                    <a:gd name="T38" fmla="*/ 14 w 56"/>
                    <a:gd name="T39" fmla="*/ 6 h 160"/>
                    <a:gd name="T40" fmla="*/ 10 w 56"/>
                    <a:gd name="T41" fmla="*/ 0 h 160"/>
                    <a:gd name="T42" fmla="*/ 6 w 56"/>
                    <a:gd name="T43" fmla="*/ 0 h 160"/>
                    <a:gd name="T44" fmla="*/ 0 w 56"/>
                    <a:gd name="T45" fmla="*/ 0 h 16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56"/>
                    <a:gd name="T70" fmla="*/ 0 h 160"/>
                    <a:gd name="T71" fmla="*/ 56 w 56"/>
                    <a:gd name="T72" fmla="*/ 160 h 16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56" h="160">
                      <a:moveTo>
                        <a:pt x="0" y="0"/>
                      </a:moveTo>
                      <a:lnTo>
                        <a:pt x="16" y="16"/>
                      </a:lnTo>
                      <a:lnTo>
                        <a:pt x="16" y="56"/>
                      </a:lnTo>
                      <a:lnTo>
                        <a:pt x="8" y="56"/>
                      </a:lnTo>
                      <a:lnTo>
                        <a:pt x="8" y="96"/>
                      </a:lnTo>
                      <a:lnTo>
                        <a:pt x="16" y="96"/>
                      </a:lnTo>
                      <a:lnTo>
                        <a:pt x="24" y="104"/>
                      </a:lnTo>
                      <a:lnTo>
                        <a:pt x="32" y="104"/>
                      </a:lnTo>
                      <a:lnTo>
                        <a:pt x="32" y="120"/>
                      </a:lnTo>
                      <a:lnTo>
                        <a:pt x="32" y="136"/>
                      </a:lnTo>
                      <a:lnTo>
                        <a:pt x="32" y="152"/>
                      </a:lnTo>
                      <a:lnTo>
                        <a:pt x="48" y="160"/>
                      </a:lnTo>
                      <a:lnTo>
                        <a:pt x="56" y="160"/>
                      </a:lnTo>
                      <a:lnTo>
                        <a:pt x="48" y="144"/>
                      </a:lnTo>
                      <a:lnTo>
                        <a:pt x="56" y="128"/>
                      </a:lnTo>
                      <a:lnTo>
                        <a:pt x="56" y="104"/>
                      </a:lnTo>
                      <a:lnTo>
                        <a:pt x="48" y="88"/>
                      </a:lnTo>
                      <a:lnTo>
                        <a:pt x="40" y="72"/>
                      </a:lnTo>
                      <a:lnTo>
                        <a:pt x="40" y="48"/>
                      </a:lnTo>
                      <a:lnTo>
                        <a:pt x="40" y="16"/>
                      </a:ln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55" name="Freeform 302">
                  <a:extLst>
                    <a:ext uri="{FF2B5EF4-FFF2-40B4-BE49-F238E27FC236}">
                      <a16:creationId xmlns:a16="http://schemas.microsoft.com/office/drawing/2014/main" id="{4483735A-735B-5B44-9585-DAA70F4A17E7}"/>
                    </a:ext>
                  </a:extLst>
                </p:cNvPr>
                <p:cNvSpPr/>
                <p:nvPr/>
              </p:nvSpPr>
              <p:spPr bwMode="gray">
                <a:xfrm>
                  <a:off x="3194" y="3269"/>
                  <a:ext cx="23" cy="34"/>
                </a:xfrm>
                <a:custGeom>
                  <a:avLst/>
                  <a:gdLst>
                    <a:gd name="T0" fmla="*/ 12 w 32"/>
                    <a:gd name="T1" fmla="*/ 9 h 48"/>
                    <a:gd name="T2" fmla="*/ 9 w 32"/>
                    <a:gd name="T3" fmla="*/ 17 h 48"/>
                    <a:gd name="T4" fmla="*/ 3 w 32"/>
                    <a:gd name="T5" fmla="*/ 17 h 48"/>
                    <a:gd name="T6" fmla="*/ 0 w 32"/>
                    <a:gd name="T7" fmla="*/ 11 h 48"/>
                    <a:gd name="T8" fmla="*/ 3 w 32"/>
                    <a:gd name="T9" fmla="*/ 0 h 48"/>
                    <a:gd name="T10" fmla="*/ 6 w 32"/>
                    <a:gd name="T11" fmla="*/ 0 h 48"/>
                    <a:gd name="T12" fmla="*/ 9 w 32"/>
                    <a:gd name="T13" fmla="*/ 0 h 48"/>
                    <a:gd name="T14" fmla="*/ 12 w 32"/>
                    <a:gd name="T15" fmla="*/ 9 h 4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2"/>
                    <a:gd name="T25" fmla="*/ 0 h 48"/>
                    <a:gd name="T26" fmla="*/ 32 w 32"/>
                    <a:gd name="T27" fmla="*/ 48 h 4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2" h="48">
                      <a:moveTo>
                        <a:pt x="32" y="24"/>
                      </a:moveTo>
                      <a:lnTo>
                        <a:pt x="24" y="48"/>
                      </a:lnTo>
                      <a:lnTo>
                        <a:pt x="8" y="48"/>
                      </a:lnTo>
                      <a:lnTo>
                        <a:pt x="0" y="32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0"/>
                      </a:lnTo>
                      <a:lnTo>
                        <a:pt x="32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56" name="Freeform 303">
                  <a:extLst>
                    <a:ext uri="{FF2B5EF4-FFF2-40B4-BE49-F238E27FC236}">
                      <a16:creationId xmlns:a16="http://schemas.microsoft.com/office/drawing/2014/main" id="{90E67D48-0F85-CEFC-2593-09B306FFD03D}"/>
                    </a:ext>
                  </a:extLst>
                </p:cNvPr>
                <p:cNvSpPr/>
                <p:nvPr/>
              </p:nvSpPr>
              <p:spPr bwMode="gray">
                <a:xfrm>
                  <a:off x="3144" y="3320"/>
                  <a:ext cx="39" cy="33"/>
                </a:xfrm>
                <a:custGeom>
                  <a:avLst/>
                  <a:gdLst>
                    <a:gd name="T0" fmla="*/ 19 w 56"/>
                    <a:gd name="T1" fmla="*/ 0 h 48"/>
                    <a:gd name="T2" fmla="*/ 19 w 56"/>
                    <a:gd name="T3" fmla="*/ 6 h 48"/>
                    <a:gd name="T4" fmla="*/ 14 w 56"/>
                    <a:gd name="T5" fmla="*/ 10 h 48"/>
                    <a:gd name="T6" fmla="*/ 14 w 56"/>
                    <a:gd name="T7" fmla="*/ 13 h 48"/>
                    <a:gd name="T8" fmla="*/ 6 w 56"/>
                    <a:gd name="T9" fmla="*/ 16 h 48"/>
                    <a:gd name="T10" fmla="*/ 0 w 56"/>
                    <a:gd name="T11" fmla="*/ 10 h 48"/>
                    <a:gd name="T12" fmla="*/ 0 w 56"/>
                    <a:gd name="T13" fmla="*/ 8 h 48"/>
                    <a:gd name="T14" fmla="*/ 8 w 56"/>
                    <a:gd name="T15" fmla="*/ 0 h 48"/>
                    <a:gd name="T16" fmla="*/ 19 w 56"/>
                    <a:gd name="T17" fmla="*/ 0 h 4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6"/>
                    <a:gd name="T28" fmla="*/ 0 h 48"/>
                    <a:gd name="T29" fmla="*/ 56 w 56"/>
                    <a:gd name="T30" fmla="*/ 48 h 4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6" h="48">
                      <a:moveTo>
                        <a:pt x="56" y="0"/>
                      </a:moveTo>
                      <a:lnTo>
                        <a:pt x="56" y="16"/>
                      </a:lnTo>
                      <a:lnTo>
                        <a:pt x="40" y="32"/>
                      </a:lnTo>
                      <a:lnTo>
                        <a:pt x="40" y="40"/>
                      </a:lnTo>
                      <a:lnTo>
                        <a:pt x="16" y="48"/>
                      </a:lnTo>
                      <a:lnTo>
                        <a:pt x="0" y="32"/>
                      </a:lnTo>
                      <a:lnTo>
                        <a:pt x="0" y="24"/>
                      </a:lnTo>
                      <a:lnTo>
                        <a:pt x="24" y="0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57" name="Freeform 304">
                  <a:extLst>
                    <a:ext uri="{FF2B5EF4-FFF2-40B4-BE49-F238E27FC236}">
                      <a16:creationId xmlns:a16="http://schemas.microsoft.com/office/drawing/2014/main" id="{BA96BF42-F962-2CE2-0E4A-9DE7E6D78BF9}"/>
                    </a:ext>
                  </a:extLst>
                </p:cNvPr>
                <p:cNvSpPr/>
                <p:nvPr/>
              </p:nvSpPr>
              <p:spPr bwMode="gray">
                <a:xfrm>
                  <a:off x="3189" y="3038"/>
                  <a:ext cx="151" cy="253"/>
                </a:xfrm>
                <a:custGeom>
                  <a:avLst/>
                  <a:gdLst>
                    <a:gd name="T0" fmla="*/ 19 w 216"/>
                    <a:gd name="T1" fmla="*/ 125 h 360"/>
                    <a:gd name="T2" fmla="*/ 19 w 216"/>
                    <a:gd name="T3" fmla="*/ 119 h 360"/>
                    <a:gd name="T4" fmla="*/ 19 w 216"/>
                    <a:gd name="T5" fmla="*/ 117 h 360"/>
                    <a:gd name="T6" fmla="*/ 22 w 216"/>
                    <a:gd name="T7" fmla="*/ 114 h 360"/>
                    <a:gd name="T8" fmla="*/ 36 w 216"/>
                    <a:gd name="T9" fmla="*/ 108 h 360"/>
                    <a:gd name="T10" fmla="*/ 38 w 216"/>
                    <a:gd name="T11" fmla="*/ 100 h 360"/>
                    <a:gd name="T12" fmla="*/ 36 w 216"/>
                    <a:gd name="T13" fmla="*/ 86 h 360"/>
                    <a:gd name="T14" fmla="*/ 33 w 216"/>
                    <a:gd name="T15" fmla="*/ 72 h 360"/>
                    <a:gd name="T16" fmla="*/ 33 w 216"/>
                    <a:gd name="T17" fmla="*/ 70 h 360"/>
                    <a:gd name="T18" fmla="*/ 38 w 216"/>
                    <a:gd name="T19" fmla="*/ 64 h 360"/>
                    <a:gd name="T20" fmla="*/ 43 w 216"/>
                    <a:gd name="T21" fmla="*/ 61 h 360"/>
                    <a:gd name="T22" fmla="*/ 46 w 216"/>
                    <a:gd name="T23" fmla="*/ 58 h 360"/>
                    <a:gd name="T24" fmla="*/ 52 w 216"/>
                    <a:gd name="T25" fmla="*/ 53 h 360"/>
                    <a:gd name="T26" fmla="*/ 66 w 216"/>
                    <a:gd name="T27" fmla="*/ 47 h 360"/>
                    <a:gd name="T28" fmla="*/ 74 w 216"/>
                    <a:gd name="T29" fmla="*/ 36 h 360"/>
                    <a:gd name="T30" fmla="*/ 74 w 216"/>
                    <a:gd name="T31" fmla="*/ 19 h 360"/>
                    <a:gd name="T32" fmla="*/ 74 w 216"/>
                    <a:gd name="T33" fmla="*/ 14 h 360"/>
                    <a:gd name="T34" fmla="*/ 74 w 216"/>
                    <a:gd name="T35" fmla="*/ 0 h 360"/>
                    <a:gd name="T36" fmla="*/ 69 w 216"/>
                    <a:gd name="T37" fmla="*/ 3 h 360"/>
                    <a:gd name="T38" fmla="*/ 66 w 216"/>
                    <a:gd name="T39" fmla="*/ 6 h 360"/>
                    <a:gd name="T40" fmla="*/ 63 w 216"/>
                    <a:gd name="T41" fmla="*/ 6 h 360"/>
                    <a:gd name="T42" fmla="*/ 57 w 216"/>
                    <a:gd name="T43" fmla="*/ 11 h 360"/>
                    <a:gd name="T44" fmla="*/ 52 w 216"/>
                    <a:gd name="T45" fmla="*/ 11 h 360"/>
                    <a:gd name="T46" fmla="*/ 50 w 216"/>
                    <a:gd name="T47" fmla="*/ 11 h 360"/>
                    <a:gd name="T48" fmla="*/ 43 w 216"/>
                    <a:gd name="T49" fmla="*/ 11 h 360"/>
                    <a:gd name="T50" fmla="*/ 33 w 216"/>
                    <a:gd name="T51" fmla="*/ 11 h 360"/>
                    <a:gd name="T52" fmla="*/ 33 w 216"/>
                    <a:gd name="T53" fmla="*/ 19 h 360"/>
                    <a:gd name="T54" fmla="*/ 36 w 216"/>
                    <a:gd name="T55" fmla="*/ 25 h 360"/>
                    <a:gd name="T56" fmla="*/ 38 w 216"/>
                    <a:gd name="T57" fmla="*/ 31 h 360"/>
                    <a:gd name="T58" fmla="*/ 38 w 216"/>
                    <a:gd name="T59" fmla="*/ 39 h 360"/>
                    <a:gd name="T60" fmla="*/ 36 w 216"/>
                    <a:gd name="T61" fmla="*/ 44 h 360"/>
                    <a:gd name="T62" fmla="*/ 38 w 216"/>
                    <a:gd name="T63" fmla="*/ 50 h 360"/>
                    <a:gd name="T64" fmla="*/ 36 w 216"/>
                    <a:gd name="T65" fmla="*/ 50 h 360"/>
                    <a:gd name="T66" fmla="*/ 30 w 216"/>
                    <a:gd name="T67" fmla="*/ 47 h 360"/>
                    <a:gd name="T68" fmla="*/ 30 w 216"/>
                    <a:gd name="T69" fmla="*/ 41 h 360"/>
                    <a:gd name="T70" fmla="*/ 30 w 216"/>
                    <a:gd name="T71" fmla="*/ 36 h 360"/>
                    <a:gd name="T72" fmla="*/ 30 w 216"/>
                    <a:gd name="T73" fmla="*/ 31 h 360"/>
                    <a:gd name="T74" fmla="*/ 27 w 216"/>
                    <a:gd name="T75" fmla="*/ 31 h 360"/>
                    <a:gd name="T76" fmla="*/ 24 w 216"/>
                    <a:gd name="T77" fmla="*/ 27 h 360"/>
                    <a:gd name="T78" fmla="*/ 22 w 216"/>
                    <a:gd name="T79" fmla="*/ 27 h 360"/>
                    <a:gd name="T80" fmla="*/ 14 w 216"/>
                    <a:gd name="T81" fmla="*/ 31 h 360"/>
                    <a:gd name="T82" fmla="*/ 10 w 216"/>
                    <a:gd name="T83" fmla="*/ 31 h 360"/>
                    <a:gd name="T84" fmla="*/ 6 w 216"/>
                    <a:gd name="T85" fmla="*/ 33 h 360"/>
                    <a:gd name="T86" fmla="*/ 3 w 216"/>
                    <a:gd name="T87" fmla="*/ 33 h 360"/>
                    <a:gd name="T88" fmla="*/ 0 w 216"/>
                    <a:gd name="T89" fmla="*/ 39 h 360"/>
                    <a:gd name="T90" fmla="*/ 17 w 216"/>
                    <a:gd name="T91" fmla="*/ 44 h 360"/>
                    <a:gd name="T92" fmla="*/ 19 w 216"/>
                    <a:gd name="T93" fmla="*/ 50 h 360"/>
                    <a:gd name="T94" fmla="*/ 22 w 216"/>
                    <a:gd name="T95" fmla="*/ 58 h 360"/>
                    <a:gd name="T96" fmla="*/ 19 w 216"/>
                    <a:gd name="T97" fmla="*/ 61 h 360"/>
                    <a:gd name="T98" fmla="*/ 19 w 216"/>
                    <a:gd name="T99" fmla="*/ 67 h 360"/>
                    <a:gd name="T100" fmla="*/ 22 w 216"/>
                    <a:gd name="T101" fmla="*/ 70 h 360"/>
                    <a:gd name="T102" fmla="*/ 22 w 216"/>
                    <a:gd name="T103" fmla="*/ 72 h 360"/>
                    <a:gd name="T104" fmla="*/ 14 w 216"/>
                    <a:gd name="T105" fmla="*/ 77 h 360"/>
                    <a:gd name="T106" fmla="*/ 14 w 216"/>
                    <a:gd name="T107" fmla="*/ 86 h 360"/>
                    <a:gd name="T108" fmla="*/ 10 w 216"/>
                    <a:gd name="T109" fmla="*/ 89 h 360"/>
                    <a:gd name="T110" fmla="*/ 14 w 216"/>
                    <a:gd name="T111" fmla="*/ 105 h 360"/>
                    <a:gd name="T112" fmla="*/ 10 w 216"/>
                    <a:gd name="T113" fmla="*/ 114 h 360"/>
                    <a:gd name="T114" fmla="*/ 14 w 216"/>
                    <a:gd name="T115" fmla="*/ 122 h 360"/>
                    <a:gd name="T116" fmla="*/ 19 w 216"/>
                    <a:gd name="T117" fmla="*/ 125 h 36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16"/>
                    <a:gd name="T178" fmla="*/ 0 h 360"/>
                    <a:gd name="T179" fmla="*/ 216 w 216"/>
                    <a:gd name="T180" fmla="*/ 360 h 36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16" h="360">
                      <a:moveTo>
                        <a:pt x="56" y="360"/>
                      </a:moveTo>
                      <a:lnTo>
                        <a:pt x="56" y="344"/>
                      </a:lnTo>
                      <a:lnTo>
                        <a:pt x="56" y="336"/>
                      </a:lnTo>
                      <a:lnTo>
                        <a:pt x="64" y="328"/>
                      </a:lnTo>
                      <a:lnTo>
                        <a:pt x="104" y="312"/>
                      </a:lnTo>
                      <a:lnTo>
                        <a:pt x="112" y="288"/>
                      </a:lnTo>
                      <a:lnTo>
                        <a:pt x="104" y="248"/>
                      </a:lnTo>
                      <a:lnTo>
                        <a:pt x="96" y="208"/>
                      </a:lnTo>
                      <a:lnTo>
                        <a:pt x="96" y="200"/>
                      </a:lnTo>
                      <a:lnTo>
                        <a:pt x="112" y="184"/>
                      </a:lnTo>
                      <a:lnTo>
                        <a:pt x="128" y="176"/>
                      </a:lnTo>
                      <a:lnTo>
                        <a:pt x="136" y="168"/>
                      </a:lnTo>
                      <a:lnTo>
                        <a:pt x="152" y="152"/>
                      </a:lnTo>
                      <a:lnTo>
                        <a:pt x="192" y="136"/>
                      </a:lnTo>
                      <a:lnTo>
                        <a:pt x="216" y="104"/>
                      </a:lnTo>
                      <a:lnTo>
                        <a:pt x="216" y="56"/>
                      </a:lnTo>
                      <a:lnTo>
                        <a:pt x="216" y="40"/>
                      </a:lnTo>
                      <a:lnTo>
                        <a:pt x="216" y="0"/>
                      </a:lnTo>
                      <a:lnTo>
                        <a:pt x="200" y="8"/>
                      </a:lnTo>
                      <a:lnTo>
                        <a:pt x="192" y="16"/>
                      </a:lnTo>
                      <a:lnTo>
                        <a:pt x="184" y="16"/>
                      </a:lnTo>
                      <a:lnTo>
                        <a:pt x="168" y="32"/>
                      </a:lnTo>
                      <a:lnTo>
                        <a:pt x="152" y="32"/>
                      </a:lnTo>
                      <a:lnTo>
                        <a:pt x="144" y="32"/>
                      </a:lnTo>
                      <a:lnTo>
                        <a:pt x="128" y="32"/>
                      </a:lnTo>
                      <a:lnTo>
                        <a:pt x="96" y="32"/>
                      </a:lnTo>
                      <a:lnTo>
                        <a:pt x="96" y="56"/>
                      </a:lnTo>
                      <a:lnTo>
                        <a:pt x="104" y="72"/>
                      </a:lnTo>
                      <a:lnTo>
                        <a:pt x="112" y="88"/>
                      </a:lnTo>
                      <a:lnTo>
                        <a:pt x="112" y="112"/>
                      </a:lnTo>
                      <a:lnTo>
                        <a:pt x="104" y="128"/>
                      </a:lnTo>
                      <a:lnTo>
                        <a:pt x="112" y="144"/>
                      </a:lnTo>
                      <a:lnTo>
                        <a:pt x="104" y="144"/>
                      </a:lnTo>
                      <a:lnTo>
                        <a:pt x="88" y="136"/>
                      </a:lnTo>
                      <a:lnTo>
                        <a:pt x="88" y="120"/>
                      </a:lnTo>
                      <a:lnTo>
                        <a:pt x="88" y="104"/>
                      </a:lnTo>
                      <a:lnTo>
                        <a:pt x="88" y="88"/>
                      </a:lnTo>
                      <a:lnTo>
                        <a:pt x="80" y="88"/>
                      </a:lnTo>
                      <a:lnTo>
                        <a:pt x="72" y="80"/>
                      </a:lnTo>
                      <a:lnTo>
                        <a:pt x="64" y="80"/>
                      </a:lnTo>
                      <a:lnTo>
                        <a:pt x="40" y="88"/>
                      </a:lnTo>
                      <a:lnTo>
                        <a:pt x="32" y="88"/>
                      </a:lnTo>
                      <a:lnTo>
                        <a:pt x="16" y="96"/>
                      </a:lnTo>
                      <a:lnTo>
                        <a:pt x="8" y="96"/>
                      </a:lnTo>
                      <a:lnTo>
                        <a:pt x="0" y="112"/>
                      </a:lnTo>
                      <a:lnTo>
                        <a:pt x="48" y="128"/>
                      </a:lnTo>
                      <a:lnTo>
                        <a:pt x="56" y="144"/>
                      </a:lnTo>
                      <a:lnTo>
                        <a:pt x="64" y="168"/>
                      </a:lnTo>
                      <a:lnTo>
                        <a:pt x="56" y="176"/>
                      </a:lnTo>
                      <a:lnTo>
                        <a:pt x="56" y="192"/>
                      </a:lnTo>
                      <a:lnTo>
                        <a:pt x="64" y="200"/>
                      </a:lnTo>
                      <a:lnTo>
                        <a:pt x="64" y="208"/>
                      </a:lnTo>
                      <a:lnTo>
                        <a:pt x="40" y="224"/>
                      </a:lnTo>
                      <a:lnTo>
                        <a:pt x="40" y="248"/>
                      </a:lnTo>
                      <a:lnTo>
                        <a:pt x="32" y="256"/>
                      </a:lnTo>
                      <a:lnTo>
                        <a:pt x="40" y="304"/>
                      </a:lnTo>
                      <a:lnTo>
                        <a:pt x="32" y="328"/>
                      </a:lnTo>
                      <a:lnTo>
                        <a:pt x="40" y="352"/>
                      </a:lnTo>
                      <a:lnTo>
                        <a:pt x="56" y="36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58" name="Freeform 305">
                  <a:extLst>
                    <a:ext uri="{FF2B5EF4-FFF2-40B4-BE49-F238E27FC236}">
                      <a16:creationId xmlns:a16="http://schemas.microsoft.com/office/drawing/2014/main" id="{7A7E3215-07FD-D1DD-22AA-97EBB4DDB9AF}"/>
                    </a:ext>
                  </a:extLst>
                </p:cNvPr>
                <p:cNvSpPr/>
                <p:nvPr/>
              </p:nvSpPr>
              <p:spPr bwMode="gray">
                <a:xfrm>
                  <a:off x="3245" y="2824"/>
                  <a:ext cx="112" cy="130"/>
                </a:xfrm>
                <a:custGeom>
                  <a:avLst/>
                  <a:gdLst>
                    <a:gd name="T0" fmla="*/ 38 w 160"/>
                    <a:gd name="T1" fmla="*/ 65 h 184"/>
                    <a:gd name="T2" fmla="*/ 41 w 160"/>
                    <a:gd name="T3" fmla="*/ 59 h 184"/>
                    <a:gd name="T4" fmla="*/ 44 w 160"/>
                    <a:gd name="T5" fmla="*/ 54 h 184"/>
                    <a:gd name="T6" fmla="*/ 47 w 160"/>
                    <a:gd name="T7" fmla="*/ 51 h 184"/>
                    <a:gd name="T8" fmla="*/ 47 w 160"/>
                    <a:gd name="T9" fmla="*/ 48 h 184"/>
                    <a:gd name="T10" fmla="*/ 52 w 160"/>
                    <a:gd name="T11" fmla="*/ 45 h 184"/>
                    <a:gd name="T12" fmla="*/ 55 w 160"/>
                    <a:gd name="T13" fmla="*/ 42 h 184"/>
                    <a:gd name="T14" fmla="*/ 52 w 160"/>
                    <a:gd name="T15" fmla="*/ 40 h 184"/>
                    <a:gd name="T16" fmla="*/ 52 w 160"/>
                    <a:gd name="T17" fmla="*/ 8 h 184"/>
                    <a:gd name="T18" fmla="*/ 55 w 160"/>
                    <a:gd name="T19" fmla="*/ 3 h 184"/>
                    <a:gd name="T20" fmla="*/ 44 w 160"/>
                    <a:gd name="T21" fmla="*/ 3 h 184"/>
                    <a:gd name="T22" fmla="*/ 36 w 160"/>
                    <a:gd name="T23" fmla="*/ 6 h 184"/>
                    <a:gd name="T24" fmla="*/ 30 w 160"/>
                    <a:gd name="T25" fmla="*/ 6 h 184"/>
                    <a:gd name="T26" fmla="*/ 17 w 160"/>
                    <a:gd name="T27" fmla="*/ 0 h 184"/>
                    <a:gd name="T28" fmla="*/ 14 w 160"/>
                    <a:gd name="T29" fmla="*/ 0 h 184"/>
                    <a:gd name="T30" fmla="*/ 0 w 160"/>
                    <a:gd name="T31" fmla="*/ 0 h 184"/>
                    <a:gd name="T32" fmla="*/ 3 w 160"/>
                    <a:gd name="T33" fmla="*/ 6 h 184"/>
                    <a:gd name="T34" fmla="*/ 8 w 160"/>
                    <a:gd name="T35" fmla="*/ 17 h 184"/>
                    <a:gd name="T36" fmla="*/ 8 w 160"/>
                    <a:gd name="T37" fmla="*/ 23 h 184"/>
                    <a:gd name="T38" fmla="*/ 0 w 160"/>
                    <a:gd name="T39" fmla="*/ 28 h 184"/>
                    <a:gd name="T40" fmla="*/ 0 w 160"/>
                    <a:gd name="T41" fmla="*/ 40 h 184"/>
                    <a:gd name="T42" fmla="*/ 10 w 160"/>
                    <a:gd name="T43" fmla="*/ 45 h 184"/>
                    <a:gd name="T44" fmla="*/ 25 w 160"/>
                    <a:gd name="T45" fmla="*/ 51 h 184"/>
                    <a:gd name="T46" fmla="*/ 25 w 160"/>
                    <a:gd name="T47" fmla="*/ 54 h 184"/>
                    <a:gd name="T48" fmla="*/ 25 w 160"/>
                    <a:gd name="T49" fmla="*/ 59 h 184"/>
                    <a:gd name="T50" fmla="*/ 38 w 160"/>
                    <a:gd name="T51" fmla="*/ 65 h 18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60"/>
                    <a:gd name="T79" fmla="*/ 0 h 184"/>
                    <a:gd name="T80" fmla="*/ 160 w 160"/>
                    <a:gd name="T81" fmla="*/ 184 h 18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60" h="184">
                      <a:moveTo>
                        <a:pt x="112" y="184"/>
                      </a:moveTo>
                      <a:lnTo>
                        <a:pt x="120" y="168"/>
                      </a:lnTo>
                      <a:lnTo>
                        <a:pt x="128" y="152"/>
                      </a:lnTo>
                      <a:lnTo>
                        <a:pt x="136" y="144"/>
                      </a:lnTo>
                      <a:lnTo>
                        <a:pt x="136" y="136"/>
                      </a:lnTo>
                      <a:lnTo>
                        <a:pt x="152" y="128"/>
                      </a:lnTo>
                      <a:lnTo>
                        <a:pt x="160" y="120"/>
                      </a:lnTo>
                      <a:lnTo>
                        <a:pt x="152" y="112"/>
                      </a:lnTo>
                      <a:lnTo>
                        <a:pt x="152" y="24"/>
                      </a:lnTo>
                      <a:lnTo>
                        <a:pt x="160" y="8"/>
                      </a:lnTo>
                      <a:lnTo>
                        <a:pt x="128" y="8"/>
                      </a:lnTo>
                      <a:lnTo>
                        <a:pt x="104" y="16"/>
                      </a:lnTo>
                      <a:lnTo>
                        <a:pt x="88" y="16"/>
                      </a:lnTo>
                      <a:lnTo>
                        <a:pt x="48" y="0"/>
                      </a:lnTo>
                      <a:lnTo>
                        <a:pt x="40" y="0"/>
                      </a:lnTo>
                      <a:lnTo>
                        <a:pt x="0" y="0"/>
                      </a:lnTo>
                      <a:lnTo>
                        <a:pt x="8" y="16"/>
                      </a:lnTo>
                      <a:lnTo>
                        <a:pt x="24" y="48"/>
                      </a:lnTo>
                      <a:lnTo>
                        <a:pt x="24" y="64"/>
                      </a:lnTo>
                      <a:lnTo>
                        <a:pt x="0" y="80"/>
                      </a:lnTo>
                      <a:lnTo>
                        <a:pt x="0" y="112"/>
                      </a:lnTo>
                      <a:lnTo>
                        <a:pt x="32" y="128"/>
                      </a:lnTo>
                      <a:lnTo>
                        <a:pt x="72" y="144"/>
                      </a:lnTo>
                      <a:lnTo>
                        <a:pt x="72" y="152"/>
                      </a:lnTo>
                      <a:lnTo>
                        <a:pt x="72" y="168"/>
                      </a:lnTo>
                      <a:lnTo>
                        <a:pt x="112" y="18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59" name="Freeform 306">
                  <a:extLst>
                    <a:ext uri="{FF2B5EF4-FFF2-40B4-BE49-F238E27FC236}">
                      <a16:creationId xmlns:a16="http://schemas.microsoft.com/office/drawing/2014/main" id="{A6BF5AAA-3BD1-6CDE-04AE-E368C548C7B2}"/>
                    </a:ext>
                  </a:extLst>
                </p:cNvPr>
                <p:cNvSpPr/>
                <p:nvPr/>
              </p:nvSpPr>
              <p:spPr bwMode="gray">
                <a:xfrm>
                  <a:off x="3357" y="2706"/>
                  <a:ext cx="23" cy="28"/>
                </a:xfrm>
                <a:custGeom>
                  <a:avLst/>
                  <a:gdLst>
                    <a:gd name="T0" fmla="*/ 0 w 32"/>
                    <a:gd name="T1" fmla="*/ 6 h 40"/>
                    <a:gd name="T2" fmla="*/ 0 w 32"/>
                    <a:gd name="T3" fmla="*/ 10 h 40"/>
                    <a:gd name="T4" fmla="*/ 3 w 32"/>
                    <a:gd name="T5" fmla="*/ 14 h 40"/>
                    <a:gd name="T6" fmla="*/ 6 w 32"/>
                    <a:gd name="T7" fmla="*/ 14 h 40"/>
                    <a:gd name="T8" fmla="*/ 12 w 32"/>
                    <a:gd name="T9" fmla="*/ 10 h 40"/>
                    <a:gd name="T10" fmla="*/ 6 w 32"/>
                    <a:gd name="T11" fmla="*/ 8 h 40"/>
                    <a:gd name="T12" fmla="*/ 12 w 32"/>
                    <a:gd name="T13" fmla="*/ 6 h 40"/>
                    <a:gd name="T14" fmla="*/ 12 w 32"/>
                    <a:gd name="T15" fmla="*/ 0 h 40"/>
                    <a:gd name="T16" fmla="*/ 9 w 32"/>
                    <a:gd name="T17" fmla="*/ 0 h 40"/>
                    <a:gd name="T18" fmla="*/ 6 w 32"/>
                    <a:gd name="T19" fmla="*/ 0 h 40"/>
                    <a:gd name="T20" fmla="*/ 3 w 32"/>
                    <a:gd name="T21" fmla="*/ 3 h 40"/>
                    <a:gd name="T22" fmla="*/ 0 w 32"/>
                    <a:gd name="T23" fmla="*/ 6 h 4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2"/>
                    <a:gd name="T37" fmla="*/ 0 h 40"/>
                    <a:gd name="T38" fmla="*/ 32 w 32"/>
                    <a:gd name="T39" fmla="*/ 40 h 4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2" h="40">
                      <a:moveTo>
                        <a:pt x="0" y="16"/>
                      </a:moveTo>
                      <a:lnTo>
                        <a:pt x="0" y="32"/>
                      </a:lnTo>
                      <a:lnTo>
                        <a:pt x="8" y="40"/>
                      </a:lnTo>
                      <a:lnTo>
                        <a:pt x="16" y="40"/>
                      </a:lnTo>
                      <a:lnTo>
                        <a:pt x="32" y="32"/>
                      </a:lnTo>
                      <a:lnTo>
                        <a:pt x="16" y="24"/>
                      </a:lnTo>
                      <a:lnTo>
                        <a:pt x="32" y="16"/>
                      </a:ln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8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60" name="Freeform 307">
                  <a:extLst>
                    <a:ext uri="{FF2B5EF4-FFF2-40B4-BE49-F238E27FC236}">
                      <a16:creationId xmlns:a16="http://schemas.microsoft.com/office/drawing/2014/main" id="{E36808E4-CBE7-7FA2-9513-BB33EA77E007}"/>
                    </a:ext>
                  </a:extLst>
                </p:cNvPr>
                <p:cNvSpPr/>
                <p:nvPr/>
              </p:nvSpPr>
              <p:spPr bwMode="gray">
                <a:xfrm>
                  <a:off x="3115" y="2419"/>
                  <a:ext cx="152" cy="152"/>
                </a:xfrm>
                <a:custGeom>
                  <a:avLst/>
                  <a:gdLst>
                    <a:gd name="T0" fmla="*/ 3 w 216"/>
                    <a:gd name="T1" fmla="*/ 0 h 216"/>
                    <a:gd name="T2" fmla="*/ 8 w 216"/>
                    <a:gd name="T3" fmla="*/ 0 h 216"/>
                    <a:gd name="T4" fmla="*/ 14 w 216"/>
                    <a:gd name="T5" fmla="*/ 0 h 216"/>
                    <a:gd name="T6" fmla="*/ 19 w 216"/>
                    <a:gd name="T7" fmla="*/ 3 h 216"/>
                    <a:gd name="T8" fmla="*/ 27 w 216"/>
                    <a:gd name="T9" fmla="*/ 6 h 216"/>
                    <a:gd name="T10" fmla="*/ 34 w 216"/>
                    <a:gd name="T11" fmla="*/ 3 h 216"/>
                    <a:gd name="T12" fmla="*/ 36 w 216"/>
                    <a:gd name="T13" fmla="*/ 3 h 216"/>
                    <a:gd name="T14" fmla="*/ 39 w 216"/>
                    <a:gd name="T15" fmla="*/ 0 h 216"/>
                    <a:gd name="T16" fmla="*/ 42 w 216"/>
                    <a:gd name="T17" fmla="*/ 0 h 216"/>
                    <a:gd name="T18" fmla="*/ 44 w 216"/>
                    <a:gd name="T19" fmla="*/ 0 h 216"/>
                    <a:gd name="T20" fmla="*/ 50 w 216"/>
                    <a:gd name="T21" fmla="*/ 3 h 216"/>
                    <a:gd name="T22" fmla="*/ 53 w 216"/>
                    <a:gd name="T23" fmla="*/ 3 h 216"/>
                    <a:gd name="T24" fmla="*/ 58 w 216"/>
                    <a:gd name="T25" fmla="*/ 3 h 216"/>
                    <a:gd name="T26" fmla="*/ 64 w 216"/>
                    <a:gd name="T27" fmla="*/ 0 h 216"/>
                    <a:gd name="T28" fmla="*/ 67 w 216"/>
                    <a:gd name="T29" fmla="*/ 3 h 216"/>
                    <a:gd name="T30" fmla="*/ 67 w 216"/>
                    <a:gd name="T31" fmla="*/ 8 h 216"/>
                    <a:gd name="T32" fmla="*/ 70 w 216"/>
                    <a:gd name="T33" fmla="*/ 14 h 216"/>
                    <a:gd name="T34" fmla="*/ 67 w 216"/>
                    <a:gd name="T35" fmla="*/ 23 h 216"/>
                    <a:gd name="T36" fmla="*/ 67 w 216"/>
                    <a:gd name="T37" fmla="*/ 27 h 216"/>
                    <a:gd name="T38" fmla="*/ 64 w 216"/>
                    <a:gd name="T39" fmla="*/ 27 h 216"/>
                    <a:gd name="T40" fmla="*/ 58 w 216"/>
                    <a:gd name="T41" fmla="*/ 23 h 216"/>
                    <a:gd name="T42" fmla="*/ 56 w 216"/>
                    <a:gd name="T43" fmla="*/ 17 h 216"/>
                    <a:gd name="T44" fmla="*/ 56 w 216"/>
                    <a:gd name="T45" fmla="*/ 11 h 216"/>
                    <a:gd name="T46" fmla="*/ 53 w 216"/>
                    <a:gd name="T47" fmla="*/ 8 h 216"/>
                    <a:gd name="T48" fmla="*/ 53 w 216"/>
                    <a:gd name="T49" fmla="*/ 11 h 216"/>
                    <a:gd name="T50" fmla="*/ 53 w 216"/>
                    <a:gd name="T51" fmla="*/ 23 h 216"/>
                    <a:gd name="T52" fmla="*/ 58 w 216"/>
                    <a:gd name="T53" fmla="*/ 27 h 216"/>
                    <a:gd name="T54" fmla="*/ 61 w 216"/>
                    <a:gd name="T55" fmla="*/ 31 h 216"/>
                    <a:gd name="T56" fmla="*/ 64 w 216"/>
                    <a:gd name="T57" fmla="*/ 36 h 216"/>
                    <a:gd name="T58" fmla="*/ 70 w 216"/>
                    <a:gd name="T59" fmla="*/ 48 h 216"/>
                    <a:gd name="T60" fmla="*/ 72 w 216"/>
                    <a:gd name="T61" fmla="*/ 56 h 216"/>
                    <a:gd name="T62" fmla="*/ 75 w 216"/>
                    <a:gd name="T63" fmla="*/ 64 h 216"/>
                    <a:gd name="T64" fmla="*/ 70 w 216"/>
                    <a:gd name="T65" fmla="*/ 70 h 216"/>
                    <a:gd name="T66" fmla="*/ 64 w 216"/>
                    <a:gd name="T67" fmla="*/ 72 h 216"/>
                    <a:gd name="T68" fmla="*/ 64 w 216"/>
                    <a:gd name="T69" fmla="*/ 75 h 216"/>
                    <a:gd name="T70" fmla="*/ 61 w 216"/>
                    <a:gd name="T71" fmla="*/ 75 h 216"/>
                    <a:gd name="T72" fmla="*/ 58 w 216"/>
                    <a:gd name="T73" fmla="*/ 72 h 216"/>
                    <a:gd name="T74" fmla="*/ 25 w 216"/>
                    <a:gd name="T75" fmla="*/ 75 h 216"/>
                    <a:gd name="T76" fmla="*/ 3 w 216"/>
                    <a:gd name="T77" fmla="*/ 72 h 216"/>
                    <a:gd name="T78" fmla="*/ 3 w 216"/>
                    <a:gd name="T79" fmla="*/ 56 h 216"/>
                    <a:gd name="T80" fmla="*/ 3 w 216"/>
                    <a:gd name="T81" fmla="*/ 23 h 216"/>
                    <a:gd name="T82" fmla="*/ 0 w 216"/>
                    <a:gd name="T83" fmla="*/ 8 h 216"/>
                    <a:gd name="T84" fmla="*/ 3 w 216"/>
                    <a:gd name="T85" fmla="*/ 6 h 216"/>
                    <a:gd name="T86" fmla="*/ 3 w 216"/>
                    <a:gd name="T87" fmla="*/ 0 h 21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16"/>
                    <a:gd name="T133" fmla="*/ 0 h 216"/>
                    <a:gd name="T134" fmla="*/ 216 w 216"/>
                    <a:gd name="T135" fmla="*/ 216 h 21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16" h="216">
                      <a:moveTo>
                        <a:pt x="8" y="0"/>
                      </a:move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56" y="8"/>
                      </a:lnTo>
                      <a:lnTo>
                        <a:pt x="80" y="16"/>
                      </a:lnTo>
                      <a:lnTo>
                        <a:pt x="96" y="8"/>
                      </a:lnTo>
                      <a:lnTo>
                        <a:pt x="104" y="8"/>
                      </a:lnTo>
                      <a:lnTo>
                        <a:pt x="112" y="0"/>
                      </a:lnTo>
                      <a:lnTo>
                        <a:pt x="120" y="0"/>
                      </a:lnTo>
                      <a:lnTo>
                        <a:pt x="128" y="0"/>
                      </a:lnTo>
                      <a:lnTo>
                        <a:pt x="144" y="8"/>
                      </a:lnTo>
                      <a:lnTo>
                        <a:pt x="152" y="8"/>
                      </a:lnTo>
                      <a:lnTo>
                        <a:pt x="168" y="8"/>
                      </a:lnTo>
                      <a:lnTo>
                        <a:pt x="184" y="0"/>
                      </a:lnTo>
                      <a:lnTo>
                        <a:pt x="192" y="8"/>
                      </a:lnTo>
                      <a:lnTo>
                        <a:pt x="192" y="24"/>
                      </a:lnTo>
                      <a:lnTo>
                        <a:pt x="200" y="40"/>
                      </a:lnTo>
                      <a:lnTo>
                        <a:pt x="192" y="64"/>
                      </a:lnTo>
                      <a:lnTo>
                        <a:pt x="192" y="80"/>
                      </a:lnTo>
                      <a:lnTo>
                        <a:pt x="184" y="80"/>
                      </a:lnTo>
                      <a:lnTo>
                        <a:pt x="168" y="64"/>
                      </a:lnTo>
                      <a:lnTo>
                        <a:pt x="160" y="48"/>
                      </a:lnTo>
                      <a:lnTo>
                        <a:pt x="160" y="32"/>
                      </a:lnTo>
                      <a:lnTo>
                        <a:pt x="152" y="24"/>
                      </a:lnTo>
                      <a:lnTo>
                        <a:pt x="152" y="32"/>
                      </a:lnTo>
                      <a:lnTo>
                        <a:pt x="152" y="64"/>
                      </a:lnTo>
                      <a:lnTo>
                        <a:pt x="168" y="80"/>
                      </a:lnTo>
                      <a:lnTo>
                        <a:pt x="176" y="88"/>
                      </a:lnTo>
                      <a:lnTo>
                        <a:pt x="184" y="104"/>
                      </a:lnTo>
                      <a:lnTo>
                        <a:pt x="200" y="136"/>
                      </a:lnTo>
                      <a:lnTo>
                        <a:pt x="208" y="160"/>
                      </a:lnTo>
                      <a:lnTo>
                        <a:pt x="216" y="184"/>
                      </a:lnTo>
                      <a:lnTo>
                        <a:pt x="200" y="200"/>
                      </a:lnTo>
                      <a:lnTo>
                        <a:pt x="184" y="208"/>
                      </a:lnTo>
                      <a:lnTo>
                        <a:pt x="184" y="216"/>
                      </a:lnTo>
                      <a:lnTo>
                        <a:pt x="176" y="216"/>
                      </a:lnTo>
                      <a:lnTo>
                        <a:pt x="168" y="208"/>
                      </a:lnTo>
                      <a:lnTo>
                        <a:pt x="72" y="216"/>
                      </a:lnTo>
                      <a:lnTo>
                        <a:pt x="8" y="208"/>
                      </a:lnTo>
                      <a:lnTo>
                        <a:pt x="8" y="160"/>
                      </a:lnTo>
                      <a:lnTo>
                        <a:pt x="8" y="64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61" name="Freeform 308">
                  <a:extLst>
                    <a:ext uri="{FF2B5EF4-FFF2-40B4-BE49-F238E27FC236}">
                      <a16:creationId xmlns:a16="http://schemas.microsoft.com/office/drawing/2014/main" id="{46CCF172-5496-6D28-ED89-349C28CC9848}"/>
                    </a:ext>
                  </a:extLst>
                </p:cNvPr>
                <p:cNvSpPr/>
                <p:nvPr/>
              </p:nvSpPr>
              <p:spPr bwMode="gray">
                <a:xfrm>
                  <a:off x="3082" y="2549"/>
                  <a:ext cx="230" cy="287"/>
                </a:xfrm>
                <a:custGeom>
                  <a:avLst/>
                  <a:gdLst>
                    <a:gd name="T0" fmla="*/ 14 w 328"/>
                    <a:gd name="T1" fmla="*/ 25 h 408"/>
                    <a:gd name="T2" fmla="*/ 19 w 328"/>
                    <a:gd name="T3" fmla="*/ 25 h 408"/>
                    <a:gd name="T4" fmla="*/ 19 w 328"/>
                    <a:gd name="T5" fmla="*/ 8 h 408"/>
                    <a:gd name="T6" fmla="*/ 41 w 328"/>
                    <a:gd name="T7" fmla="*/ 11 h 408"/>
                    <a:gd name="T8" fmla="*/ 74 w 328"/>
                    <a:gd name="T9" fmla="*/ 8 h 408"/>
                    <a:gd name="T10" fmla="*/ 77 w 328"/>
                    <a:gd name="T11" fmla="*/ 11 h 408"/>
                    <a:gd name="T12" fmla="*/ 80 w 328"/>
                    <a:gd name="T13" fmla="*/ 11 h 408"/>
                    <a:gd name="T14" fmla="*/ 80 w 328"/>
                    <a:gd name="T15" fmla="*/ 8 h 408"/>
                    <a:gd name="T16" fmla="*/ 86 w 328"/>
                    <a:gd name="T17" fmla="*/ 6 h 408"/>
                    <a:gd name="T18" fmla="*/ 91 w 328"/>
                    <a:gd name="T19" fmla="*/ 0 h 408"/>
                    <a:gd name="T20" fmla="*/ 100 w 328"/>
                    <a:gd name="T21" fmla="*/ 8 h 408"/>
                    <a:gd name="T22" fmla="*/ 102 w 328"/>
                    <a:gd name="T23" fmla="*/ 14 h 408"/>
                    <a:gd name="T24" fmla="*/ 102 w 328"/>
                    <a:gd name="T25" fmla="*/ 25 h 408"/>
                    <a:gd name="T26" fmla="*/ 102 w 328"/>
                    <a:gd name="T27" fmla="*/ 31 h 408"/>
                    <a:gd name="T28" fmla="*/ 113 w 328"/>
                    <a:gd name="T29" fmla="*/ 39 h 408"/>
                    <a:gd name="T30" fmla="*/ 102 w 328"/>
                    <a:gd name="T31" fmla="*/ 48 h 408"/>
                    <a:gd name="T32" fmla="*/ 96 w 328"/>
                    <a:gd name="T33" fmla="*/ 56 h 408"/>
                    <a:gd name="T34" fmla="*/ 96 w 328"/>
                    <a:gd name="T35" fmla="*/ 67 h 408"/>
                    <a:gd name="T36" fmla="*/ 96 w 328"/>
                    <a:gd name="T37" fmla="*/ 81 h 408"/>
                    <a:gd name="T38" fmla="*/ 88 w 328"/>
                    <a:gd name="T39" fmla="*/ 84 h 408"/>
                    <a:gd name="T40" fmla="*/ 88 w 328"/>
                    <a:gd name="T41" fmla="*/ 89 h 408"/>
                    <a:gd name="T42" fmla="*/ 80 w 328"/>
                    <a:gd name="T43" fmla="*/ 92 h 408"/>
                    <a:gd name="T44" fmla="*/ 80 w 328"/>
                    <a:gd name="T45" fmla="*/ 103 h 408"/>
                    <a:gd name="T46" fmla="*/ 74 w 328"/>
                    <a:gd name="T47" fmla="*/ 108 h 408"/>
                    <a:gd name="T48" fmla="*/ 86 w 328"/>
                    <a:gd name="T49" fmla="*/ 122 h 408"/>
                    <a:gd name="T50" fmla="*/ 88 w 328"/>
                    <a:gd name="T51" fmla="*/ 131 h 408"/>
                    <a:gd name="T52" fmla="*/ 94 w 328"/>
                    <a:gd name="T53" fmla="*/ 136 h 408"/>
                    <a:gd name="T54" fmla="*/ 80 w 328"/>
                    <a:gd name="T55" fmla="*/ 136 h 408"/>
                    <a:gd name="T56" fmla="*/ 74 w 328"/>
                    <a:gd name="T57" fmla="*/ 142 h 408"/>
                    <a:gd name="T58" fmla="*/ 67 w 328"/>
                    <a:gd name="T59" fmla="*/ 142 h 408"/>
                    <a:gd name="T60" fmla="*/ 60 w 328"/>
                    <a:gd name="T61" fmla="*/ 142 h 408"/>
                    <a:gd name="T62" fmla="*/ 58 w 328"/>
                    <a:gd name="T63" fmla="*/ 142 h 408"/>
                    <a:gd name="T64" fmla="*/ 53 w 328"/>
                    <a:gd name="T65" fmla="*/ 136 h 408"/>
                    <a:gd name="T66" fmla="*/ 47 w 328"/>
                    <a:gd name="T67" fmla="*/ 136 h 408"/>
                    <a:gd name="T68" fmla="*/ 44 w 328"/>
                    <a:gd name="T69" fmla="*/ 136 h 408"/>
                    <a:gd name="T70" fmla="*/ 41 w 328"/>
                    <a:gd name="T71" fmla="*/ 136 h 408"/>
                    <a:gd name="T72" fmla="*/ 39 w 328"/>
                    <a:gd name="T73" fmla="*/ 136 h 408"/>
                    <a:gd name="T74" fmla="*/ 36 w 328"/>
                    <a:gd name="T75" fmla="*/ 134 h 408"/>
                    <a:gd name="T76" fmla="*/ 33 w 328"/>
                    <a:gd name="T77" fmla="*/ 131 h 408"/>
                    <a:gd name="T78" fmla="*/ 27 w 328"/>
                    <a:gd name="T79" fmla="*/ 125 h 408"/>
                    <a:gd name="T80" fmla="*/ 25 w 328"/>
                    <a:gd name="T81" fmla="*/ 120 h 408"/>
                    <a:gd name="T82" fmla="*/ 19 w 328"/>
                    <a:gd name="T83" fmla="*/ 114 h 408"/>
                    <a:gd name="T84" fmla="*/ 17 w 328"/>
                    <a:gd name="T85" fmla="*/ 114 h 408"/>
                    <a:gd name="T86" fmla="*/ 14 w 328"/>
                    <a:gd name="T87" fmla="*/ 108 h 408"/>
                    <a:gd name="T88" fmla="*/ 11 w 328"/>
                    <a:gd name="T89" fmla="*/ 108 h 408"/>
                    <a:gd name="T90" fmla="*/ 11 w 328"/>
                    <a:gd name="T91" fmla="*/ 98 h 408"/>
                    <a:gd name="T92" fmla="*/ 6 w 328"/>
                    <a:gd name="T93" fmla="*/ 92 h 408"/>
                    <a:gd name="T94" fmla="*/ 8 w 328"/>
                    <a:gd name="T95" fmla="*/ 92 h 408"/>
                    <a:gd name="T96" fmla="*/ 8 w 328"/>
                    <a:gd name="T97" fmla="*/ 89 h 408"/>
                    <a:gd name="T98" fmla="*/ 3 w 328"/>
                    <a:gd name="T99" fmla="*/ 84 h 408"/>
                    <a:gd name="T100" fmla="*/ 3 w 328"/>
                    <a:gd name="T101" fmla="*/ 81 h 408"/>
                    <a:gd name="T102" fmla="*/ 0 w 328"/>
                    <a:gd name="T103" fmla="*/ 78 h 408"/>
                    <a:gd name="T104" fmla="*/ 0 w 328"/>
                    <a:gd name="T105" fmla="*/ 75 h 408"/>
                    <a:gd name="T106" fmla="*/ 3 w 328"/>
                    <a:gd name="T107" fmla="*/ 64 h 408"/>
                    <a:gd name="T108" fmla="*/ 3 w 328"/>
                    <a:gd name="T109" fmla="*/ 61 h 408"/>
                    <a:gd name="T110" fmla="*/ 3 w 328"/>
                    <a:gd name="T111" fmla="*/ 56 h 408"/>
                    <a:gd name="T112" fmla="*/ 14 w 328"/>
                    <a:gd name="T113" fmla="*/ 56 h 408"/>
                    <a:gd name="T114" fmla="*/ 14 w 328"/>
                    <a:gd name="T115" fmla="*/ 25 h 408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328"/>
                    <a:gd name="T175" fmla="*/ 0 h 408"/>
                    <a:gd name="T176" fmla="*/ 328 w 328"/>
                    <a:gd name="T177" fmla="*/ 408 h 408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328" h="408">
                      <a:moveTo>
                        <a:pt x="40" y="72"/>
                      </a:moveTo>
                      <a:lnTo>
                        <a:pt x="56" y="72"/>
                      </a:lnTo>
                      <a:lnTo>
                        <a:pt x="56" y="24"/>
                      </a:lnTo>
                      <a:lnTo>
                        <a:pt x="120" y="32"/>
                      </a:lnTo>
                      <a:lnTo>
                        <a:pt x="216" y="24"/>
                      </a:lnTo>
                      <a:lnTo>
                        <a:pt x="224" y="32"/>
                      </a:lnTo>
                      <a:lnTo>
                        <a:pt x="232" y="32"/>
                      </a:lnTo>
                      <a:lnTo>
                        <a:pt x="232" y="24"/>
                      </a:lnTo>
                      <a:lnTo>
                        <a:pt x="248" y="16"/>
                      </a:lnTo>
                      <a:lnTo>
                        <a:pt x="264" y="0"/>
                      </a:lnTo>
                      <a:lnTo>
                        <a:pt x="288" y="24"/>
                      </a:lnTo>
                      <a:lnTo>
                        <a:pt x="296" y="40"/>
                      </a:lnTo>
                      <a:lnTo>
                        <a:pt x="296" y="72"/>
                      </a:lnTo>
                      <a:lnTo>
                        <a:pt x="296" y="88"/>
                      </a:lnTo>
                      <a:lnTo>
                        <a:pt x="328" y="112"/>
                      </a:lnTo>
                      <a:lnTo>
                        <a:pt x="296" y="136"/>
                      </a:lnTo>
                      <a:lnTo>
                        <a:pt x="280" y="160"/>
                      </a:lnTo>
                      <a:lnTo>
                        <a:pt x="280" y="192"/>
                      </a:lnTo>
                      <a:lnTo>
                        <a:pt x="280" y="232"/>
                      </a:lnTo>
                      <a:lnTo>
                        <a:pt x="256" y="240"/>
                      </a:lnTo>
                      <a:lnTo>
                        <a:pt x="256" y="256"/>
                      </a:lnTo>
                      <a:lnTo>
                        <a:pt x="232" y="264"/>
                      </a:lnTo>
                      <a:lnTo>
                        <a:pt x="232" y="296"/>
                      </a:lnTo>
                      <a:lnTo>
                        <a:pt x="216" y="312"/>
                      </a:lnTo>
                      <a:lnTo>
                        <a:pt x="248" y="352"/>
                      </a:lnTo>
                      <a:lnTo>
                        <a:pt x="256" y="376"/>
                      </a:lnTo>
                      <a:lnTo>
                        <a:pt x="272" y="392"/>
                      </a:lnTo>
                      <a:lnTo>
                        <a:pt x="232" y="392"/>
                      </a:lnTo>
                      <a:lnTo>
                        <a:pt x="216" y="408"/>
                      </a:lnTo>
                      <a:lnTo>
                        <a:pt x="192" y="408"/>
                      </a:lnTo>
                      <a:lnTo>
                        <a:pt x="176" y="408"/>
                      </a:lnTo>
                      <a:lnTo>
                        <a:pt x="168" y="408"/>
                      </a:lnTo>
                      <a:lnTo>
                        <a:pt x="152" y="392"/>
                      </a:lnTo>
                      <a:lnTo>
                        <a:pt x="136" y="392"/>
                      </a:lnTo>
                      <a:lnTo>
                        <a:pt x="128" y="392"/>
                      </a:lnTo>
                      <a:lnTo>
                        <a:pt x="120" y="392"/>
                      </a:lnTo>
                      <a:lnTo>
                        <a:pt x="112" y="392"/>
                      </a:lnTo>
                      <a:lnTo>
                        <a:pt x="104" y="384"/>
                      </a:lnTo>
                      <a:lnTo>
                        <a:pt x="96" y="376"/>
                      </a:lnTo>
                      <a:lnTo>
                        <a:pt x="80" y="360"/>
                      </a:lnTo>
                      <a:lnTo>
                        <a:pt x="72" y="344"/>
                      </a:lnTo>
                      <a:lnTo>
                        <a:pt x="56" y="328"/>
                      </a:lnTo>
                      <a:lnTo>
                        <a:pt x="48" y="328"/>
                      </a:lnTo>
                      <a:lnTo>
                        <a:pt x="40" y="312"/>
                      </a:lnTo>
                      <a:lnTo>
                        <a:pt x="32" y="312"/>
                      </a:lnTo>
                      <a:lnTo>
                        <a:pt x="32" y="280"/>
                      </a:lnTo>
                      <a:lnTo>
                        <a:pt x="16" y="264"/>
                      </a:lnTo>
                      <a:lnTo>
                        <a:pt x="24" y="264"/>
                      </a:lnTo>
                      <a:lnTo>
                        <a:pt x="24" y="256"/>
                      </a:lnTo>
                      <a:lnTo>
                        <a:pt x="8" y="240"/>
                      </a:lnTo>
                      <a:lnTo>
                        <a:pt x="8" y="232"/>
                      </a:lnTo>
                      <a:lnTo>
                        <a:pt x="0" y="224"/>
                      </a:lnTo>
                      <a:lnTo>
                        <a:pt x="0" y="216"/>
                      </a:lnTo>
                      <a:lnTo>
                        <a:pt x="8" y="184"/>
                      </a:lnTo>
                      <a:lnTo>
                        <a:pt x="8" y="176"/>
                      </a:lnTo>
                      <a:lnTo>
                        <a:pt x="8" y="160"/>
                      </a:lnTo>
                      <a:lnTo>
                        <a:pt x="40" y="160"/>
                      </a:lnTo>
                      <a:lnTo>
                        <a:pt x="40" y="7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62" name="Freeform 309">
                  <a:extLst>
                    <a:ext uri="{FF2B5EF4-FFF2-40B4-BE49-F238E27FC236}">
                      <a16:creationId xmlns:a16="http://schemas.microsoft.com/office/drawing/2014/main" id="{E26C3853-D96A-2A3C-4082-0344657C83D4}"/>
                    </a:ext>
                  </a:extLst>
                </p:cNvPr>
                <p:cNvSpPr/>
                <p:nvPr/>
              </p:nvSpPr>
              <p:spPr bwMode="gray">
                <a:xfrm>
                  <a:off x="3279" y="2627"/>
                  <a:ext cx="90" cy="91"/>
                </a:xfrm>
                <a:custGeom>
                  <a:avLst/>
                  <a:gdLst>
                    <a:gd name="T0" fmla="*/ 44 w 128"/>
                    <a:gd name="T1" fmla="*/ 41 h 128"/>
                    <a:gd name="T2" fmla="*/ 41 w 128"/>
                    <a:gd name="T3" fmla="*/ 43 h 128"/>
                    <a:gd name="T4" fmla="*/ 39 w 128"/>
                    <a:gd name="T5" fmla="*/ 46 h 128"/>
                    <a:gd name="T6" fmla="*/ 34 w 128"/>
                    <a:gd name="T7" fmla="*/ 34 h 128"/>
                    <a:gd name="T8" fmla="*/ 25 w 128"/>
                    <a:gd name="T9" fmla="*/ 29 h 128"/>
                    <a:gd name="T10" fmla="*/ 19 w 128"/>
                    <a:gd name="T11" fmla="*/ 26 h 128"/>
                    <a:gd name="T12" fmla="*/ 0 w 128"/>
                    <a:gd name="T13" fmla="*/ 29 h 128"/>
                    <a:gd name="T14" fmla="*/ 0 w 128"/>
                    <a:gd name="T15" fmla="*/ 17 h 128"/>
                    <a:gd name="T16" fmla="*/ 6 w 128"/>
                    <a:gd name="T17" fmla="*/ 9 h 128"/>
                    <a:gd name="T18" fmla="*/ 17 w 128"/>
                    <a:gd name="T19" fmla="*/ 0 h 128"/>
                    <a:gd name="T20" fmla="*/ 19 w 128"/>
                    <a:gd name="T21" fmla="*/ 11 h 128"/>
                    <a:gd name="T22" fmla="*/ 23 w 128"/>
                    <a:gd name="T23" fmla="*/ 20 h 128"/>
                    <a:gd name="T24" fmla="*/ 27 w 128"/>
                    <a:gd name="T25" fmla="*/ 23 h 128"/>
                    <a:gd name="T26" fmla="*/ 36 w 128"/>
                    <a:gd name="T27" fmla="*/ 29 h 128"/>
                    <a:gd name="T28" fmla="*/ 44 w 128"/>
                    <a:gd name="T29" fmla="*/ 41 h 12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28"/>
                    <a:gd name="T46" fmla="*/ 0 h 128"/>
                    <a:gd name="T47" fmla="*/ 128 w 128"/>
                    <a:gd name="T48" fmla="*/ 128 h 12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28" h="128">
                      <a:moveTo>
                        <a:pt x="128" y="112"/>
                      </a:moveTo>
                      <a:lnTo>
                        <a:pt x="120" y="120"/>
                      </a:lnTo>
                      <a:lnTo>
                        <a:pt x="112" y="128"/>
                      </a:lnTo>
                      <a:lnTo>
                        <a:pt x="96" y="96"/>
                      </a:lnTo>
                      <a:lnTo>
                        <a:pt x="72" y="80"/>
                      </a:lnTo>
                      <a:lnTo>
                        <a:pt x="56" y="72"/>
                      </a:lnTo>
                      <a:lnTo>
                        <a:pt x="0" y="80"/>
                      </a:lnTo>
                      <a:lnTo>
                        <a:pt x="0" y="48"/>
                      </a:lnTo>
                      <a:lnTo>
                        <a:pt x="16" y="24"/>
                      </a:lnTo>
                      <a:lnTo>
                        <a:pt x="48" y="0"/>
                      </a:lnTo>
                      <a:lnTo>
                        <a:pt x="56" y="32"/>
                      </a:lnTo>
                      <a:lnTo>
                        <a:pt x="64" y="56"/>
                      </a:lnTo>
                      <a:lnTo>
                        <a:pt x="80" y="64"/>
                      </a:lnTo>
                      <a:lnTo>
                        <a:pt x="104" y="80"/>
                      </a:lnTo>
                      <a:lnTo>
                        <a:pt x="128" y="11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63" name="Freeform 310">
                  <a:extLst>
                    <a:ext uri="{FF2B5EF4-FFF2-40B4-BE49-F238E27FC236}">
                      <a16:creationId xmlns:a16="http://schemas.microsoft.com/office/drawing/2014/main" id="{E056901C-77A6-54F6-039C-D00E0B9B9418}"/>
                    </a:ext>
                  </a:extLst>
                </p:cNvPr>
                <p:cNvSpPr/>
                <p:nvPr/>
              </p:nvSpPr>
              <p:spPr bwMode="gray">
                <a:xfrm>
                  <a:off x="3234" y="2678"/>
                  <a:ext cx="219" cy="158"/>
                </a:xfrm>
                <a:custGeom>
                  <a:avLst/>
                  <a:gdLst>
                    <a:gd name="T0" fmla="*/ 19 w 312"/>
                    <a:gd name="T1" fmla="*/ 73 h 224"/>
                    <a:gd name="T2" fmla="*/ 14 w 312"/>
                    <a:gd name="T3" fmla="*/ 67 h 224"/>
                    <a:gd name="T4" fmla="*/ 11 w 312"/>
                    <a:gd name="T5" fmla="*/ 59 h 224"/>
                    <a:gd name="T6" fmla="*/ 0 w 312"/>
                    <a:gd name="T7" fmla="*/ 44 h 224"/>
                    <a:gd name="T8" fmla="*/ 6 w 312"/>
                    <a:gd name="T9" fmla="*/ 40 h 224"/>
                    <a:gd name="T10" fmla="*/ 6 w 312"/>
                    <a:gd name="T11" fmla="*/ 28 h 224"/>
                    <a:gd name="T12" fmla="*/ 14 w 312"/>
                    <a:gd name="T13" fmla="*/ 25 h 224"/>
                    <a:gd name="T14" fmla="*/ 14 w 312"/>
                    <a:gd name="T15" fmla="*/ 20 h 224"/>
                    <a:gd name="T16" fmla="*/ 22 w 312"/>
                    <a:gd name="T17" fmla="*/ 17 h 224"/>
                    <a:gd name="T18" fmla="*/ 22 w 312"/>
                    <a:gd name="T19" fmla="*/ 3 h 224"/>
                    <a:gd name="T20" fmla="*/ 41 w 312"/>
                    <a:gd name="T21" fmla="*/ 0 h 224"/>
                    <a:gd name="T22" fmla="*/ 47 w 312"/>
                    <a:gd name="T23" fmla="*/ 3 h 224"/>
                    <a:gd name="T24" fmla="*/ 55 w 312"/>
                    <a:gd name="T25" fmla="*/ 8 h 224"/>
                    <a:gd name="T26" fmla="*/ 61 w 312"/>
                    <a:gd name="T27" fmla="*/ 20 h 224"/>
                    <a:gd name="T28" fmla="*/ 61 w 312"/>
                    <a:gd name="T29" fmla="*/ 25 h 224"/>
                    <a:gd name="T30" fmla="*/ 64 w 312"/>
                    <a:gd name="T31" fmla="*/ 28 h 224"/>
                    <a:gd name="T32" fmla="*/ 67 w 312"/>
                    <a:gd name="T33" fmla="*/ 28 h 224"/>
                    <a:gd name="T34" fmla="*/ 69 w 312"/>
                    <a:gd name="T35" fmla="*/ 34 h 224"/>
                    <a:gd name="T36" fmla="*/ 72 w 312"/>
                    <a:gd name="T37" fmla="*/ 40 h 224"/>
                    <a:gd name="T38" fmla="*/ 75 w 312"/>
                    <a:gd name="T39" fmla="*/ 40 h 224"/>
                    <a:gd name="T40" fmla="*/ 83 w 312"/>
                    <a:gd name="T41" fmla="*/ 44 h 224"/>
                    <a:gd name="T42" fmla="*/ 102 w 312"/>
                    <a:gd name="T43" fmla="*/ 48 h 224"/>
                    <a:gd name="T44" fmla="*/ 108 w 312"/>
                    <a:gd name="T45" fmla="*/ 44 h 224"/>
                    <a:gd name="T46" fmla="*/ 105 w 312"/>
                    <a:gd name="T47" fmla="*/ 51 h 224"/>
                    <a:gd name="T48" fmla="*/ 83 w 312"/>
                    <a:gd name="T49" fmla="*/ 70 h 224"/>
                    <a:gd name="T50" fmla="*/ 67 w 312"/>
                    <a:gd name="T51" fmla="*/ 73 h 224"/>
                    <a:gd name="T52" fmla="*/ 61 w 312"/>
                    <a:gd name="T53" fmla="*/ 75 h 224"/>
                    <a:gd name="T54" fmla="*/ 50 w 312"/>
                    <a:gd name="T55" fmla="*/ 75 h 224"/>
                    <a:gd name="T56" fmla="*/ 41 w 312"/>
                    <a:gd name="T57" fmla="*/ 78 h 224"/>
                    <a:gd name="T58" fmla="*/ 36 w 312"/>
                    <a:gd name="T59" fmla="*/ 78 h 224"/>
                    <a:gd name="T60" fmla="*/ 22 w 312"/>
                    <a:gd name="T61" fmla="*/ 73 h 224"/>
                    <a:gd name="T62" fmla="*/ 19 w 312"/>
                    <a:gd name="T63" fmla="*/ 73 h 22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12"/>
                    <a:gd name="T97" fmla="*/ 0 h 224"/>
                    <a:gd name="T98" fmla="*/ 312 w 312"/>
                    <a:gd name="T99" fmla="*/ 224 h 22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12" h="224">
                      <a:moveTo>
                        <a:pt x="56" y="208"/>
                      </a:moveTo>
                      <a:lnTo>
                        <a:pt x="40" y="192"/>
                      </a:lnTo>
                      <a:lnTo>
                        <a:pt x="32" y="168"/>
                      </a:lnTo>
                      <a:lnTo>
                        <a:pt x="0" y="128"/>
                      </a:lnTo>
                      <a:lnTo>
                        <a:pt x="16" y="112"/>
                      </a:lnTo>
                      <a:lnTo>
                        <a:pt x="16" y="80"/>
                      </a:lnTo>
                      <a:lnTo>
                        <a:pt x="40" y="72"/>
                      </a:lnTo>
                      <a:lnTo>
                        <a:pt x="40" y="56"/>
                      </a:lnTo>
                      <a:lnTo>
                        <a:pt x="64" y="48"/>
                      </a:lnTo>
                      <a:lnTo>
                        <a:pt x="64" y="8"/>
                      </a:lnTo>
                      <a:lnTo>
                        <a:pt x="120" y="0"/>
                      </a:lnTo>
                      <a:lnTo>
                        <a:pt x="136" y="8"/>
                      </a:lnTo>
                      <a:lnTo>
                        <a:pt x="160" y="24"/>
                      </a:lnTo>
                      <a:lnTo>
                        <a:pt x="176" y="56"/>
                      </a:lnTo>
                      <a:lnTo>
                        <a:pt x="176" y="72"/>
                      </a:lnTo>
                      <a:lnTo>
                        <a:pt x="184" y="80"/>
                      </a:lnTo>
                      <a:lnTo>
                        <a:pt x="192" y="80"/>
                      </a:lnTo>
                      <a:lnTo>
                        <a:pt x="200" y="96"/>
                      </a:lnTo>
                      <a:lnTo>
                        <a:pt x="208" y="112"/>
                      </a:lnTo>
                      <a:lnTo>
                        <a:pt x="216" y="112"/>
                      </a:lnTo>
                      <a:lnTo>
                        <a:pt x="240" y="128"/>
                      </a:lnTo>
                      <a:lnTo>
                        <a:pt x="296" y="136"/>
                      </a:lnTo>
                      <a:lnTo>
                        <a:pt x="312" y="128"/>
                      </a:lnTo>
                      <a:lnTo>
                        <a:pt x="304" y="144"/>
                      </a:lnTo>
                      <a:lnTo>
                        <a:pt x="240" y="200"/>
                      </a:lnTo>
                      <a:lnTo>
                        <a:pt x="192" y="208"/>
                      </a:lnTo>
                      <a:lnTo>
                        <a:pt x="176" y="216"/>
                      </a:lnTo>
                      <a:lnTo>
                        <a:pt x="144" y="216"/>
                      </a:lnTo>
                      <a:lnTo>
                        <a:pt x="120" y="224"/>
                      </a:lnTo>
                      <a:lnTo>
                        <a:pt x="104" y="224"/>
                      </a:lnTo>
                      <a:lnTo>
                        <a:pt x="64" y="208"/>
                      </a:lnTo>
                      <a:lnTo>
                        <a:pt x="56" y="20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64" name="Freeform 311">
                  <a:extLst>
                    <a:ext uri="{FF2B5EF4-FFF2-40B4-BE49-F238E27FC236}">
                      <a16:creationId xmlns:a16="http://schemas.microsoft.com/office/drawing/2014/main" id="{70801C52-907E-2F14-D50E-AE9A9875FF10}"/>
                    </a:ext>
                  </a:extLst>
                </p:cNvPr>
                <p:cNvSpPr/>
                <p:nvPr/>
              </p:nvSpPr>
              <p:spPr bwMode="gray">
                <a:xfrm>
                  <a:off x="3352" y="2718"/>
                  <a:ext cx="140" cy="191"/>
                </a:xfrm>
                <a:custGeom>
                  <a:avLst/>
                  <a:gdLst>
                    <a:gd name="T0" fmla="*/ 3 w 200"/>
                    <a:gd name="T1" fmla="*/ 94 h 272"/>
                    <a:gd name="T2" fmla="*/ 10 w 200"/>
                    <a:gd name="T3" fmla="*/ 86 h 272"/>
                    <a:gd name="T4" fmla="*/ 14 w 200"/>
                    <a:gd name="T5" fmla="*/ 80 h 272"/>
                    <a:gd name="T6" fmla="*/ 22 w 200"/>
                    <a:gd name="T7" fmla="*/ 75 h 272"/>
                    <a:gd name="T8" fmla="*/ 30 w 200"/>
                    <a:gd name="T9" fmla="*/ 69 h 272"/>
                    <a:gd name="T10" fmla="*/ 36 w 200"/>
                    <a:gd name="T11" fmla="*/ 64 h 272"/>
                    <a:gd name="T12" fmla="*/ 41 w 200"/>
                    <a:gd name="T13" fmla="*/ 58 h 272"/>
                    <a:gd name="T14" fmla="*/ 50 w 200"/>
                    <a:gd name="T15" fmla="*/ 47 h 272"/>
                    <a:gd name="T16" fmla="*/ 52 w 200"/>
                    <a:gd name="T17" fmla="*/ 44 h 272"/>
                    <a:gd name="T18" fmla="*/ 55 w 200"/>
                    <a:gd name="T19" fmla="*/ 39 h 272"/>
                    <a:gd name="T20" fmla="*/ 55 w 200"/>
                    <a:gd name="T21" fmla="*/ 33 h 272"/>
                    <a:gd name="T22" fmla="*/ 66 w 200"/>
                    <a:gd name="T23" fmla="*/ 22 h 272"/>
                    <a:gd name="T24" fmla="*/ 66 w 200"/>
                    <a:gd name="T25" fmla="*/ 14 h 272"/>
                    <a:gd name="T26" fmla="*/ 69 w 200"/>
                    <a:gd name="T27" fmla="*/ 3 h 272"/>
                    <a:gd name="T28" fmla="*/ 66 w 200"/>
                    <a:gd name="T29" fmla="*/ 0 h 272"/>
                    <a:gd name="T30" fmla="*/ 63 w 200"/>
                    <a:gd name="T31" fmla="*/ 0 h 272"/>
                    <a:gd name="T32" fmla="*/ 60 w 200"/>
                    <a:gd name="T33" fmla="*/ 3 h 272"/>
                    <a:gd name="T34" fmla="*/ 50 w 200"/>
                    <a:gd name="T35" fmla="*/ 6 h 272"/>
                    <a:gd name="T36" fmla="*/ 44 w 200"/>
                    <a:gd name="T37" fmla="*/ 6 h 272"/>
                    <a:gd name="T38" fmla="*/ 38 w 200"/>
                    <a:gd name="T39" fmla="*/ 8 h 272"/>
                    <a:gd name="T40" fmla="*/ 27 w 200"/>
                    <a:gd name="T41" fmla="*/ 11 h 272"/>
                    <a:gd name="T42" fmla="*/ 25 w 200"/>
                    <a:gd name="T43" fmla="*/ 11 h 272"/>
                    <a:gd name="T44" fmla="*/ 19 w 200"/>
                    <a:gd name="T45" fmla="*/ 11 h 272"/>
                    <a:gd name="T46" fmla="*/ 14 w 200"/>
                    <a:gd name="T47" fmla="*/ 6 h 272"/>
                    <a:gd name="T48" fmla="*/ 8 w 200"/>
                    <a:gd name="T49" fmla="*/ 8 h 272"/>
                    <a:gd name="T50" fmla="*/ 10 w 200"/>
                    <a:gd name="T51" fmla="*/ 14 h 272"/>
                    <a:gd name="T52" fmla="*/ 14 w 200"/>
                    <a:gd name="T53" fmla="*/ 19 h 272"/>
                    <a:gd name="T54" fmla="*/ 17 w 200"/>
                    <a:gd name="T55" fmla="*/ 19 h 272"/>
                    <a:gd name="T56" fmla="*/ 25 w 200"/>
                    <a:gd name="T57" fmla="*/ 25 h 272"/>
                    <a:gd name="T58" fmla="*/ 44 w 200"/>
                    <a:gd name="T59" fmla="*/ 27 h 272"/>
                    <a:gd name="T60" fmla="*/ 50 w 200"/>
                    <a:gd name="T61" fmla="*/ 25 h 272"/>
                    <a:gd name="T62" fmla="*/ 47 w 200"/>
                    <a:gd name="T63" fmla="*/ 31 h 272"/>
                    <a:gd name="T64" fmla="*/ 25 w 200"/>
                    <a:gd name="T65" fmla="*/ 50 h 272"/>
                    <a:gd name="T66" fmla="*/ 8 w 200"/>
                    <a:gd name="T67" fmla="*/ 53 h 272"/>
                    <a:gd name="T68" fmla="*/ 3 w 200"/>
                    <a:gd name="T69" fmla="*/ 55 h 272"/>
                    <a:gd name="T70" fmla="*/ 0 w 200"/>
                    <a:gd name="T71" fmla="*/ 61 h 272"/>
                    <a:gd name="T72" fmla="*/ 0 w 200"/>
                    <a:gd name="T73" fmla="*/ 91 h 272"/>
                    <a:gd name="T74" fmla="*/ 0 w 200"/>
                    <a:gd name="T75" fmla="*/ 94 h 272"/>
                    <a:gd name="T76" fmla="*/ 3 w 200"/>
                    <a:gd name="T77" fmla="*/ 94 h 272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00"/>
                    <a:gd name="T118" fmla="*/ 0 h 272"/>
                    <a:gd name="T119" fmla="*/ 200 w 200"/>
                    <a:gd name="T120" fmla="*/ 272 h 272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00" h="272">
                      <a:moveTo>
                        <a:pt x="8" y="272"/>
                      </a:moveTo>
                      <a:lnTo>
                        <a:pt x="32" y="248"/>
                      </a:lnTo>
                      <a:lnTo>
                        <a:pt x="40" y="232"/>
                      </a:lnTo>
                      <a:lnTo>
                        <a:pt x="64" y="216"/>
                      </a:lnTo>
                      <a:lnTo>
                        <a:pt x="88" y="200"/>
                      </a:lnTo>
                      <a:lnTo>
                        <a:pt x="104" y="184"/>
                      </a:lnTo>
                      <a:lnTo>
                        <a:pt x="120" y="168"/>
                      </a:lnTo>
                      <a:lnTo>
                        <a:pt x="144" y="136"/>
                      </a:lnTo>
                      <a:lnTo>
                        <a:pt x="152" y="128"/>
                      </a:lnTo>
                      <a:lnTo>
                        <a:pt x="160" y="112"/>
                      </a:lnTo>
                      <a:lnTo>
                        <a:pt x="160" y="96"/>
                      </a:lnTo>
                      <a:lnTo>
                        <a:pt x="192" y="64"/>
                      </a:lnTo>
                      <a:lnTo>
                        <a:pt x="192" y="40"/>
                      </a:lnTo>
                      <a:lnTo>
                        <a:pt x="200" y="8"/>
                      </a:lnTo>
                      <a:lnTo>
                        <a:pt x="192" y="0"/>
                      </a:lnTo>
                      <a:lnTo>
                        <a:pt x="184" y="0"/>
                      </a:lnTo>
                      <a:lnTo>
                        <a:pt x="176" y="8"/>
                      </a:lnTo>
                      <a:lnTo>
                        <a:pt x="144" y="16"/>
                      </a:lnTo>
                      <a:lnTo>
                        <a:pt x="128" y="16"/>
                      </a:lnTo>
                      <a:lnTo>
                        <a:pt x="112" y="24"/>
                      </a:lnTo>
                      <a:lnTo>
                        <a:pt x="80" y="32"/>
                      </a:lnTo>
                      <a:lnTo>
                        <a:pt x="72" y="32"/>
                      </a:lnTo>
                      <a:lnTo>
                        <a:pt x="56" y="32"/>
                      </a:lnTo>
                      <a:lnTo>
                        <a:pt x="40" y="16"/>
                      </a:lnTo>
                      <a:lnTo>
                        <a:pt x="24" y="24"/>
                      </a:lnTo>
                      <a:lnTo>
                        <a:pt x="32" y="40"/>
                      </a:lnTo>
                      <a:lnTo>
                        <a:pt x="40" y="56"/>
                      </a:lnTo>
                      <a:lnTo>
                        <a:pt x="48" y="56"/>
                      </a:lnTo>
                      <a:lnTo>
                        <a:pt x="72" y="72"/>
                      </a:lnTo>
                      <a:lnTo>
                        <a:pt x="128" y="80"/>
                      </a:lnTo>
                      <a:lnTo>
                        <a:pt x="144" y="72"/>
                      </a:lnTo>
                      <a:lnTo>
                        <a:pt x="136" y="88"/>
                      </a:lnTo>
                      <a:lnTo>
                        <a:pt x="72" y="144"/>
                      </a:lnTo>
                      <a:lnTo>
                        <a:pt x="24" y="152"/>
                      </a:lnTo>
                      <a:lnTo>
                        <a:pt x="8" y="160"/>
                      </a:lnTo>
                      <a:lnTo>
                        <a:pt x="0" y="176"/>
                      </a:lnTo>
                      <a:lnTo>
                        <a:pt x="0" y="264"/>
                      </a:lnTo>
                      <a:lnTo>
                        <a:pt x="0" y="272"/>
                      </a:lnTo>
                      <a:lnTo>
                        <a:pt x="8" y="27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65" name="Freeform 312">
                  <a:extLst>
                    <a:ext uri="{FF2B5EF4-FFF2-40B4-BE49-F238E27FC236}">
                      <a16:creationId xmlns:a16="http://schemas.microsoft.com/office/drawing/2014/main" id="{C9D0D846-06D9-B896-C607-79CB46277C7C}"/>
                    </a:ext>
                  </a:extLst>
                </p:cNvPr>
                <p:cNvSpPr/>
                <p:nvPr/>
              </p:nvSpPr>
              <p:spPr bwMode="gray">
                <a:xfrm>
                  <a:off x="2767" y="2549"/>
                  <a:ext cx="225" cy="169"/>
                </a:xfrm>
                <a:custGeom>
                  <a:avLst/>
                  <a:gdLst>
                    <a:gd name="T0" fmla="*/ 84 w 320"/>
                    <a:gd name="T1" fmla="*/ 0 h 240"/>
                    <a:gd name="T2" fmla="*/ 39 w 320"/>
                    <a:gd name="T3" fmla="*/ 31 h 240"/>
                    <a:gd name="T4" fmla="*/ 31 w 320"/>
                    <a:gd name="T5" fmla="*/ 31 h 240"/>
                    <a:gd name="T6" fmla="*/ 23 w 320"/>
                    <a:gd name="T7" fmla="*/ 61 h 240"/>
                    <a:gd name="T8" fmla="*/ 14 w 320"/>
                    <a:gd name="T9" fmla="*/ 61 h 240"/>
                    <a:gd name="T10" fmla="*/ 8 w 320"/>
                    <a:gd name="T11" fmla="*/ 65 h 240"/>
                    <a:gd name="T12" fmla="*/ 0 w 320"/>
                    <a:gd name="T13" fmla="*/ 65 h 240"/>
                    <a:gd name="T14" fmla="*/ 0 w 320"/>
                    <a:gd name="T15" fmla="*/ 70 h 240"/>
                    <a:gd name="T16" fmla="*/ 3 w 320"/>
                    <a:gd name="T17" fmla="*/ 73 h 240"/>
                    <a:gd name="T18" fmla="*/ 6 w 320"/>
                    <a:gd name="T19" fmla="*/ 73 h 240"/>
                    <a:gd name="T20" fmla="*/ 8 w 320"/>
                    <a:gd name="T21" fmla="*/ 78 h 240"/>
                    <a:gd name="T22" fmla="*/ 14 w 320"/>
                    <a:gd name="T23" fmla="*/ 81 h 240"/>
                    <a:gd name="T24" fmla="*/ 14 w 320"/>
                    <a:gd name="T25" fmla="*/ 84 h 240"/>
                    <a:gd name="T26" fmla="*/ 19 w 320"/>
                    <a:gd name="T27" fmla="*/ 84 h 240"/>
                    <a:gd name="T28" fmla="*/ 23 w 320"/>
                    <a:gd name="T29" fmla="*/ 84 h 240"/>
                    <a:gd name="T30" fmla="*/ 25 w 320"/>
                    <a:gd name="T31" fmla="*/ 75 h 240"/>
                    <a:gd name="T32" fmla="*/ 31 w 320"/>
                    <a:gd name="T33" fmla="*/ 70 h 240"/>
                    <a:gd name="T34" fmla="*/ 41 w 320"/>
                    <a:gd name="T35" fmla="*/ 73 h 240"/>
                    <a:gd name="T36" fmla="*/ 48 w 320"/>
                    <a:gd name="T37" fmla="*/ 78 h 240"/>
                    <a:gd name="T38" fmla="*/ 56 w 320"/>
                    <a:gd name="T39" fmla="*/ 78 h 240"/>
                    <a:gd name="T40" fmla="*/ 61 w 320"/>
                    <a:gd name="T41" fmla="*/ 78 h 240"/>
                    <a:gd name="T42" fmla="*/ 67 w 320"/>
                    <a:gd name="T43" fmla="*/ 78 h 240"/>
                    <a:gd name="T44" fmla="*/ 70 w 320"/>
                    <a:gd name="T45" fmla="*/ 73 h 240"/>
                    <a:gd name="T46" fmla="*/ 84 w 320"/>
                    <a:gd name="T47" fmla="*/ 75 h 240"/>
                    <a:gd name="T48" fmla="*/ 94 w 320"/>
                    <a:gd name="T49" fmla="*/ 73 h 240"/>
                    <a:gd name="T50" fmla="*/ 94 w 320"/>
                    <a:gd name="T51" fmla="*/ 61 h 240"/>
                    <a:gd name="T52" fmla="*/ 108 w 320"/>
                    <a:gd name="T53" fmla="*/ 48 h 240"/>
                    <a:gd name="T54" fmla="*/ 108 w 320"/>
                    <a:gd name="T55" fmla="*/ 27 h 240"/>
                    <a:gd name="T56" fmla="*/ 111 w 320"/>
                    <a:gd name="T57" fmla="*/ 23 h 240"/>
                    <a:gd name="T58" fmla="*/ 105 w 320"/>
                    <a:gd name="T59" fmla="*/ 14 h 240"/>
                    <a:gd name="T60" fmla="*/ 103 w 320"/>
                    <a:gd name="T61" fmla="*/ 6 h 240"/>
                    <a:gd name="T62" fmla="*/ 86 w 320"/>
                    <a:gd name="T63" fmla="*/ 0 h 240"/>
                    <a:gd name="T64" fmla="*/ 84 w 320"/>
                    <a:gd name="T65" fmla="*/ 0 h 24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20"/>
                    <a:gd name="T100" fmla="*/ 0 h 240"/>
                    <a:gd name="T101" fmla="*/ 320 w 320"/>
                    <a:gd name="T102" fmla="*/ 240 h 24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20" h="240">
                      <a:moveTo>
                        <a:pt x="240" y="0"/>
                      </a:moveTo>
                      <a:lnTo>
                        <a:pt x="112" y="88"/>
                      </a:lnTo>
                      <a:lnTo>
                        <a:pt x="88" y="88"/>
                      </a:lnTo>
                      <a:lnTo>
                        <a:pt x="64" y="176"/>
                      </a:lnTo>
                      <a:lnTo>
                        <a:pt x="40" y="176"/>
                      </a:lnTo>
                      <a:lnTo>
                        <a:pt x="24" y="184"/>
                      </a:lnTo>
                      <a:lnTo>
                        <a:pt x="0" y="184"/>
                      </a:lnTo>
                      <a:lnTo>
                        <a:pt x="0" y="200"/>
                      </a:lnTo>
                      <a:lnTo>
                        <a:pt x="8" y="208"/>
                      </a:lnTo>
                      <a:lnTo>
                        <a:pt x="16" y="208"/>
                      </a:lnTo>
                      <a:lnTo>
                        <a:pt x="24" y="224"/>
                      </a:lnTo>
                      <a:lnTo>
                        <a:pt x="40" y="232"/>
                      </a:lnTo>
                      <a:lnTo>
                        <a:pt x="40" y="240"/>
                      </a:lnTo>
                      <a:lnTo>
                        <a:pt x="56" y="240"/>
                      </a:lnTo>
                      <a:lnTo>
                        <a:pt x="64" y="240"/>
                      </a:lnTo>
                      <a:lnTo>
                        <a:pt x="72" y="216"/>
                      </a:lnTo>
                      <a:lnTo>
                        <a:pt x="88" y="200"/>
                      </a:lnTo>
                      <a:lnTo>
                        <a:pt x="120" y="208"/>
                      </a:lnTo>
                      <a:lnTo>
                        <a:pt x="136" y="224"/>
                      </a:lnTo>
                      <a:lnTo>
                        <a:pt x="160" y="224"/>
                      </a:lnTo>
                      <a:lnTo>
                        <a:pt x="176" y="224"/>
                      </a:lnTo>
                      <a:lnTo>
                        <a:pt x="192" y="224"/>
                      </a:lnTo>
                      <a:lnTo>
                        <a:pt x="200" y="208"/>
                      </a:lnTo>
                      <a:lnTo>
                        <a:pt x="240" y="216"/>
                      </a:lnTo>
                      <a:lnTo>
                        <a:pt x="272" y="208"/>
                      </a:lnTo>
                      <a:lnTo>
                        <a:pt x="272" y="176"/>
                      </a:lnTo>
                      <a:lnTo>
                        <a:pt x="312" y="136"/>
                      </a:lnTo>
                      <a:lnTo>
                        <a:pt x="312" y="80"/>
                      </a:lnTo>
                      <a:lnTo>
                        <a:pt x="320" y="64"/>
                      </a:lnTo>
                      <a:lnTo>
                        <a:pt x="304" y="40"/>
                      </a:lnTo>
                      <a:lnTo>
                        <a:pt x="296" y="16"/>
                      </a:lnTo>
                      <a:lnTo>
                        <a:pt x="248" y="0"/>
                      </a:lnTo>
                      <a:lnTo>
                        <a:pt x="24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66" name="Freeform 313">
                  <a:extLst>
                    <a:ext uri="{FF2B5EF4-FFF2-40B4-BE49-F238E27FC236}">
                      <a16:creationId xmlns:a16="http://schemas.microsoft.com/office/drawing/2014/main" id="{0B0CE092-7D3C-13B2-989B-1D00BC2984A0}"/>
                    </a:ext>
                  </a:extLst>
                </p:cNvPr>
                <p:cNvSpPr/>
                <p:nvPr/>
              </p:nvSpPr>
              <p:spPr bwMode="gray">
                <a:xfrm>
                  <a:off x="2525" y="2689"/>
                  <a:ext cx="39" cy="17"/>
                </a:xfrm>
                <a:custGeom>
                  <a:avLst/>
                  <a:gdLst>
                    <a:gd name="T0" fmla="*/ 0 w 56"/>
                    <a:gd name="T1" fmla="*/ 9 h 24"/>
                    <a:gd name="T2" fmla="*/ 0 w 56"/>
                    <a:gd name="T3" fmla="*/ 3 h 24"/>
                    <a:gd name="T4" fmla="*/ 10 w 56"/>
                    <a:gd name="T5" fmla="*/ 0 h 24"/>
                    <a:gd name="T6" fmla="*/ 19 w 56"/>
                    <a:gd name="T7" fmla="*/ 3 h 24"/>
                    <a:gd name="T8" fmla="*/ 19 w 56"/>
                    <a:gd name="T9" fmla="*/ 6 h 24"/>
                    <a:gd name="T10" fmla="*/ 16 w 56"/>
                    <a:gd name="T11" fmla="*/ 9 h 24"/>
                    <a:gd name="T12" fmla="*/ 10 w 56"/>
                    <a:gd name="T13" fmla="*/ 6 h 24"/>
                    <a:gd name="T14" fmla="*/ 0 w 56"/>
                    <a:gd name="T15" fmla="*/ 9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6"/>
                    <a:gd name="T25" fmla="*/ 0 h 24"/>
                    <a:gd name="T26" fmla="*/ 56 w 56"/>
                    <a:gd name="T27" fmla="*/ 24 h 2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6" h="24">
                      <a:moveTo>
                        <a:pt x="0" y="24"/>
                      </a:moveTo>
                      <a:lnTo>
                        <a:pt x="0" y="8"/>
                      </a:lnTo>
                      <a:lnTo>
                        <a:pt x="32" y="0"/>
                      </a:lnTo>
                      <a:lnTo>
                        <a:pt x="56" y="8"/>
                      </a:lnTo>
                      <a:lnTo>
                        <a:pt x="56" y="16"/>
                      </a:lnTo>
                      <a:lnTo>
                        <a:pt x="48" y="24"/>
                      </a:lnTo>
                      <a:lnTo>
                        <a:pt x="32" y="16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67" name="Freeform 314">
                  <a:extLst>
                    <a:ext uri="{FF2B5EF4-FFF2-40B4-BE49-F238E27FC236}">
                      <a16:creationId xmlns:a16="http://schemas.microsoft.com/office/drawing/2014/main" id="{5D9022A7-B924-D505-23FE-5E8D6BA1B6A9}"/>
                    </a:ext>
                  </a:extLst>
                </p:cNvPr>
                <p:cNvSpPr/>
                <p:nvPr/>
              </p:nvSpPr>
              <p:spPr bwMode="gray">
                <a:xfrm>
                  <a:off x="2519" y="2644"/>
                  <a:ext cx="79" cy="74"/>
                </a:xfrm>
                <a:custGeom>
                  <a:avLst/>
                  <a:gdLst>
                    <a:gd name="T0" fmla="*/ 0 w 112"/>
                    <a:gd name="T1" fmla="*/ 34 h 104"/>
                    <a:gd name="T2" fmla="*/ 3 w 112"/>
                    <a:gd name="T3" fmla="*/ 32 h 104"/>
                    <a:gd name="T4" fmla="*/ 14 w 112"/>
                    <a:gd name="T5" fmla="*/ 29 h 104"/>
                    <a:gd name="T6" fmla="*/ 20 w 112"/>
                    <a:gd name="T7" fmla="*/ 32 h 104"/>
                    <a:gd name="T8" fmla="*/ 23 w 112"/>
                    <a:gd name="T9" fmla="*/ 29 h 104"/>
                    <a:gd name="T10" fmla="*/ 23 w 112"/>
                    <a:gd name="T11" fmla="*/ 26 h 104"/>
                    <a:gd name="T12" fmla="*/ 14 w 112"/>
                    <a:gd name="T13" fmla="*/ 23 h 104"/>
                    <a:gd name="T14" fmla="*/ 3 w 112"/>
                    <a:gd name="T15" fmla="*/ 26 h 104"/>
                    <a:gd name="T16" fmla="*/ 0 w 112"/>
                    <a:gd name="T17" fmla="*/ 23 h 104"/>
                    <a:gd name="T18" fmla="*/ 0 w 112"/>
                    <a:gd name="T19" fmla="*/ 17 h 104"/>
                    <a:gd name="T20" fmla="*/ 3 w 112"/>
                    <a:gd name="T21" fmla="*/ 11 h 104"/>
                    <a:gd name="T22" fmla="*/ 6 w 112"/>
                    <a:gd name="T23" fmla="*/ 3 h 104"/>
                    <a:gd name="T24" fmla="*/ 8 w 112"/>
                    <a:gd name="T25" fmla="*/ 0 h 104"/>
                    <a:gd name="T26" fmla="*/ 17 w 112"/>
                    <a:gd name="T27" fmla="*/ 3 h 104"/>
                    <a:gd name="T28" fmla="*/ 23 w 112"/>
                    <a:gd name="T29" fmla="*/ 6 h 104"/>
                    <a:gd name="T30" fmla="*/ 25 w 112"/>
                    <a:gd name="T31" fmla="*/ 9 h 104"/>
                    <a:gd name="T32" fmla="*/ 34 w 112"/>
                    <a:gd name="T33" fmla="*/ 17 h 104"/>
                    <a:gd name="T34" fmla="*/ 36 w 112"/>
                    <a:gd name="T35" fmla="*/ 29 h 104"/>
                    <a:gd name="T36" fmla="*/ 40 w 112"/>
                    <a:gd name="T37" fmla="*/ 32 h 104"/>
                    <a:gd name="T38" fmla="*/ 40 w 112"/>
                    <a:gd name="T39" fmla="*/ 38 h 104"/>
                    <a:gd name="T40" fmla="*/ 28 w 112"/>
                    <a:gd name="T41" fmla="*/ 34 h 104"/>
                    <a:gd name="T42" fmla="*/ 23 w 112"/>
                    <a:gd name="T43" fmla="*/ 34 h 104"/>
                    <a:gd name="T44" fmla="*/ 11 w 112"/>
                    <a:gd name="T45" fmla="*/ 34 h 104"/>
                    <a:gd name="T46" fmla="*/ 3 w 112"/>
                    <a:gd name="T47" fmla="*/ 38 h 104"/>
                    <a:gd name="T48" fmla="*/ 3 w 112"/>
                    <a:gd name="T49" fmla="*/ 34 h 104"/>
                    <a:gd name="T50" fmla="*/ 3 w 112"/>
                    <a:gd name="T51" fmla="*/ 32 h 104"/>
                    <a:gd name="T52" fmla="*/ 0 w 112"/>
                    <a:gd name="T53" fmla="*/ 34 h 104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12"/>
                    <a:gd name="T82" fmla="*/ 0 h 104"/>
                    <a:gd name="T83" fmla="*/ 112 w 112"/>
                    <a:gd name="T84" fmla="*/ 104 h 104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12" h="104">
                      <a:moveTo>
                        <a:pt x="0" y="96"/>
                      </a:moveTo>
                      <a:lnTo>
                        <a:pt x="8" y="88"/>
                      </a:lnTo>
                      <a:lnTo>
                        <a:pt x="40" y="80"/>
                      </a:lnTo>
                      <a:lnTo>
                        <a:pt x="56" y="88"/>
                      </a:lnTo>
                      <a:lnTo>
                        <a:pt x="64" y="80"/>
                      </a:lnTo>
                      <a:lnTo>
                        <a:pt x="64" y="72"/>
                      </a:lnTo>
                      <a:lnTo>
                        <a:pt x="40" y="64"/>
                      </a:lnTo>
                      <a:lnTo>
                        <a:pt x="8" y="72"/>
                      </a:lnTo>
                      <a:lnTo>
                        <a:pt x="0" y="64"/>
                      </a:lnTo>
                      <a:lnTo>
                        <a:pt x="0" y="48"/>
                      </a:lnTo>
                      <a:lnTo>
                        <a:pt x="8" y="32"/>
                      </a:ln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48" y="8"/>
                      </a:lnTo>
                      <a:lnTo>
                        <a:pt x="64" y="16"/>
                      </a:lnTo>
                      <a:lnTo>
                        <a:pt x="72" y="24"/>
                      </a:lnTo>
                      <a:lnTo>
                        <a:pt x="96" y="48"/>
                      </a:lnTo>
                      <a:lnTo>
                        <a:pt x="104" y="80"/>
                      </a:lnTo>
                      <a:lnTo>
                        <a:pt x="112" y="88"/>
                      </a:lnTo>
                      <a:lnTo>
                        <a:pt x="112" y="104"/>
                      </a:lnTo>
                      <a:lnTo>
                        <a:pt x="80" y="96"/>
                      </a:lnTo>
                      <a:lnTo>
                        <a:pt x="64" y="96"/>
                      </a:lnTo>
                      <a:lnTo>
                        <a:pt x="32" y="96"/>
                      </a:lnTo>
                      <a:lnTo>
                        <a:pt x="8" y="104"/>
                      </a:lnTo>
                      <a:lnTo>
                        <a:pt x="8" y="96"/>
                      </a:lnTo>
                      <a:lnTo>
                        <a:pt x="8" y="88"/>
                      </a:lnTo>
                      <a:lnTo>
                        <a:pt x="0" y="9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68" name="Freeform 315">
                  <a:extLst>
                    <a:ext uri="{FF2B5EF4-FFF2-40B4-BE49-F238E27FC236}">
                      <a16:creationId xmlns:a16="http://schemas.microsoft.com/office/drawing/2014/main" id="{18C7E9A2-38CC-BC89-0CBD-9E824DED8F86}"/>
                    </a:ext>
                  </a:extLst>
                </p:cNvPr>
                <p:cNvSpPr/>
                <p:nvPr/>
              </p:nvSpPr>
              <p:spPr bwMode="gray">
                <a:xfrm>
                  <a:off x="2525" y="2712"/>
                  <a:ext cx="39" cy="22"/>
                </a:xfrm>
                <a:custGeom>
                  <a:avLst/>
                  <a:gdLst>
                    <a:gd name="T0" fmla="*/ 8 w 56"/>
                    <a:gd name="T1" fmla="*/ 10 h 32"/>
                    <a:gd name="T2" fmla="*/ 8 w 56"/>
                    <a:gd name="T3" fmla="*/ 6 h 32"/>
                    <a:gd name="T4" fmla="*/ 3 w 56"/>
                    <a:gd name="T5" fmla="*/ 3 h 32"/>
                    <a:gd name="T6" fmla="*/ 0 w 56"/>
                    <a:gd name="T7" fmla="*/ 3 h 32"/>
                    <a:gd name="T8" fmla="*/ 8 w 56"/>
                    <a:gd name="T9" fmla="*/ 0 h 32"/>
                    <a:gd name="T10" fmla="*/ 19 w 56"/>
                    <a:gd name="T11" fmla="*/ 0 h 32"/>
                    <a:gd name="T12" fmla="*/ 19 w 56"/>
                    <a:gd name="T13" fmla="*/ 8 h 32"/>
                    <a:gd name="T14" fmla="*/ 14 w 56"/>
                    <a:gd name="T15" fmla="*/ 8 h 32"/>
                    <a:gd name="T16" fmla="*/ 8 w 56"/>
                    <a:gd name="T17" fmla="*/ 10 h 3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6"/>
                    <a:gd name="T28" fmla="*/ 0 h 32"/>
                    <a:gd name="T29" fmla="*/ 56 w 56"/>
                    <a:gd name="T30" fmla="*/ 32 h 3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6" h="32">
                      <a:moveTo>
                        <a:pt x="24" y="32"/>
                      </a:moveTo>
                      <a:lnTo>
                        <a:pt x="24" y="16"/>
                      </a:ln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24" y="0"/>
                      </a:lnTo>
                      <a:lnTo>
                        <a:pt x="56" y="0"/>
                      </a:lnTo>
                      <a:lnTo>
                        <a:pt x="56" y="24"/>
                      </a:lnTo>
                      <a:lnTo>
                        <a:pt x="40" y="24"/>
                      </a:lnTo>
                      <a:lnTo>
                        <a:pt x="24" y="3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69" name="Freeform 316">
                  <a:extLst>
                    <a:ext uri="{FF2B5EF4-FFF2-40B4-BE49-F238E27FC236}">
                      <a16:creationId xmlns:a16="http://schemas.microsoft.com/office/drawing/2014/main" id="{E3CB0498-2732-12D0-F05F-27CCC2033E97}"/>
                    </a:ext>
                  </a:extLst>
                </p:cNvPr>
                <p:cNvSpPr/>
                <p:nvPr/>
              </p:nvSpPr>
              <p:spPr bwMode="gray">
                <a:xfrm>
                  <a:off x="2541" y="2712"/>
                  <a:ext cx="107" cy="73"/>
                </a:xfrm>
                <a:custGeom>
                  <a:avLst/>
                  <a:gdLst>
                    <a:gd name="T0" fmla="*/ 14 w 152"/>
                    <a:gd name="T1" fmla="*/ 22 h 104"/>
                    <a:gd name="T2" fmla="*/ 3 w 152"/>
                    <a:gd name="T3" fmla="*/ 11 h 104"/>
                    <a:gd name="T4" fmla="*/ 0 w 152"/>
                    <a:gd name="T5" fmla="*/ 11 h 104"/>
                    <a:gd name="T6" fmla="*/ 6 w 152"/>
                    <a:gd name="T7" fmla="*/ 8 h 104"/>
                    <a:gd name="T8" fmla="*/ 11 w 152"/>
                    <a:gd name="T9" fmla="*/ 8 h 104"/>
                    <a:gd name="T10" fmla="*/ 11 w 152"/>
                    <a:gd name="T11" fmla="*/ 0 h 104"/>
                    <a:gd name="T12" fmla="*/ 17 w 152"/>
                    <a:gd name="T13" fmla="*/ 0 h 104"/>
                    <a:gd name="T14" fmla="*/ 27 w 152"/>
                    <a:gd name="T15" fmla="*/ 3 h 104"/>
                    <a:gd name="T16" fmla="*/ 36 w 152"/>
                    <a:gd name="T17" fmla="*/ 6 h 104"/>
                    <a:gd name="T18" fmla="*/ 42 w 152"/>
                    <a:gd name="T19" fmla="*/ 6 h 104"/>
                    <a:gd name="T20" fmla="*/ 44 w 152"/>
                    <a:gd name="T21" fmla="*/ 3 h 104"/>
                    <a:gd name="T22" fmla="*/ 48 w 152"/>
                    <a:gd name="T23" fmla="*/ 6 h 104"/>
                    <a:gd name="T24" fmla="*/ 53 w 152"/>
                    <a:gd name="T25" fmla="*/ 17 h 104"/>
                    <a:gd name="T26" fmla="*/ 53 w 152"/>
                    <a:gd name="T27" fmla="*/ 27 h 104"/>
                    <a:gd name="T28" fmla="*/ 50 w 152"/>
                    <a:gd name="T29" fmla="*/ 33 h 104"/>
                    <a:gd name="T30" fmla="*/ 50 w 152"/>
                    <a:gd name="T31" fmla="*/ 36 h 104"/>
                    <a:gd name="T32" fmla="*/ 42 w 152"/>
                    <a:gd name="T33" fmla="*/ 36 h 104"/>
                    <a:gd name="T34" fmla="*/ 42 w 152"/>
                    <a:gd name="T35" fmla="*/ 33 h 104"/>
                    <a:gd name="T36" fmla="*/ 36 w 152"/>
                    <a:gd name="T37" fmla="*/ 31 h 104"/>
                    <a:gd name="T38" fmla="*/ 34 w 152"/>
                    <a:gd name="T39" fmla="*/ 27 h 104"/>
                    <a:gd name="T40" fmla="*/ 31 w 152"/>
                    <a:gd name="T41" fmla="*/ 31 h 104"/>
                    <a:gd name="T42" fmla="*/ 31 w 152"/>
                    <a:gd name="T43" fmla="*/ 27 h 104"/>
                    <a:gd name="T44" fmla="*/ 31 w 152"/>
                    <a:gd name="T45" fmla="*/ 22 h 104"/>
                    <a:gd name="T46" fmla="*/ 27 w 152"/>
                    <a:gd name="T47" fmla="*/ 19 h 104"/>
                    <a:gd name="T48" fmla="*/ 19 w 152"/>
                    <a:gd name="T49" fmla="*/ 19 h 104"/>
                    <a:gd name="T50" fmla="*/ 14 w 152"/>
                    <a:gd name="T51" fmla="*/ 22 h 10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52"/>
                    <a:gd name="T79" fmla="*/ 0 h 104"/>
                    <a:gd name="T80" fmla="*/ 152 w 152"/>
                    <a:gd name="T81" fmla="*/ 104 h 10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52" h="104">
                      <a:moveTo>
                        <a:pt x="40" y="64"/>
                      </a:move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16" y="24"/>
                      </a:lnTo>
                      <a:lnTo>
                        <a:pt x="32" y="24"/>
                      </a:lnTo>
                      <a:lnTo>
                        <a:pt x="32" y="0"/>
                      </a:lnTo>
                      <a:lnTo>
                        <a:pt x="48" y="0"/>
                      </a:lnTo>
                      <a:lnTo>
                        <a:pt x="80" y="8"/>
                      </a:lnTo>
                      <a:lnTo>
                        <a:pt x="104" y="16"/>
                      </a:lnTo>
                      <a:lnTo>
                        <a:pt x="120" y="16"/>
                      </a:lnTo>
                      <a:lnTo>
                        <a:pt x="128" y="8"/>
                      </a:lnTo>
                      <a:lnTo>
                        <a:pt x="136" y="16"/>
                      </a:lnTo>
                      <a:lnTo>
                        <a:pt x="152" y="48"/>
                      </a:lnTo>
                      <a:lnTo>
                        <a:pt x="152" y="80"/>
                      </a:lnTo>
                      <a:lnTo>
                        <a:pt x="144" y="96"/>
                      </a:lnTo>
                      <a:lnTo>
                        <a:pt x="144" y="104"/>
                      </a:lnTo>
                      <a:lnTo>
                        <a:pt x="120" y="104"/>
                      </a:lnTo>
                      <a:lnTo>
                        <a:pt x="120" y="96"/>
                      </a:lnTo>
                      <a:lnTo>
                        <a:pt x="104" y="88"/>
                      </a:lnTo>
                      <a:lnTo>
                        <a:pt x="96" y="80"/>
                      </a:lnTo>
                      <a:lnTo>
                        <a:pt x="88" y="88"/>
                      </a:lnTo>
                      <a:lnTo>
                        <a:pt x="88" y="80"/>
                      </a:lnTo>
                      <a:lnTo>
                        <a:pt x="88" y="64"/>
                      </a:lnTo>
                      <a:lnTo>
                        <a:pt x="80" y="56"/>
                      </a:lnTo>
                      <a:lnTo>
                        <a:pt x="56" y="56"/>
                      </a:lnTo>
                      <a:lnTo>
                        <a:pt x="40" y="6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70" name="Freeform 317">
                  <a:extLst>
                    <a:ext uri="{FF2B5EF4-FFF2-40B4-BE49-F238E27FC236}">
                      <a16:creationId xmlns:a16="http://schemas.microsoft.com/office/drawing/2014/main" id="{B5CA0917-C0D0-99AF-F24F-3BCA483894E1}"/>
                    </a:ext>
                  </a:extLst>
                </p:cNvPr>
                <p:cNvSpPr/>
                <p:nvPr/>
              </p:nvSpPr>
              <p:spPr bwMode="gray">
                <a:xfrm>
                  <a:off x="2570" y="2751"/>
                  <a:ext cx="45" cy="45"/>
                </a:xfrm>
                <a:custGeom>
                  <a:avLst/>
                  <a:gdLst>
                    <a:gd name="T0" fmla="*/ 14 w 64"/>
                    <a:gd name="T1" fmla="*/ 23 h 64"/>
                    <a:gd name="T2" fmla="*/ 6 w 64"/>
                    <a:gd name="T3" fmla="*/ 17 h 64"/>
                    <a:gd name="T4" fmla="*/ 3 w 64"/>
                    <a:gd name="T5" fmla="*/ 11 h 64"/>
                    <a:gd name="T6" fmla="*/ 0 w 64"/>
                    <a:gd name="T7" fmla="*/ 3 h 64"/>
                    <a:gd name="T8" fmla="*/ 6 w 64"/>
                    <a:gd name="T9" fmla="*/ 0 h 64"/>
                    <a:gd name="T10" fmla="*/ 14 w 64"/>
                    <a:gd name="T11" fmla="*/ 0 h 64"/>
                    <a:gd name="T12" fmla="*/ 17 w 64"/>
                    <a:gd name="T13" fmla="*/ 3 h 64"/>
                    <a:gd name="T14" fmla="*/ 17 w 64"/>
                    <a:gd name="T15" fmla="*/ 8 h 64"/>
                    <a:gd name="T16" fmla="*/ 17 w 64"/>
                    <a:gd name="T17" fmla="*/ 11 h 64"/>
                    <a:gd name="T18" fmla="*/ 19 w 64"/>
                    <a:gd name="T19" fmla="*/ 8 h 64"/>
                    <a:gd name="T20" fmla="*/ 23 w 64"/>
                    <a:gd name="T21" fmla="*/ 11 h 64"/>
                    <a:gd name="T22" fmla="*/ 14 w 64"/>
                    <a:gd name="T23" fmla="*/ 23 h 6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4"/>
                    <a:gd name="T37" fmla="*/ 0 h 64"/>
                    <a:gd name="T38" fmla="*/ 64 w 64"/>
                    <a:gd name="T39" fmla="*/ 64 h 6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4" h="64">
                      <a:moveTo>
                        <a:pt x="40" y="64"/>
                      </a:moveTo>
                      <a:lnTo>
                        <a:pt x="16" y="48"/>
                      </a:lnTo>
                      <a:lnTo>
                        <a:pt x="8" y="32"/>
                      </a:lnTo>
                      <a:lnTo>
                        <a:pt x="0" y="8"/>
                      </a:lnTo>
                      <a:lnTo>
                        <a:pt x="16" y="0"/>
                      </a:lnTo>
                      <a:lnTo>
                        <a:pt x="40" y="0"/>
                      </a:lnTo>
                      <a:lnTo>
                        <a:pt x="48" y="8"/>
                      </a:lnTo>
                      <a:lnTo>
                        <a:pt x="48" y="24"/>
                      </a:lnTo>
                      <a:lnTo>
                        <a:pt x="48" y="32"/>
                      </a:lnTo>
                      <a:lnTo>
                        <a:pt x="56" y="24"/>
                      </a:lnTo>
                      <a:lnTo>
                        <a:pt x="64" y="32"/>
                      </a:lnTo>
                      <a:lnTo>
                        <a:pt x="40" y="6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71" name="Freeform 318">
                  <a:extLst>
                    <a:ext uri="{FF2B5EF4-FFF2-40B4-BE49-F238E27FC236}">
                      <a16:creationId xmlns:a16="http://schemas.microsoft.com/office/drawing/2014/main" id="{8D46A927-6848-9BAA-9407-95CE567D7D29}"/>
                    </a:ext>
                  </a:extLst>
                </p:cNvPr>
                <p:cNvSpPr/>
                <p:nvPr/>
              </p:nvSpPr>
              <p:spPr bwMode="gray">
                <a:xfrm>
                  <a:off x="2800" y="2689"/>
                  <a:ext cx="169" cy="141"/>
                </a:xfrm>
                <a:custGeom>
                  <a:avLst/>
                  <a:gdLst>
                    <a:gd name="T0" fmla="*/ 78 w 240"/>
                    <a:gd name="T1" fmla="*/ 3 h 200"/>
                    <a:gd name="T2" fmla="*/ 81 w 240"/>
                    <a:gd name="T3" fmla="*/ 6 h 200"/>
                    <a:gd name="T4" fmla="*/ 81 w 240"/>
                    <a:gd name="T5" fmla="*/ 8 h 200"/>
                    <a:gd name="T6" fmla="*/ 84 w 240"/>
                    <a:gd name="T7" fmla="*/ 19 h 200"/>
                    <a:gd name="T8" fmla="*/ 78 w 240"/>
                    <a:gd name="T9" fmla="*/ 23 h 200"/>
                    <a:gd name="T10" fmla="*/ 73 w 240"/>
                    <a:gd name="T11" fmla="*/ 34 h 200"/>
                    <a:gd name="T12" fmla="*/ 70 w 240"/>
                    <a:gd name="T13" fmla="*/ 36 h 200"/>
                    <a:gd name="T14" fmla="*/ 67 w 240"/>
                    <a:gd name="T15" fmla="*/ 51 h 200"/>
                    <a:gd name="T16" fmla="*/ 61 w 240"/>
                    <a:gd name="T17" fmla="*/ 53 h 200"/>
                    <a:gd name="T18" fmla="*/ 58 w 240"/>
                    <a:gd name="T19" fmla="*/ 51 h 200"/>
                    <a:gd name="T20" fmla="*/ 53 w 240"/>
                    <a:gd name="T21" fmla="*/ 51 h 200"/>
                    <a:gd name="T22" fmla="*/ 44 w 240"/>
                    <a:gd name="T23" fmla="*/ 61 h 200"/>
                    <a:gd name="T24" fmla="*/ 42 w 240"/>
                    <a:gd name="T25" fmla="*/ 70 h 200"/>
                    <a:gd name="T26" fmla="*/ 25 w 240"/>
                    <a:gd name="T27" fmla="*/ 70 h 200"/>
                    <a:gd name="T28" fmla="*/ 23 w 240"/>
                    <a:gd name="T29" fmla="*/ 67 h 200"/>
                    <a:gd name="T30" fmla="*/ 19 w 240"/>
                    <a:gd name="T31" fmla="*/ 65 h 200"/>
                    <a:gd name="T32" fmla="*/ 11 w 240"/>
                    <a:gd name="T33" fmla="*/ 56 h 200"/>
                    <a:gd name="T34" fmla="*/ 3 w 240"/>
                    <a:gd name="T35" fmla="*/ 56 h 200"/>
                    <a:gd name="T36" fmla="*/ 0 w 240"/>
                    <a:gd name="T37" fmla="*/ 36 h 200"/>
                    <a:gd name="T38" fmla="*/ 6 w 240"/>
                    <a:gd name="T39" fmla="*/ 31 h 200"/>
                    <a:gd name="T40" fmla="*/ 6 w 240"/>
                    <a:gd name="T41" fmla="*/ 23 h 200"/>
                    <a:gd name="T42" fmla="*/ 3 w 240"/>
                    <a:gd name="T43" fmla="*/ 14 h 200"/>
                    <a:gd name="T44" fmla="*/ 6 w 240"/>
                    <a:gd name="T45" fmla="*/ 14 h 200"/>
                    <a:gd name="T46" fmla="*/ 8 w 240"/>
                    <a:gd name="T47" fmla="*/ 6 h 200"/>
                    <a:gd name="T48" fmla="*/ 14 w 240"/>
                    <a:gd name="T49" fmla="*/ 0 h 200"/>
                    <a:gd name="T50" fmla="*/ 25 w 240"/>
                    <a:gd name="T51" fmla="*/ 3 h 200"/>
                    <a:gd name="T52" fmla="*/ 31 w 240"/>
                    <a:gd name="T53" fmla="*/ 8 h 200"/>
                    <a:gd name="T54" fmla="*/ 39 w 240"/>
                    <a:gd name="T55" fmla="*/ 8 h 200"/>
                    <a:gd name="T56" fmla="*/ 44 w 240"/>
                    <a:gd name="T57" fmla="*/ 8 h 200"/>
                    <a:gd name="T58" fmla="*/ 50 w 240"/>
                    <a:gd name="T59" fmla="*/ 8 h 200"/>
                    <a:gd name="T60" fmla="*/ 53 w 240"/>
                    <a:gd name="T61" fmla="*/ 3 h 200"/>
                    <a:gd name="T62" fmla="*/ 67 w 240"/>
                    <a:gd name="T63" fmla="*/ 6 h 200"/>
                    <a:gd name="T64" fmla="*/ 78 w 240"/>
                    <a:gd name="T65" fmla="*/ 3 h 20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40"/>
                    <a:gd name="T100" fmla="*/ 0 h 200"/>
                    <a:gd name="T101" fmla="*/ 240 w 240"/>
                    <a:gd name="T102" fmla="*/ 200 h 20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40" h="200">
                      <a:moveTo>
                        <a:pt x="224" y="8"/>
                      </a:moveTo>
                      <a:lnTo>
                        <a:pt x="232" y="16"/>
                      </a:lnTo>
                      <a:lnTo>
                        <a:pt x="232" y="24"/>
                      </a:lnTo>
                      <a:lnTo>
                        <a:pt x="240" y="56"/>
                      </a:lnTo>
                      <a:lnTo>
                        <a:pt x="224" y="64"/>
                      </a:lnTo>
                      <a:lnTo>
                        <a:pt x="208" y="96"/>
                      </a:lnTo>
                      <a:lnTo>
                        <a:pt x="200" y="104"/>
                      </a:lnTo>
                      <a:lnTo>
                        <a:pt x="192" y="144"/>
                      </a:lnTo>
                      <a:lnTo>
                        <a:pt x="176" y="152"/>
                      </a:lnTo>
                      <a:lnTo>
                        <a:pt x="168" y="144"/>
                      </a:lnTo>
                      <a:lnTo>
                        <a:pt x="152" y="144"/>
                      </a:lnTo>
                      <a:lnTo>
                        <a:pt x="128" y="176"/>
                      </a:lnTo>
                      <a:lnTo>
                        <a:pt x="120" y="200"/>
                      </a:lnTo>
                      <a:lnTo>
                        <a:pt x="72" y="200"/>
                      </a:lnTo>
                      <a:lnTo>
                        <a:pt x="64" y="192"/>
                      </a:lnTo>
                      <a:lnTo>
                        <a:pt x="56" y="184"/>
                      </a:lnTo>
                      <a:lnTo>
                        <a:pt x="32" y="160"/>
                      </a:lnTo>
                      <a:lnTo>
                        <a:pt x="8" y="160"/>
                      </a:lnTo>
                      <a:lnTo>
                        <a:pt x="0" y="104"/>
                      </a:lnTo>
                      <a:lnTo>
                        <a:pt x="16" y="88"/>
                      </a:lnTo>
                      <a:lnTo>
                        <a:pt x="16" y="64"/>
                      </a:lnTo>
                      <a:lnTo>
                        <a:pt x="8" y="40"/>
                      </a:lnTo>
                      <a:lnTo>
                        <a:pt x="16" y="40"/>
                      </a:lnTo>
                      <a:lnTo>
                        <a:pt x="24" y="16"/>
                      </a:lnTo>
                      <a:lnTo>
                        <a:pt x="40" y="0"/>
                      </a:lnTo>
                      <a:lnTo>
                        <a:pt x="72" y="8"/>
                      </a:lnTo>
                      <a:lnTo>
                        <a:pt x="88" y="24"/>
                      </a:lnTo>
                      <a:lnTo>
                        <a:pt x="112" y="24"/>
                      </a:lnTo>
                      <a:lnTo>
                        <a:pt x="128" y="24"/>
                      </a:lnTo>
                      <a:lnTo>
                        <a:pt x="144" y="24"/>
                      </a:lnTo>
                      <a:lnTo>
                        <a:pt x="152" y="8"/>
                      </a:lnTo>
                      <a:lnTo>
                        <a:pt x="192" y="16"/>
                      </a:lnTo>
                      <a:lnTo>
                        <a:pt x="224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72" name="Freeform 319">
                  <a:extLst>
                    <a:ext uri="{FF2B5EF4-FFF2-40B4-BE49-F238E27FC236}">
                      <a16:creationId xmlns:a16="http://schemas.microsoft.com/office/drawing/2014/main" id="{F6EC5255-4819-1D2C-4223-B0F25150BD72}"/>
                    </a:ext>
                  </a:extLst>
                </p:cNvPr>
                <p:cNvSpPr/>
                <p:nvPr/>
              </p:nvSpPr>
              <p:spPr bwMode="gray">
                <a:xfrm>
                  <a:off x="2772" y="2718"/>
                  <a:ext cx="40" cy="84"/>
                </a:xfrm>
                <a:custGeom>
                  <a:avLst/>
                  <a:gdLst>
                    <a:gd name="T0" fmla="*/ 0 w 56"/>
                    <a:gd name="T1" fmla="*/ 8 h 120"/>
                    <a:gd name="T2" fmla="*/ 11 w 56"/>
                    <a:gd name="T3" fmla="*/ 3 h 120"/>
                    <a:gd name="T4" fmla="*/ 11 w 56"/>
                    <a:gd name="T5" fmla="*/ 0 h 120"/>
                    <a:gd name="T6" fmla="*/ 17 w 56"/>
                    <a:gd name="T7" fmla="*/ 0 h 120"/>
                    <a:gd name="T8" fmla="*/ 21 w 56"/>
                    <a:gd name="T9" fmla="*/ 8 h 120"/>
                    <a:gd name="T10" fmla="*/ 21 w 56"/>
                    <a:gd name="T11" fmla="*/ 17 h 120"/>
                    <a:gd name="T12" fmla="*/ 15 w 56"/>
                    <a:gd name="T13" fmla="*/ 22 h 120"/>
                    <a:gd name="T14" fmla="*/ 17 w 56"/>
                    <a:gd name="T15" fmla="*/ 41 h 120"/>
                    <a:gd name="T16" fmla="*/ 9 w 56"/>
                    <a:gd name="T17" fmla="*/ 41 h 120"/>
                    <a:gd name="T18" fmla="*/ 9 w 56"/>
                    <a:gd name="T19" fmla="*/ 22 h 120"/>
                    <a:gd name="T20" fmla="*/ 3 w 56"/>
                    <a:gd name="T21" fmla="*/ 17 h 120"/>
                    <a:gd name="T22" fmla="*/ 0 w 56"/>
                    <a:gd name="T23" fmla="*/ 14 h 120"/>
                    <a:gd name="T24" fmla="*/ 0 w 56"/>
                    <a:gd name="T25" fmla="*/ 8 h 12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6"/>
                    <a:gd name="T40" fmla="*/ 0 h 120"/>
                    <a:gd name="T41" fmla="*/ 56 w 56"/>
                    <a:gd name="T42" fmla="*/ 120 h 12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6" h="120">
                      <a:moveTo>
                        <a:pt x="0" y="24"/>
                      </a:moveTo>
                      <a:lnTo>
                        <a:pt x="32" y="8"/>
                      </a:lnTo>
                      <a:lnTo>
                        <a:pt x="32" y="0"/>
                      </a:lnTo>
                      <a:lnTo>
                        <a:pt x="48" y="0"/>
                      </a:lnTo>
                      <a:lnTo>
                        <a:pt x="56" y="24"/>
                      </a:lnTo>
                      <a:lnTo>
                        <a:pt x="56" y="48"/>
                      </a:lnTo>
                      <a:lnTo>
                        <a:pt x="40" y="64"/>
                      </a:lnTo>
                      <a:lnTo>
                        <a:pt x="48" y="120"/>
                      </a:lnTo>
                      <a:lnTo>
                        <a:pt x="24" y="120"/>
                      </a:lnTo>
                      <a:lnTo>
                        <a:pt x="24" y="64"/>
                      </a:lnTo>
                      <a:lnTo>
                        <a:pt x="8" y="48"/>
                      </a:lnTo>
                      <a:lnTo>
                        <a:pt x="0" y="4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73" name="Freeform 320">
                  <a:extLst>
                    <a:ext uri="{FF2B5EF4-FFF2-40B4-BE49-F238E27FC236}">
                      <a16:creationId xmlns:a16="http://schemas.microsoft.com/office/drawing/2014/main" id="{C2A16E7F-4AF9-8CEF-2392-BF5E35E38AD3}"/>
                    </a:ext>
                  </a:extLst>
                </p:cNvPr>
                <p:cNvSpPr/>
                <p:nvPr/>
              </p:nvSpPr>
              <p:spPr bwMode="gray">
                <a:xfrm>
                  <a:off x="2761" y="2734"/>
                  <a:ext cx="28" cy="74"/>
                </a:xfrm>
                <a:custGeom>
                  <a:avLst/>
                  <a:gdLst>
                    <a:gd name="T0" fmla="*/ 6 w 40"/>
                    <a:gd name="T1" fmla="*/ 0 h 104"/>
                    <a:gd name="T2" fmla="*/ 6 w 40"/>
                    <a:gd name="T3" fmla="*/ 6 h 104"/>
                    <a:gd name="T4" fmla="*/ 8 w 40"/>
                    <a:gd name="T5" fmla="*/ 9 h 104"/>
                    <a:gd name="T6" fmla="*/ 14 w 40"/>
                    <a:gd name="T7" fmla="*/ 14 h 104"/>
                    <a:gd name="T8" fmla="*/ 14 w 40"/>
                    <a:gd name="T9" fmla="*/ 34 h 104"/>
                    <a:gd name="T10" fmla="*/ 6 w 40"/>
                    <a:gd name="T11" fmla="*/ 38 h 104"/>
                    <a:gd name="T12" fmla="*/ 6 w 40"/>
                    <a:gd name="T13" fmla="*/ 32 h 104"/>
                    <a:gd name="T14" fmla="*/ 6 w 40"/>
                    <a:gd name="T15" fmla="*/ 29 h 104"/>
                    <a:gd name="T16" fmla="*/ 6 w 40"/>
                    <a:gd name="T17" fmla="*/ 26 h 104"/>
                    <a:gd name="T18" fmla="*/ 3 w 40"/>
                    <a:gd name="T19" fmla="*/ 23 h 104"/>
                    <a:gd name="T20" fmla="*/ 3 w 40"/>
                    <a:gd name="T21" fmla="*/ 9 h 104"/>
                    <a:gd name="T22" fmla="*/ 0 w 40"/>
                    <a:gd name="T23" fmla="*/ 0 h 104"/>
                    <a:gd name="T24" fmla="*/ 6 w 40"/>
                    <a:gd name="T25" fmla="*/ 0 h 10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0"/>
                    <a:gd name="T40" fmla="*/ 0 h 104"/>
                    <a:gd name="T41" fmla="*/ 40 w 40"/>
                    <a:gd name="T42" fmla="*/ 104 h 10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0" h="104">
                      <a:moveTo>
                        <a:pt x="16" y="0"/>
                      </a:moveTo>
                      <a:lnTo>
                        <a:pt x="16" y="16"/>
                      </a:lnTo>
                      <a:lnTo>
                        <a:pt x="24" y="24"/>
                      </a:lnTo>
                      <a:lnTo>
                        <a:pt x="40" y="40"/>
                      </a:lnTo>
                      <a:lnTo>
                        <a:pt x="40" y="96"/>
                      </a:lnTo>
                      <a:lnTo>
                        <a:pt x="16" y="104"/>
                      </a:lnTo>
                      <a:lnTo>
                        <a:pt x="16" y="88"/>
                      </a:lnTo>
                      <a:lnTo>
                        <a:pt x="16" y="80"/>
                      </a:lnTo>
                      <a:lnTo>
                        <a:pt x="16" y="72"/>
                      </a:lnTo>
                      <a:lnTo>
                        <a:pt x="8" y="64"/>
                      </a:lnTo>
                      <a:lnTo>
                        <a:pt x="8" y="24"/>
                      </a:lnTo>
                      <a:lnTo>
                        <a:pt x="0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74" name="Freeform 321">
                  <a:extLst>
                    <a:ext uri="{FF2B5EF4-FFF2-40B4-BE49-F238E27FC236}">
                      <a16:creationId xmlns:a16="http://schemas.microsoft.com/office/drawing/2014/main" id="{735D17BC-F0B4-A054-266D-F13FEB7A018D}"/>
                    </a:ext>
                  </a:extLst>
                </p:cNvPr>
                <p:cNvSpPr/>
                <p:nvPr/>
              </p:nvSpPr>
              <p:spPr bwMode="gray">
                <a:xfrm>
                  <a:off x="2716" y="2729"/>
                  <a:ext cx="56" cy="95"/>
                </a:xfrm>
                <a:custGeom>
                  <a:avLst/>
                  <a:gdLst>
                    <a:gd name="T0" fmla="*/ 22 w 80"/>
                    <a:gd name="T1" fmla="*/ 3 h 136"/>
                    <a:gd name="T2" fmla="*/ 25 w 80"/>
                    <a:gd name="T3" fmla="*/ 10 h 136"/>
                    <a:gd name="T4" fmla="*/ 25 w 80"/>
                    <a:gd name="T5" fmla="*/ 24 h 136"/>
                    <a:gd name="T6" fmla="*/ 27 w 80"/>
                    <a:gd name="T7" fmla="*/ 27 h 136"/>
                    <a:gd name="T8" fmla="*/ 27 w 80"/>
                    <a:gd name="T9" fmla="*/ 30 h 136"/>
                    <a:gd name="T10" fmla="*/ 27 w 80"/>
                    <a:gd name="T11" fmla="*/ 33 h 136"/>
                    <a:gd name="T12" fmla="*/ 27 w 80"/>
                    <a:gd name="T13" fmla="*/ 38 h 136"/>
                    <a:gd name="T14" fmla="*/ 22 w 80"/>
                    <a:gd name="T15" fmla="*/ 41 h 136"/>
                    <a:gd name="T16" fmla="*/ 8 w 80"/>
                    <a:gd name="T17" fmla="*/ 46 h 136"/>
                    <a:gd name="T18" fmla="*/ 6 w 80"/>
                    <a:gd name="T19" fmla="*/ 43 h 136"/>
                    <a:gd name="T20" fmla="*/ 3 w 80"/>
                    <a:gd name="T21" fmla="*/ 38 h 136"/>
                    <a:gd name="T22" fmla="*/ 0 w 80"/>
                    <a:gd name="T23" fmla="*/ 36 h 136"/>
                    <a:gd name="T24" fmla="*/ 6 w 80"/>
                    <a:gd name="T25" fmla="*/ 24 h 136"/>
                    <a:gd name="T26" fmla="*/ 6 w 80"/>
                    <a:gd name="T27" fmla="*/ 19 h 136"/>
                    <a:gd name="T28" fmla="*/ 3 w 80"/>
                    <a:gd name="T29" fmla="*/ 10 h 136"/>
                    <a:gd name="T30" fmla="*/ 6 w 80"/>
                    <a:gd name="T31" fmla="*/ 0 h 136"/>
                    <a:gd name="T32" fmla="*/ 10 w 80"/>
                    <a:gd name="T33" fmla="*/ 0 h 136"/>
                    <a:gd name="T34" fmla="*/ 17 w 80"/>
                    <a:gd name="T35" fmla="*/ 3 h 136"/>
                    <a:gd name="T36" fmla="*/ 19 w 80"/>
                    <a:gd name="T37" fmla="*/ 0 h 136"/>
                    <a:gd name="T38" fmla="*/ 22 w 80"/>
                    <a:gd name="T39" fmla="*/ 3 h 1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80"/>
                    <a:gd name="T61" fmla="*/ 0 h 136"/>
                    <a:gd name="T62" fmla="*/ 80 w 80"/>
                    <a:gd name="T63" fmla="*/ 136 h 1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80" h="136">
                      <a:moveTo>
                        <a:pt x="64" y="8"/>
                      </a:moveTo>
                      <a:lnTo>
                        <a:pt x="72" y="32"/>
                      </a:lnTo>
                      <a:lnTo>
                        <a:pt x="72" y="72"/>
                      </a:lnTo>
                      <a:lnTo>
                        <a:pt x="80" y="80"/>
                      </a:lnTo>
                      <a:lnTo>
                        <a:pt x="80" y="88"/>
                      </a:lnTo>
                      <a:lnTo>
                        <a:pt x="80" y="96"/>
                      </a:lnTo>
                      <a:lnTo>
                        <a:pt x="80" y="112"/>
                      </a:lnTo>
                      <a:lnTo>
                        <a:pt x="64" y="120"/>
                      </a:lnTo>
                      <a:lnTo>
                        <a:pt x="24" y="136"/>
                      </a:lnTo>
                      <a:lnTo>
                        <a:pt x="16" y="128"/>
                      </a:lnTo>
                      <a:lnTo>
                        <a:pt x="8" y="112"/>
                      </a:lnTo>
                      <a:lnTo>
                        <a:pt x="0" y="104"/>
                      </a:lnTo>
                      <a:lnTo>
                        <a:pt x="16" y="72"/>
                      </a:lnTo>
                      <a:lnTo>
                        <a:pt x="16" y="56"/>
                      </a:lnTo>
                      <a:lnTo>
                        <a:pt x="8" y="32"/>
                      </a:lnTo>
                      <a:lnTo>
                        <a:pt x="16" y="0"/>
                      </a:lnTo>
                      <a:lnTo>
                        <a:pt x="32" y="0"/>
                      </a:lnTo>
                      <a:lnTo>
                        <a:pt x="48" y="8"/>
                      </a:lnTo>
                      <a:lnTo>
                        <a:pt x="56" y="0"/>
                      </a:lnTo>
                      <a:lnTo>
                        <a:pt x="64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75" name="Freeform 322">
                  <a:extLst>
                    <a:ext uri="{FF2B5EF4-FFF2-40B4-BE49-F238E27FC236}">
                      <a16:creationId xmlns:a16="http://schemas.microsoft.com/office/drawing/2014/main" id="{36035BE7-B14E-9F90-0DAA-1674577025B4}"/>
                    </a:ext>
                  </a:extLst>
                </p:cNvPr>
                <p:cNvSpPr/>
                <p:nvPr/>
              </p:nvSpPr>
              <p:spPr bwMode="gray">
                <a:xfrm>
                  <a:off x="2643" y="2734"/>
                  <a:ext cx="84" cy="96"/>
                </a:xfrm>
                <a:custGeom>
                  <a:avLst/>
                  <a:gdLst>
                    <a:gd name="T0" fmla="*/ 41 w 120"/>
                    <a:gd name="T1" fmla="*/ 42 h 136"/>
                    <a:gd name="T2" fmla="*/ 39 w 120"/>
                    <a:gd name="T3" fmla="*/ 37 h 136"/>
                    <a:gd name="T4" fmla="*/ 36 w 120"/>
                    <a:gd name="T5" fmla="*/ 34 h 136"/>
                    <a:gd name="T6" fmla="*/ 41 w 120"/>
                    <a:gd name="T7" fmla="*/ 23 h 136"/>
                    <a:gd name="T8" fmla="*/ 41 w 120"/>
                    <a:gd name="T9" fmla="*/ 17 h 136"/>
                    <a:gd name="T10" fmla="*/ 39 w 120"/>
                    <a:gd name="T11" fmla="*/ 8 h 136"/>
                    <a:gd name="T12" fmla="*/ 30 w 120"/>
                    <a:gd name="T13" fmla="*/ 8 h 136"/>
                    <a:gd name="T14" fmla="*/ 27 w 120"/>
                    <a:gd name="T15" fmla="*/ 11 h 136"/>
                    <a:gd name="T16" fmla="*/ 22 w 120"/>
                    <a:gd name="T17" fmla="*/ 6 h 136"/>
                    <a:gd name="T18" fmla="*/ 17 w 120"/>
                    <a:gd name="T19" fmla="*/ 6 h 136"/>
                    <a:gd name="T20" fmla="*/ 11 w 120"/>
                    <a:gd name="T21" fmla="*/ 0 h 136"/>
                    <a:gd name="T22" fmla="*/ 8 w 120"/>
                    <a:gd name="T23" fmla="*/ 6 h 136"/>
                    <a:gd name="T24" fmla="*/ 3 w 120"/>
                    <a:gd name="T25" fmla="*/ 6 h 136"/>
                    <a:gd name="T26" fmla="*/ 3 w 120"/>
                    <a:gd name="T27" fmla="*/ 17 h 136"/>
                    <a:gd name="T28" fmla="*/ 0 w 120"/>
                    <a:gd name="T29" fmla="*/ 23 h 136"/>
                    <a:gd name="T30" fmla="*/ 0 w 120"/>
                    <a:gd name="T31" fmla="*/ 25 h 136"/>
                    <a:gd name="T32" fmla="*/ 0 w 120"/>
                    <a:gd name="T33" fmla="*/ 34 h 136"/>
                    <a:gd name="T34" fmla="*/ 6 w 120"/>
                    <a:gd name="T35" fmla="*/ 37 h 136"/>
                    <a:gd name="T36" fmla="*/ 6 w 120"/>
                    <a:gd name="T37" fmla="*/ 42 h 136"/>
                    <a:gd name="T38" fmla="*/ 3 w 120"/>
                    <a:gd name="T39" fmla="*/ 48 h 136"/>
                    <a:gd name="T40" fmla="*/ 11 w 120"/>
                    <a:gd name="T41" fmla="*/ 48 h 136"/>
                    <a:gd name="T42" fmla="*/ 22 w 120"/>
                    <a:gd name="T43" fmla="*/ 45 h 136"/>
                    <a:gd name="T44" fmla="*/ 30 w 120"/>
                    <a:gd name="T45" fmla="*/ 42 h 136"/>
                    <a:gd name="T46" fmla="*/ 41 w 120"/>
                    <a:gd name="T47" fmla="*/ 42 h 1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20"/>
                    <a:gd name="T73" fmla="*/ 0 h 136"/>
                    <a:gd name="T74" fmla="*/ 120 w 120"/>
                    <a:gd name="T75" fmla="*/ 136 h 1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20" h="136">
                      <a:moveTo>
                        <a:pt x="120" y="120"/>
                      </a:moveTo>
                      <a:lnTo>
                        <a:pt x="112" y="104"/>
                      </a:lnTo>
                      <a:lnTo>
                        <a:pt x="104" y="96"/>
                      </a:lnTo>
                      <a:lnTo>
                        <a:pt x="120" y="64"/>
                      </a:lnTo>
                      <a:lnTo>
                        <a:pt x="120" y="48"/>
                      </a:lnTo>
                      <a:lnTo>
                        <a:pt x="112" y="24"/>
                      </a:lnTo>
                      <a:lnTo>
                        <a:pt x="88" y="24"/>
                      </a:lnTo>
                      <a:lnTo>
                        <a:pt x="80" y="32"/>
                      </a:lnTo>
                      <a:lnTo>
                        <a:pt x="64" y="16"/>
                      </a:lnTo>
                      <a:lnTo>
                        <a:pt x="48" y="16"/>
                      </a:lnTo>
                      <a:lnTo>
                        <a:pt x="32" y="0"/>
                      </a:lnTo>
                      <a:lnTo>
                        <a:pt x="24" y="16"/>
                      </a:lnTo>
                      <a:lnTo>
                        <a:pt x="8" y="16"/>
                      </a:lnTo>
                      <a:lnTo>
                        <a:pt x="8" y="48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0" y="96"/>
                      </a:lnTo>
                      <a:lnTo>
                        <a:pt x="16" y="104"/>
                      </a:lnTo>
                      <a:lnTo>
                        <a:pt x="16" y="120"/>
                      </a:lnTo>
                      <a:lnTo>
                        <a:pt x="8" y="136"/>
                      </a:lnTo>
                      <a:lnTo>
                        <a:pt x="32" y="136"/>
                      </a:lnTo>
                      <a:lnTo>
                        <a:pt x="64" y="128"/>
                      </a:lnTo>
                      <a:lnTo>
                        <a:pt x="88" y="120"/>
                      </a:lnTo>
                      <a:lnTo>
                        <a:pt x="120" y="12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76" name="Freeform 323">
                  <a:extLst>
                    <a:ext uri="{FF2B5EF4-FFF2-40B4-BE49-F238E27FC236}">
                      <a16:creationId xmlns:a16="http://schemas.microsoft.com/office/drawing/2014/main" id="{B6D8D11F-6CF4-DE38-1AFF-631E23A47BCC}"/>
                    </a:ext>
                  </a:extLst>
                </p:cNvPr>
                <p:cNvSpPr/>
                <p:nvPr/>
              </p:nvSpPr>
              <p:spPr bwMode="gray">
                <a:xfrm>
                  <a:off x="2885" y="2701"/>
                  <a:ext cx="101" cy="163"/>
                </a:xfrm>
                <a:custGeom>
                  <a:avLst/>
                  <a:gdLst>
                    <a:gd name="T0" fmla="*/ 0 w 144"/>
                    <a:gd name="T1" fmla="*/ 64 h 232"/>
                    <a:gd name="T2" fmla="*/ 6 w 144"/>
                    <a:gd name="T3" fmla="*/ 67 h 232"/>
                    <a:gd name="T4" fmla="*/ 8 w 144"/>
                    <a:gd name="T5" fmla="*/ 72 h 232"/>
                    <a:gd name="T6" fmla="*/ 8 w 144"/>
                    <a:gd name="T7" fmla="*/ 77 h 232"/>
                    <a:gd name="T8" fmla="*/ 19 w 144"/>
                    <a:gd name="T9" fmla="*/ 77 h 232"/>
                    <a:gd name="T10" fmla="*/ 30 w 144"/>
                    <a:gd name="T11" fmla="*/ 77 h 232"/>
                    <a:gd name="T12" fmla="*/ 41 w 144"/>
                    <a:gd name="T13" fmla="*/ 77 h 232"/>
                    <a:gd name="T14" fmla="*/ 44 w 144"/>
                    <a:gd name="T15" fmla="*/ 81 h 232"/>
                    <a:gd name="T16" fmla="*/ 50 w 144"/>
                    <a:gd name="T17" fmla="*/ 75 h 232"/>
                    <a:gd name="T18" fmla="*/ 41 w 144"/>
                    <a:gd name="T19" fmla="*/ 58 h 232"/>
                    <a:gd name="T20" fmla="*/ 41 w 144"/>
                    <a:gd name="T21" fmla="*/ 53 h 232"/>
                    <a:gd name="T22" fmla="*/ 50 w 144"/>
                    <a:gd name="T23" fmla="*/ 41 h 232"/>
                    <a:gd name="T24" fmla="*/ 44 w 144"/>
                    <a:gd name="T25" fmla="*/ 33 h 232"/>
                    <a:gd name="T26" fmla="*/ 39 w 144"/>
                    <a:gd name="T27" fmla="*/ 27 h 232"/>
                    <a:gd name="T28" fmla="*/ 39 w 144"/>
                    <a:gd name="T29" fmla="*/ 25 h 232"/>
                    <a:gd name="T30" fmla="*/ 47 w 144"/>
                    <a:gd name="T31" fmla="*/ 22 h 232"/>
                    <a:gd name="T32" fmla="*/ 47 w 144"/>
                    <a:gd name="T33" fmla="*/ 8 h 232"/>
                    <a:gd name="T34" fmla="*/ 41 w 144"/>
                    <a:gd name="T35" fmla="*/ 0 h 232"/>
                    <a:gd name="T36" fmla="*/ 39 w 144"/>
                    <a:gd name="T37" fmla="*/ 0 h 232"/>
                    <a:gd name="T38" fmla="*/ 39 w 144"/>
                    <a:gd name="T39" fmla="*/ 3 h 232"/>
                    <a:gd name="T40" fmla="*/ 41 w 144"/>
                    <a:gd name="T41" fmla="*/ 14 h 232"/>
                    <a:gd name="T42" fmla="*/ 36 w 144"/>
                    <a:gd name="T43" fmla="*/ 17 h 232"/>
                    <a:gd name="T44" fmla="*/ 30 w 144"/>
                    <a:gd name="T45" fmla="*/ 27 h 232"/>
                    <a:gd name="T46" fmla="*/ 27 w 144"/>
                    <a:gd name="T47" fmla="*/ 31 h 232"/>
                    <a:gd name="T48" fmla="*/ 25 w 144"/>
                    <a:gd name="T49" fmla="*/ 44 h 232"/>
                    <a:gd name="T50" fmla="*/ 19 w 144"/>
                    <a:gd name="T51" fmla="*/ 47 h 232"/>
                    <a:gd name="T52" fmla="*/ 17 w 144"/>
                    <a:gd name="T53" fmla="*/ 44 h 232"/>
                    <a:gd name="T54" fmla="*/ 11 w 144"/>
                    <a:gd name="T55" fmla="*/ 44 h 232"/>
                    <a:gd name="T56" fmla="*/ 3 w 144"/>
                    <a:gd name="T57" fmla="*/ 56 h 232"/>
                    <a:gd name="T58" fmla="*/ 0 w 144"/>
                    <a:gd name="T59" fmla="*/ 64 h 23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44"/>
                    <a:gd name="T91" fmla="*/ 0 h 232"/>
                    <a:gd name="T92" fmla="*/ 144 w 144"/>
                    <a:gd name="T93" fmla="*/ 232 h 232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44" h="232">
                      <a:moveTo>
                        <a:pt x="0" y="184"/>
                      </a:moveTo>
                      <a:lnTo>
                        <a:pt x="16" y="192"/>
                      </a:lnTo>
                      <a:lnTo>
                        <a:pt x="24" y="208"/>
                      </a:lnTo>
                      <a:lnTo>
                        <a:pt x="24" y="224"/>
                      </a:lnTo>
                      <a:lnTo>
                        <a:pt x="56" y="224"/>
                      </a:lnTo>
                      <a:lnTo>
                        <a:pt x="88" y="224"/>
                      </a:lnTo>
                      <a:lnTo>
                        <a:pt x="120" y="224"/>
                      </a:lnTo>
                      <a:lnTo>
                        <a:pt x="128" y="232"/>
                      </a:lnTo>
                      <a:lnTo>
                        <a:pt x="144" y="216"/>
                      </a:lnTo>
                      <a:lnTo>
                        <a:pt x="120" y="168"/>
                      </a:lnTo>
                      <a:lnTo>
                        <a:pt x="120" y="152"/>
                      </a:lnTo>
                      <a:lnTo>
                        <a:pt x="144" y="120"/>
                      </a:lnTo>
                      <a:lnTo>
                        <a:pt x="128" y="96"/>
                      </a:lnTo>
                      <a:lnTo>
                        <a:pt x="112" y="80"/>
                      </a:lnTo>
                      <a:lnTo>
                        <a:pt x="112" y="72"/>
                      </a:lnTo>
                      <a:lnTo>
                        <a:pt x="136" y="64"/>
                      </a:lnTo>
                      <a:lnTo>
                        <a:pt x="136" y="24"/>
                      </a:lnTo>
                      <a:lnTo>
                        <a:pt x="120" y="0"/>
                      </a:lnTo>
                      <a:lnTo>
                        <a:pt x="112" y="0"/>
                      </a:lnTo>
                      <a:lnTo>
                        <a:pt x="112" y="8"/>
                      </a:lnTo>
                      <a:lnTo>
                        <a:pt x="120" y="40"/>
                      </a:lnTo>
                      <a:lnTo>
                        <a:pt x="104" y="48"/>
                      </a:lnTo>
                      <a:lnTo>
                        <a:pt x="88" y="80"/>
                      </a:lnTo>
                      <a:lnTo>
                        <a:pt x="80" y="88"/>
                      </a:lnTo>
                      <a:lnTo>
                        <a:pt x="72" y="128"/>
                      </a:lnTo>
                      <a:lnTo>
                        <a:pt x="56" y="136"/>
                      </a:lnTo>
                      <a:lnTo>
                        <a:pt x="48" y="128"/>
                      </a:lnTo>
                      <a:lnTo>
                        <a:pt x="32" y="128"/>
                      </a:lnTo>
                      <a:lnTo>
                        <a:pt x="8" y="160"/>
                      </a:lnTo>
                      <a:lnTo>
                        <a:pt x="0" y="18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77" name="Freeform 324">
                  <a:extLst>
                    <a:ext uri="{FF2B5EF4-FFF2-40B4-BE49-F238E27FC236}">
                      <a16:creationId xmlns:a16="http://schemas.microsoft.com/office/drawing/2014/main" id="{C0C4BD69-65B7-EDFC-3C03-AED5C5EA8F73}"/>
                    </a:ext>
                  </a:extLst>
                </p:cNvPr>
                <p:cNvSpPr/>
                <p:nvPr/>
              </p:nvSpPr>
              <p:spPr bwMode="gray">
                <a:xfrm>
                  <a:off x="2969" y="2718"/>
                  <a:ext cx="186" cy="135"/>
                </a:xfrm>
                <a:custGeom>
                  <a:avLst/>
                  <a:gdLst>
                    <a:gd name="T0" fmla="*/ 8 w 264"/>
                    <a:gd name="T1" fmla="*/ 67 h 192"/>
                    <a:gd name="T2" fmla="*/ 0 w 264"/>
                    <a:gd name="T3" fmla="*/ 50 h 192"/>
                    <a:gd name="T4" fmla="*/ 0 w 264"/>
                    <a:gd name="T5" fmla="*/ 44 h 192"/>
                    <a:gd name="T6" fmla="*/ 8 w 264"/>
                    <a:gd name="T7" fmla="*/ 34 h 192"/>
                    <a:gd name="T8" fmla="*/ 31 w 264"/>
                    <a:gd name="T9" fmla="*/ 31 h 192"/>
                    <a:gd name="T10" fmla="*/ 34 w 264"/>
                    <a:gd name="T11" fmla="*/ 23 h 192"/>
                    <a:gd name="T12" fmla="*/ 42 w 264"/>
                    <a:gd name="T13" fmla="*/ 23 h 192"/>
                    <a:gd name="T14" fmla="*/ 53 w 264"/>
                    <a:gd name="T15" fmla="*/ 11 h 192"/>
                    <a:gd name="T16" fmla="*/ 53 w 264"/>
                    <a:gd name="T17" fmla="*/ 3 h 192"/>
                    <a:gd name="T18" fmla="*/ 58 w 264"/>
                    <a:gd name="T19" fmla="*/ 0 h 192"/>
                    <a:gd name="T20" fmla="*/ 65 w 264"/>
                    <a:gd name="T21" fmla="*/ 6 h 192"/>
                    <a:gd name="T22" fmla="*/ 65 w 264"/>
                    <a:gd name="T23" fmla="*/ 8 h 192"/>
                    <a:gd name="T24" fmla="*/ 61 w 264"/>
                    <a:gd name="T25" fmla="*/ 8 h 192"/>
                    <a:gd name="T26" fmla="*/ 67 w 264"/>
                    <a:gd name="T27" fmla="*/ 14 h 192"/>
                    <a:gd name="T28" fmla="*/ 67 w 264"/>
                    <a:gd name="T29" fmla="*/ 25 h 192"/>
                    <a:gd name="T30" fmla="*/ 70 w 264"/>
                    <a:gd name="T31" fmla="*/ 25 h 192"/>
                    <a:gd name="T32" fmla="*/ 73 w 264"/>
                    <a:gd name="T33" fmla="*/ 31 h 192"/>
                    <a:gd name="T34" fmla="*/ 75 w 264"/>
                    <a:gd name="T35" fmla="*/ 31 h 192"/>
                    <a:gd name="T36" fmla="*/ 81 w 264"/>
                    <a:gd name="T37" fmla="*/ 36 h 192"/>
                    <a:gd name="T38" fmla="*/ 84 w 264"/>
                    <a:gd name="T39" fmla="*/ 41 h 192"/>
                    <a:gd name="T40" fmla="*/ 89 w 264"/>
                    <a:gd name="T41" fmla="*/ 48 h 192"/>
                    <a:gd name="T42" fmla="*/ 92 w 264"/>
                    <a:gd name="T43" fmla="*/ 50 h 192"/>
                    <a:gd name="T44" fmla="*/ 81 w 264"/>
                    <a:gd name="T45" fmla="*/ 48 h 192"/>
                    <a:gd name="T46" fmla="*/ 61 w 264"/>
                    <a:gd name="T47" fmla="*/ 56 h 192"/>
                    <a:gd name="T48" fmla="*/ 56 w 264"/>
                    <a:gd name="T49" fmla="*/ 58 h 192"/>
                    <a:gd name="T50" fmla="*/ 44 w 264"/>
                    <a:gd name="T51" fmla="*/ 56 h 192"/>
                    <a:gd name="T52" fmla="*/ 39 w 264"/>
                    <a:gd name="T53" fmla="*/ 50 h 192"/>
                    <a:gd name="T54" fmla="*/ 27 w 264"/>
                    <a:gd name="T55" fmla="*/ 53 h 192"/>
                    <a:gd name="T56" fmla="*/ 27 w 264"/>
                    <a:gd name="T57" fmla="*/ 58 h 192"/>
                    <a:gd name="T58" fmla="*/ 23 w 264"/>
                    <a:gd name="T59" fmla="*/ 61 h 192"/>
                    <a:gd name="T60" fmla="*/ 17 w 264"/>
                    <a:gd name="T61" fmla="*/ 58 h 192"/>
                    <a:gd name="T62" fmla="*/ 11 w 264"/>
                    <a:gd name="T63" fmla="*/ 61 h 192"/>
                    <a:gd name="T64" fmla="*/ 8 w 264"/>
                    <a:gd name="T65" fmla="*/ 67 h 19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64"/>
                    <a:gd name="T100" fmla="*/ 0 h 192"/>
                    <a:gd name="T101" fmla="*/ 264 w 264"/>
                    <a:gd name="T102" fmla="*/ 192 h 19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64" h="192">
                      <a:moveTo>
                        <a:pt x="24" y="192"/>
                      </a:moveTo>
                      <a:lnTo>
                        <a:pt x="0" y="144"/>
                      </a:lnTo>
                      <a:lnTo>
                        <a:pt x="0" y="128"/>
                      </a:lnTo>
                      <a:lnTo>
                        <a:pt x="24" y="96"/>
                      </a:lnTo>
                      <a:lnTo>
                        <a:pt x="88" y="88"/>
                      </a:lnTo>
                      <a:lnTo>
                        <a:pt x="96" y="64"/>
                      </a:lnTo>
                      <a:lnTo>
                        <a:pt x="120" y="64"/>
                      </a:lnTo>
                      <a:lnTo>
                        <a:pt x="152" y="32"/>
                      </a:lnTo>
                      <a:lnTo>
                        <a:pt x="152" y="8"/>
                      </a:lnTo>
                      <a:lnTo>
                        <a:pt x="168" y="0"/>
                      </a:lnTo>
                      <a:lnTo>
                        <a:pt x="184" y="16"/>
                      </a:lnTo>
                      <a:lnTo>
                        <a:pt x="184" y="24"/>
                      </a:lnTo>
                      <a:lnTo>
                        <a:pt x="176" y="24"/>
                      </a:lnTo>
                      <a:lnTo>
                        <a:pt x="192" y="40"/>
                      </a:lnTo>
                      <a:lnTo>
                        <a:pt x="192" y="72"/>
                      </a:lnTo>
                      <a:lnTo>
                        <a:pt x="200" y="72"/>
                      </a:lnTo>
                      <a:lnTo>
                        <a:pt x="208" y="88"/>
                      </a:lnTo>
                      <a:lnTo>
                        <a:pt x="216" y="88"/>
                      </a:lnTo>
                      <a:lnTo>
                        <a:pt x="232" y="104"/>
                      </a:lnTo>
                      <a:lnTo>
                        <a:pt x="240" y="120"/>
                      </a:lnTo>
                      <a:lnTo>
                        <a:pt x="256" y="136"/>
                      </a:lnTo>
                      <a:lnTo>
                        <a:pt x="264" y="144"/>
                      </a:lnTo>
                      <a:lnTo>
                        <a:pt x="232" y="136"/>
                      </a:lnTo>
                      <a:lnTo>
                        <a:pt x="176" y="160"/>
                      </a:lnTo>
                      <a:lnTo>
                        <a:pt x="160" y="168"/>
                      </a:lnTo>
                      <a:lnTo>
                        <a:pt x="128" y="160"/>
                      </a:lnTo>
                      <a:lnTo>
                        <a:pt x="112" y="144"/>
                      </a:lnTo>
                      <a:lnTo>
                        <a:pt x="80" y="152"/>
                      </a:lnTo>
                      <a:lnTo>
                        <a:pt x="80" y="168"/>
                      </a:lnTo>
                      <a:lnTo>
                        <a:pt x="64" y="176"/>
                      </a:lnTo>
                      <a:lnTo>
                        <a:pt x="48" y="168"/>
                      </a:lnTo>
                      <a:lnTo>
                        <a:pt x="32" y="176"/>
                      </a:lnTo>
                      <a:lnTo>
                        <a:pt x="24" y="19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78" name="Freeform 325">
                  <a:extLst>
                    <a:ext uri="{FF2B5EF4-FFF2-40B4-BE49-F238E27FC236}">
                      <a16:creationId xmlns:a16="http://schemas.microsoft.com/office/drawing/2014/main" id="{A392DBFC-6193-FBA6-A2DF-BB14AAB06AEE}"/>
                    </a:ext>
                  </a:extLst>
                </p:cNvPr>
                <p:cNvSpPr/>
                <p:nvPr/>
              </p:nvSpPr>
              <p:spPr bwMode="gray">
                <a:xfrm>
                  <a:off x="2958" y="2543"/>
                  <a:ext cx="152" cy="242"/>
                </a:xfrm>
                <a:custGeom>
                  <a:avLst/>
                  <a:gdLst>
                    <a:gd name="T0" fmla="*/ 14 w 216"/>
                    <a:gd name="T1" fmla="*/ 120 h 344"/>
                    <a:gd name="T2" fmla="*/ 8 w 216"/>
                    <a:gd name="T3" fmla="*/ 111 h 344"/>
                    <a:gd name="T4" fmla="*/ 3 w 216"/>
                    <a:gd name="T5" fmla="*/ 106 h 344"/>
                    <a:gd name="T6" fmla="*/ 3 w 216"/>
                    <a:gd name="T7" fmla="*/ 103 h 344"/>
                    <a:gd name="T8" fmla="*/ 11 w 216"/>
                    <a:gd name="T9" fmla="*/ 101 h 344"/>
                    <a:gd name="T10" fmla="*/ 11 w 216"/>
                    <a:gd name="T11" fmla="*/ 86 h 344"/>
                    <a:gd name="T12" fmla="*/ 6 w 216"/>
                    <a:gd name="T13" fmla="*/ 78 h 344"/>
                    <a:gd name="T14" fmla="*/ 3 w 216"/>
                    <a:gd name="T15" fmla="*/ 78 h 344"/>
                    <a:gd name="T16" fmla="*/ 0 w 216"/>
                    <a:gd name="T17" fmla="*/ 75 h 344"/>
                    <a:gd name="T18" fmla="*/ 0 w 216"/>
                    <a:gd name="T19" fmla="*/ 64 h 344"/>
                    <a:gd name="T20" fmla="*/ 14 w 216"/>
                    <a:gd name="T21" fmla="*/ 50 h 344"/>
                    <a:gd name="T22" fmla="*/ 14 w 216"/>
                    <a:gd name="T23" fmla="*/ 31 h 344"/>
                    <a:gd name="T24" fmla="*/ 17 w 216"/>
                    <a:gd name="T25" fmla="*/ 25 h 344"/>
                    <a:gd name="T26" fmla="*/ 11 w 216"/>
                    <a:gd name="T27" fmla="*/ 17 h 344"/>
                    <a:gd name="T28" fmla="*/ 8 w 216"/>
                    <a:gd name="T29" fmla="*/ 8 h 344"/>
                    <a:gd name="T30" fmla="*/ 19 w 216"/>
                    <a:gd name="T31" fmla="*/ 0 h 344"/>
                    <a:gd name="T32" fmla="*/ 75 w 216"/>
                    <a:gd name="T33" fmla="*/ 27 h 344"/>
                    <a:gd name="T34" fmla="*/ 75 w 216"/>
                    <a:gd name="T35" fmla="*/ 58 h 344"/>
                    <a:gd name="T36" fmla="*/ 64 w 216"/>
                    <a:gd name="T37" fmla="*/ 58 h 344"/>
                    <a:gd name="T38" fmla="*/ 64 w 216"/>
                    <a:gd name="T39" fmla="*/ 64 h 344"/>
                    <a:gd name="T40" fmla="*/ 64 w 216"/>
                    <a:gd name="T41" fmla="*/ 67 h 344"/>
                    <a:gd name="T42" fmla="*/ 61 w 216"/>
                    <a:gd name="T43" fmla="*/ 78 h 344"/>
                    <a:gd name="T44" fmla="*/ 61 w 216"/>
                    <a:gd name="T45" fmla="*/ 81 h 344"/>
                    <a:gd name="T46" fmla="*/ 64 w 216"/>
                    <a:gd name="T47" fmla="*/ 84 h 344"/>
                    <a:gd name="T48" fmla="*/ 64 w 216"/>
                    <a:gd name="T49" fmla="*/ 86 h 344"/>
                    <a:gd name="T50" fmla="*/ 58 w 216"/>
                    <a:gd name="T51" fmla="*/ 89 h 344"/>
                    <a:gd name="T52" fmla="*/ 58 w 216"/>
                    <a:gd name="T53" fmla="*/ 98 h 344"/>
                    <a:gd name="T54" fmla="*/ 48 w 216"/>
                    <a:gd name="T55" fmla="*/ 108 h 344"/>
                    <a:gd name="T56" fmla="*/ 39 w 216"/>
                    <a:gd name="T57" fmla="*/ 108 h 344"/>
                    <a:gd name="T58" fmla="*/ 36 w 216"/>
                    <a:gd name="T59" fmla="*/ 117 h 344"/>
                    <a:gd name="T60" fmla="*/ 14 w 216"/>
                    <a:gd name="T61" fmla="*/ 120 h 344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216"/>
                    <a:gd name="T94" fmla="*/ 0 h 344"/>
                    <a:gd name="T95" fmla="*/ 216 w 216"/>
                    <a:gd name="T96" fmla="*/ 344 h 344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216" h="344">
                      <a:moveTo>
                        <a:pt x="40" y="344"/>
                      </a:moveTo>
                      <a:lnTo>
                        <a:pt x="24" y="320"/>
                      </a:lnTo>
                      <a:lnTo>
                        <a:pt x="8" y="304"/>
                      </a:lnTo>
                      <a:lnTo>
                        <a:pt x="8" y="296"/>
                      </a:lnTo>
                      <a:lnTo>
                        <a:pt x="32" y="288"/>
                      </a:lnTo>
                      <a:lnTo>
                        <a:pt x="32" y="248"/>
                      </a:lnTo>
                      <a:lnTo>
                        <a:pt x="16" y="224"/>
                      </a:lnTo>
                      <a:lnTo>
                        <a:pt x="8" y="224"/>
                      </a:lnTo>
                      <a:lnTo>
                        <a:pt x="0" y="216"/>
                      </a:lnTo>
                      <a:lnTo>
                        <a:pt x="0" y="184"/>
                      </a:lnTo>
                      <a:lnTo>
                        <a:pt x="40" y="144"/>
                      </a:lnTo>
                      <a:lnTo>
                        <a:pt x="40" y="88"/>
                      </a:lnTo>
                      <a:lnTo>
                        <a:pt x="48" y="72"/>
                      </a:lnTo>
                      <a:lnTo>
                        <a:pt x="32" y="48"/>
                      </a:lnTo>
                      <a:lnTo>
                        <a:pt x="24" y="24"/>
                      </a:lnTo>
                      <a:lnTo>
                        <a:pt x="56" y="0"/>
                      </a:lnTo>
                      <a:lnTo>
                        <a:pt x="216" y="80"/>
                      </a:lnTo>
                      <a:lnTo>
                        <a:pt x="216" y="168"/>
                      </a:lnTo>
                      <a:lnTo>
                        <a:pt x="184" y="168"/>
                      </a:lnTo>
                      <a:lnTo>
                        <a:pt x="184" y="184"/>
                      </a:lnTo>
                      <a:lnTo>
                        <a:pt x="184" y="192"/>
                      </a:lnTo>
                      <a:lnTo>
                        <a:pt x="176" y="224"/>
                      </a:lnTo>
                      <a:lnTo>
                        <a:pt x="176" y="232"/>
                      </a:lnTo>
                      <a:lnTo>
                        <a:pt x="184" y="240"/>
                      </a:lnTo>
                      <a:lnTo>
                        <a:pt x="184" y="248"/>
                      </a:lnTo>
                      <a:lnTo>
                        <a:pt x="168" y="256"/>
                      </a:lnTo>
                      <a:lnTo>
                        <a:pt x="168" y="280"/>
                      </a:lnTo>
                      <a:lnTo>
                        <a:pt x="136" y="312"/>
                      </a:lnTo>
                      <a:lnTo>
                        <a:pt x="112" y="312"/>
                      </a:lnTo>
                      <a:lnTo>
                        <a:pt x="104" y="336"/>
                      </a:lnTo>
                      <a:lnTo>
                        <a:pt x="40" y="34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79" name="Freeform 326">
                  <a:extLst>
                    <a:ext uri="{FF2B5EF4-FFF2-40B4-BE49-F238E27FC236}">
                      <a16:creationId xmlns:a16="http://schemas.microsoft.com/office/drawing/2014/main" id="{5F2CF493-4769-A3BD-307E-804145205115}"/>
                    </a:ext>
                  </a:extLst>
                </p:cNvPr>
                <p:cNvSpPr/>
                <p:nvPr/>
              </p:nvSpPr>
              <p:spPr bwMode="gray">
                <a:xfrm>
                  <a:off x="2890" y="2858"/>
                  <a:ext cx="79" cy="101"/>
                </a:xfrm>
                <a:custGeom>
                  <a:avLst/>
                  <a:gdLst>
                    <a:gd name="T0" fmla="*/ 20 w 112"/>
                    <a:gd name="T1" fmla="*/ 50 h 144"/>
                    <a:gd name="T2" fmla="*/ 11 w 112"/>
                    <a:gd name="T3" fmla="*/ 39 h 144"/>
                    <a:gd name="T4" fmla="*/ 6 w 112"/>
                    <a:gd name="T5" fmla="*/ 33 h 144"/>
                    <a:gd name="T6" fmla="*/ 0 w 112"/>
                    <a:gd name="T7" fmla="*/ 25 h 144"/>
                    <a:gd name="T8" fmla="*/ 6 w 112"/>
                    <a:gd name="T9" fmla="*/ 17 h 144"/>
                    <a:gd name="T10" fmla="*/ 3 w 112"/>
                    <a:gd name="T11" fmla="*/ 11 h 144"/>
                    <a:gd name="T12" fmla="*/ 6 w 112"/>
                    <a:gd name="T13" fmla="*/ 8 h 144"/>
                    <a:gd name="T14" fmla="*/ 17 w 112"/>
                    <a:gd name="T15" fmla="*/ 8 h 144"/>
                    <a:gd name="T16" fmla="*/ 17 w 112"/>
                    <a:gd name="T17" fmla="*/ 0 h 144"/>
                    <a:gd name="T18" fmla="*/ 28 w 112"/>
                    <a:gd name="T19" fmla="*/ 0 h 144"/>
                    <a:gd name="T20" fmla="*/ 25 w 112"/>
                    <a:gd name="T21" fmla="*/ 6 h 144"/>
                    <a:gd name="T22" fmla="*/ 34 w 112"/>
                    <a:gd name="T23" fmla="*/ 11 h 144"/>
                    <a:gd name="T24" fmla="*/ 40 w 112"/>
                    <a:gd name="T25" fmla="*/ 8 h 144"/>
                    <a:gd name="T26" fmla="*/ 40 w 112"/>
                    <a:gd name="T27" fmla="*/ 14 h 144"/>
                    <a:gd name="T28" fmla="*/ 36 w 112"/>
                    <a:gd name="T29" fmla="*/ 17 h 144"/>
                    <a:gd name="T30" fmla="*/ 34 w 112"/>
                    <a:gd name="T31" fmla="*/ 22 h 144"/>
                    <a:gd name="T32" fmla="*/ 36 w 112"/>
                    <a:gd name="T33" fmla="*/ 25 h 144"/>
                    <a:gd name="T34" fmla="*/ 40 w 112"/>
                    <a:gd name="T35" fmla="*/ 25 h 144"/>
                    <a:gd name="T36" fmla="*/ 36 w 112"/>
                    <a:gd name="T37" fmla="*/ 39 h 144"/>
                    <a:gd name="T38" fmla="*/ 31 w 112"/>
                    <a:gd name="T39" fmla="*/ 33 h 144"/>
                    <a:gd name="T40" fmla="*/ 28 w 112"/>
                    <a:gd name="T41" fmla="*/ 30 h 144"/>
                    <a:gd name="T42" fmla="*/ 23 w 112"/>
                    <a:gd name="T43" fmla="*/ 27 h 144"/>
                    <a:gd name="T44" fmla="*/ 23 w 112"/>
                    <a:gd name="T45" fmla="*/ 33 h 144"/>
                    <a:gd name="T46" fmla="*/ 20 w 112"/>
                    <a:gd name="T47" fmla="*/ 36 h 144"/>
                    <a:gd name="T48" fmla="*/ 17 w 112"/>
                    <a:gd name="T49" fmla="*/ 36 h 144"/>
                    <a:gd name="T50" fmla="*/ 20 w 112"/>
                    <a:gd name="T51" fmla="*/ 39 h 144"/>
                    <a:gd name="T52" fmla="*/ 25 w 112"/>
                    <a:gd name="T53" fmla="*/ 44 h 144"/>
                    <a:gd name="T54" fmla="*/ 20 w 112"/>
                    <a:gd name="T55" fmla="*/ 50 h 144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12"/>
                    <a:gd name="T85" fmla="*/ 0 h 144"/>
                    <a:gd name="T86" fmla="*/ 112 w 112"/>
                    <a:gd name="T87" fmla="*/ 144 h 144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12" h="144">
                      <a:moveTo>
                        <a:pt x="56" y="144"/>
                      </a:moveTo>
                      <a:lnTo>
                        <a:pt x="32" y="112"/>
                      </a:lnTo>
                      <a:lnTo>
                        <a:pt x="16" y="96"/>
                      </a:lnTo>
                      <a:lnTo>
                        <a:pt x="0" y="72"/>
                      </a:lnTo>
                      <a:lnTo>
                        <a:pt x="16" y="48"/>
                      </a:lnTo>
                      <a:lnTo>
                        <a:pt x="8" y="32"/>
                      </a:lnTo>
                      <a:lnTo>
                        <a:pt x="16" y="24"/>
                      </a:lnTo>
                      <a:lnTo>
                        <a:pt x="48" y="24"/>
                      </a:lnTo>
                      <a:lnTo>
                        <a:pt x="48" y="0"/>
                      </a:lnTo>
                      <a:lnTo>
                        <a:pt x="80" y="0"/>
                      </a:lnTo>
                      <a:lnTo>
                        <a:pt x="72" y="16"/>
                      </a:lnTo>
                      <a:lnTo>
                        <a:pt x="96" y="32"/>
                      </a:lnTo>
                      <a:lnTo>
                        <a:pt x="112" y="24"/>
                      </a:lnTo>
                      <a:lnTo>
                        <a:pt x="112" y="40"/>
                      </a:lnTo>
                      <a:lnTo>
                        <a:pt x="104" y="48"/>
                      </a:lnTo>
                      <a:lnTo>
                        <a:pt x="96" y="64"/>
                      </a:lnTo>
                      <a:lnTo>
                        <a:pt x="104" y="72"/>
                      </a:lnTo>
                      <a:lnTo>
                        <a:pt x="112" y="72"/>
                      </a:lnTo>
                      <a:lnTo>
                        <a:pt x="104" y="112"/>
                      </a:lnTo>
                      <a:lnTo>
                        <a:pt x="88" y="96"/>
                      </a:lnTo>
                      <a:lnTo>
                        <a:pt x="80" y="88"/>
                      </a:lnTo>
                      <a:lnTo>
                        <a:pt x="64" y="80"/>
                      </a:lnTo>
                      <a:lnTo>
                        <a:pt x="64" y="96"/>
                      </a:lnTo>
                      <a:lnTo>
                        <a:pt x="56" y="104"/>
                      </a:lnTo>
                      <a:lnTo>
                        <a:pt x="48" y="104"/>
                      </a:lnTo>
                      <a:lnTo>
                        <a:pt x="56" y="112"/>
                      </a:lnTo>
                      <a:lnTo>
                        <a:pt x="72" y="128"/>
                      </a:lnTo>
                      <a:lnTo>
                        <a:pt x="56" y="14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80" name="Freeform 327">
                  <a:extLst>
                    <a:ext uri="{FF2B5EF4-FFF2-40B4-BE49-F238E27FC236}">
                      <a16:creationId xmlns:a16="http://schemas.microsoft.com/office/drawing/2014/main" id="{75CA5D13-B5B8-EE73-0315-88DCC6640582}"/>
                    </a:ext>
                  </a:extLst>
                </p:cNvPr>
                <p:cNvSpPr/>
                <p:nvPr/>
              </p:nvSpPr>
              <p:spPr bwMode="gray">
                <a:xfrm>
                  <a:off x="2930" y="2976"/>
                  <a:ext cx="180" cy="175"/>
                </a:xfrm>
                <a:custGeom>
                  <a:avLst/>
                  <a:gdLst>
                    <a:gd name="T0" fmla="*/ 0 w 256"/>
                    <a:gd name="T1" fmla="*/ 84 h 248"/>
                    <a:gd name="T2" fmla="*/ 0 w 256"/>
                    <a:gd name="T3" fmla="*/ 78 h 248"/>
                    <a:gd name="T4" fmla="*/ 3 w 256"/>
                    <a:gd name="T5" fmla="*/ 70 h 248"/>
                    <a:gd name="T6" fmla="*/ 8 w 256"/>
                    <a:gd name="T7" fmla="*/ 54 h 248"/>
                    <a:gd name="T8" fmla="*/ 11 w 256"/>
                    <a:gd name="T9" fmla="*/ 51 h 248"/>
                    <a:gd name="T10" fmla="*/ 17 w 256"/>
                    <a:gd name="T11" fmla="*/ 42 h 248"/>
                    <a:gd name="T12" fmla="*/ 14 w 256"/>
                    <a:gd name="T13" fmla="*/ 34 h 248"/>
                    <a:gd name="T14" fmla="*/ 11 w 256"/>
                    <a:gd name="T15" fmla="*/ 28 h 248"/>
                    <a:gd name="T16" fmla="*/ 11 w 256"/>
                    <a:gd name="T17" fmla="*/ 17 h 248"/>
                    <a:gd name="T18" fmla="*/ 8 w 256"/>
                    <a:gd name="T19" fmla="*/ 11 h 248"/>
                    <a:gd name="T20" fmla="*/ 6 w 256"/>
                    <a:gd name="T21" fmla="*/ 6 h 248"/>
                    <a:gd name="T22" fmla="*/ 8 w 256"/>
                    <a:gd name="T23" fmla="*/ 3 h 248"/>
                    <a:gd name="T24" fmla="*/ 36 w 256"/>
                    <a:gd name="T25" fmla="*/ 0 h 248"/>
                    <a:gd name="T26" fmla="*/ 39 w 256"/>
                    <a:gd name="T27" fmla="*/ 8 h 248"/>
                    <a:gd name="T28" fmla="*/ 44 w 256"/>
                    <a:gd name="T29" fmla="*/ 14 h 248"/>
                    <a:gd name="T30" fmla="*/ 56 w 256"/>
                    <a:gd name="T31" fmla="*/ 14 h 248"/>
                    <a:gd name="T32" fmla="*/ 56 w 256"/>
                    <a:gd name="T33" fmla="*/ 8 h 248"/>
                    <a:gd name="T34" fmla="*/ 61 w 256"/>
                    <a:gd name="T35" fmla="*/ 8 h 248"/>
                    <a:gd name="T36" fmla="*/ 67 w 256"/>
                    <a:gd name="T37" fmla="*/ 11 h 248"/>
                    <a:gd name="T38" fmla="*/ 72 w 256"/>
                    <a:gd name="T39" fmla="*/ 11 h 248"/>
                    <a:gd name="T40" fmla="*/ 75 w 256"/>
                    <a:gd name="T41" fmla="*/ 31 h 248"/>
                    <a:gd name="T42" fmla="*/ 78 w 256"/>
                    <a:gd name="T43" fmla="*/ 37 h 248"/>
                    <a:gd name="T44" fmla="*/ 89 w 256"/>
                    <a:gd name="T45" fmla="*/ 37 h 248"/>
                    <a:gd name="T46" fmla="*/ 89 w 256"/>
                    <a:gd name="T47" fmla="*/ 40 h 248"/>
                    <a:gd name="T48" fmla="*/ 86 w 256"/>
                    <a:gd name="T49" fmla="*/ 51 h 248"/>
                    <a:gd name="T50" fmla="*/ 75 w 256"/>
                    <a:gd name="T51" fmla="*/ 51 h 248"/>
                    <a:gd name="T52" fmla="*/ 75 w 256"/>
                    <a:gd name="T53" fmla="*/ 78 h 248"/>
                    <a:gd name="T54" fmla="*/ 81 w 256"/>
                    <a:gd name="T55" fmla="*/ 82 h 248"/>
                    <a:gd name="T56" fmla="*/ 75 w 256"/>
                    <a:gd name="T57" fmla="*/ 87 h 248"/>
                    <a:gd name="T58" fmla="*/ 67 w 256"/>
                    <a:gd name="T59" fmla="*/ 87 h 248"/>
                    <a:gd name="T60" fmla="*/ 58 w 256"/>
                    <a:gd name="T61" fmla="*/ 87 h 248"/>
                    <a:gd name="T62" fmla="*/ 53 w 256"/>
                    <a:gd name="T63" fmla="*/ 87 h 248"/>
                    <a:gd name="T64" fmla="*/ 44 w 256"/>
                    <a:gd name="T65" fmla="*/ 82 h 248"/>
                    <a:gd name="T66" fmla="*/ 25 w 256"/>
                    <a:gd name="T67" fmla="*/ 82 h 248"/>
                    <a:gd name="T68" fmla="*/ 17 w 256"/>
                    <a:gd name="T69" fmla="*/ 84 h 248"/>
                    <a:gd name="T70" fmla="*/ 14 w 256"/>
                    <a:gd name="T71" fmla="*/ 82 h 248"/>
                    <a:gd name="T72" fmla="*/ 6 w 256"/>
                    <a:gd name="T73" fmla="*/ 82 h 248"/>
                    <a:gd name="T74" fmla="*/ 0 w 256"/>
                    <a:gd name="T75" fmla="*/ 84 h 248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56"/>
                    <a:gd name="T115" fmla="*/ 0 h 248"/>
                    <a:gd name="T116" fmla="*/ 256 w 256"/>
                    <a:gd name="T117" fmla="*/ 248 h 248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56" h="248">
                      <a:moveTo>
                        <a:pt x="0" y="240"/>
                      </a:moveTo>
                      <a:lnTo>
                        <a:pt x="0" y="224"/>
                      </a:lnTo>
                      <a:lnTo>
                        <a:pt x="8" y="200"/>
                      </a:lnTo>
                      <a:lnTo>
                        <a:pt x="24" y="152"/>
                      </a:lnTo>
                      <a:lnTo>
                        <a:pt x="32" y="144"/>
                      </a:lnTo>
                      <a:lnTo>
                        <a:pt x="48" y="120"/>
                      </a:lnTo>
                      <a:lnTo>
                        <a:pt x="40" y="96"/>
                      </a:lnTo>
                      <a:lnTo>
                        <a:pt x="32" y="80"/>
                      </a:lnTo>
                      <a:lnTo>
                        <a:pt x="32" y="48"/>
                      </a:lnTo>
                      <a:lnTo>
                        <a:pt x="24" y="32"/>
                      </a:lnTo>
                      <a:lnTo>
                        <a:pt x="16" y="16"/>
                      </a:lnTo>
                      <a:lnTo>
                        <a:pt x="24" y="8"/>
                      </a:lnTo>
                      <a:lnTo>
                        <a:pt x="104" y="0"/>
                      </a:lnTo>
                      <a:lnTo>
                        <a:pt x="112" y="24"/>
                      </a:lnTo>
                      <a:lnTo>
                        <a:pt x="128" y="40"/>
                      </a:lnTo>
                      <a:lnTo>
                        <a:pt x="160" y="40"/>
                      </a:lnTo>
                      <a:lnTo>
                        <a:pt x="160" y="24"/>
                      </a:lnTo>
                      <a:lnTo>
                        <a:pt x="176" y="24"/>
                      </a:lnTo>
                      <a:lnTo>
                        <a:pt x="192" y="32"/>
                      </a:lnTo>
                      <a:lnTo>
                        <a:pt x="208" y="32"/>
                      </a:lnTo>
                      <a:lnTo>
                        <a:pt x="216" y="88"/>
                      </a:lnTo>
                      <a:lnTo>
                        <a:pt x="224" y="104"/>
                      </a:lnTo>
                      <a:lnTo>
                        <a:pt x="256" y="104"/>
                      </a:lnTo>
                      <a:lnTo>
                        <a:pt x="256" y="112"/>
                      </a:lnTo>
                      <a:lnTo>
                        <a:pt x="248" y="144"/>
                      </a:lnTo>
                      <a:lnTo>
                        <a:pt x="216" y="144"/>
                      </a:lnTo>
                      <a:lnTo>
                        <a:pt x="216" y="224"/>
                      </a:lnTo>
                      <a:lnTo>
                        <a:pt x="232" y="232"/>
                      </a:lnTo>
                      <a:lnTo>
                        <a:pt x="216" y="248"/>
                      </a:lnTo>
                      <a:lnTo>
                        <a:pt x="192" y="248"/>
                      </a:lnTo>
                      <a:lnTo>
                        <a:pt x="168" y="248"/>
                      </a:lnTo>
                      <a:lnTo>
                        <a:pt x="152" y="248"/>
                      </a:lnTo>
                      <a:lnTo>
                        <a:pt x="128" y="232"/>
                      </a:lnTo>
                      <a:lnTo>
                        <a:pt x="72" y="232"/>
                      </a:lnTo>
                      <a:lnTo>
                        <a:pt x="48" y="240"/>
                      </a:lnTo>
                      <a:lnTo>
                        <a:pt x="40" y="232"/>
                      </a:lnTo>
                      <a:lnTo>
                        <a:pt x="16" y="232"/>
                      </a:lnTo>
                      <a:lnTo>
                        <a:pt x="0" y="24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81" name="Freeform 328">
                  <a:extLst>
                    <a:ext uri="{FF2B5EF4-FFF2-40B4-BE49-F238E27FC236}">
                      <a16:creationId xmlns:a16="http://schemas.microsoft.com/office/drawing/2014/main" id="{F3DAA6C3-5F81-A1DF-073E-2EA94C9AA3E9}"/>
                    </a:ext>
                  </a:extLst>
                </p:cNvPr>
                <p:cNvSpPr/>
                <p:nvPr/>
              </p:nvSpPr>
              <p:spPr bwMode="gray">
                <a:xfrm>
                  <a:off x="2935" y="2813"/>
                  <a:ext cx="265" cy="276"/>
                </a:xfrm>
                <a:custGeom>
                  <a:avLst/>
                  <a:gdLst>
                    <a:gd name="T0" fmla="*/ 126 w 376"/>
                    <a:gd name="T1" fmla="*/ 101 h 392"/>
                    <a:gd name="T2" fmla="*/ 118 w 376"/>
                    <a:gd name="T3" fmla="*/ 103 h 392"/>
                    <a:gd name="T4" fmla="*/ 118 w 376"/>
                    <a:gd name="T5" fmla="*/ 125 h 392"/>
                    <a:gd name="T6" fmla="*/ 123 w 376"/>
                    <a:gd name="T7" fmla="*/ 123 h 392"/>
                    <a:gd name="T8" fmla="*/ 126 w 376"/>
                    <a:gd name="T9" fmla="*/ 134 h 392"/>
                    <a:gd name="T10" fmla="*/ 106 w 376"/>
                    <a:gd name="T11" fmla="*/ 120 h 392"/>
                    <a:gd name="T12" fmla="*/ 101 w 376"/>
                    <a:gd name="T13" fmla="*/ 123 h 392"/>
                    <a:gd name="T14" fmla="*/ 95 w 376"/>
                    <a:gd name="T15" fmla="*/ 120 h 392"/>
                    <a:gd name="T16" fmla="*/ 92 w 376"/>
                    <a:gd name="T17" fmla="*/ 120 h 392"/>
                    <a:gd name="T18" fmla="*/ 87 w 376"/>
                    <a:gd name="T19" fmla="*/ 120 h 392"/>
                    <a:gd name="T20" fmla="*/ 75 w 376"/>
                    <a:gd name="T21" fmla="*/ 118 h 392"/>
                    <a:gd name="T22" fmla="*/ 70 w 376"/>
                    <a:gd name="T23" fmla="*/ 92 h 392"/>
                    <a:gd name="T24" fmla="*/ 58 w 376"/>
                    <a:gd name="T25" fmla="*/ 89 h 392"/>
                    <a:gd name="T26" fmla="*/ 53 w 376"/>
                    <a:gd name="T27" fmla="*/ 95 h 392"/>
                    <a:gd name="T28" fmla="*/ 36 w 376"/>
                    <a:gd name="T29" fmla="*/ 89 h 392"/>
                    <a:gd name="T30" fmla="*/ 6 w 376"/>
                    <a:gd name="T31" fmla="*/ 84 h 392"/>
                    <a:gd name="T32" fmla="*/ 6 w 376"/>
                    <a:gd name="T33" fmla="*/ 78 h 392"/>
                    <a:gd name="T34" fmla="*/ 11 w 376"/>
                    <a:gd name="T35" fmla="*/ 73 h 392"/>
                    <a:gd name="T36" fmla="*/ 14 w 376"/>
                    <a:gd name="T37" fmla="*/ 75 h 392"/>
                    <a:gd name="T38" fmla="*/ 31 w 376"/>
                    <a:gd name="T39" fmla="*/ 50 h 392"/>
                    <a:gd name="T40" fmla="*/ 39 w 376"/>
                    <a:gd name="T41" fmla="*/ 39 h 392"/>
                    <a:gd name="T42" fmla="*/ 44 w 376"/>
                    <a:gd name="T43" fmla="*/ 19 h 392"/>
                    <a:gd name="T44" fmla="*/ 44 w 376"/>
                    <a:gd name="T45" fmla="*/ 6 h 392"/>
                    <a:gd name="T46" fmla="*/ 61 w 376"/>
                    <a:gd name="T47" fmla="*/ 8 h 392"/>
                    <a:gd name="T48" fmla="*/ 78 w 376"/>
                    <a:gd name="T49" fmla="*/ 8 h 392"/>
                    <a:gd name="T50" fmla="*/ 109 w 376"/>
                    <a:gd name="T51" fmla="*/ 3 h 392"/>
                    <a:gd name="T52" fmla="*/ 115 w 376"/>
                    <a:gd name="T53" fmla="*/ 6 h 392"/>
                    <a:gd name="T54" fmla="*/ 121 w 376"/>
                    <a:gd name="T55" fmla="*/ 6 h 392"/>
                    <a:gd name="T56" fmla="*/ 132 w 376"/>
                    <a:gd name="T57" fmla="*/ 11 h 392"/>
                    <a:gd name="T58" fmla="*/ 132 w 376"/>
                    <a:gd name="T59" fmla="*/ 25 h 392"/>
                    <a:gd name="T60" fmla="*/ 121 w 376"/>
                    <a:gd name="T61" fmla="*/ 48 h 392"/>
                    <a:gd name="T62" fmla="*/ 123 w 376"/>
                    <a:gd name="T63" fmla="*/ 61 h 392"/>
                    <a:gd name="T64" fmla="*/ 126 w 376"/>
                    <a:gd name="T65" fmla="*/ 70 h 392"/>
                    <a:gd name="T66" fmla="*/ 123 w 376"/>
                    <a:gd name="T67" fmla="*/ 81 h 392"/>
                    <a:gd name="T68" fmla="*/ 132 w 376"/>
                    <a:gd name="T69" fmla="*/ 98 h 392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376"/>
                    <a:gd name="T106" fmla="*/ 0 h 392"/>
                    <a:gd name="T107" fmla="*/ 376 w 376"/>
                    <a:gd name="T108" fmla="*/ 392 h 392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376" h="392">
                      <a:moveTo>
                        <a:pt x="376" y="280"/>
                      </a:moveTo>
                      <a:lnTo>
                        <a:pt x="360" y="288"/>
                      </a:lnTo>
                      <a:lnTo>
                        <a:pt x="344" y="288"/>
                      </a:lnTo>
                      <a:lnTo>
                        <a:pt x="336" y="296"/>
                      </a:lnTo>
                      <a:lnTo>
                        <a:pt x="328" y="344"/>
                      </a:lnTo>
                      <a:lnTo>
                        <a:pt x="336" y="360"/>
                      </a:lnTo>
                      <a:lnTo>
                        <a:pt x="344" y="360"/>
                      </a:lnTo>
                      <a:lnTo>
                        <a:pt x="352" y="352"/>
                      </a:lnTo>
                      <a:lnTo>
                        <a:pt x="360" y="360"/>
                      </a:lnTo>
                      <a:lnTo>
                        <a:pt x="360" y="384"/>
                      </a:lnTo>
                      <a:lnTo>
                        <a:pt x="352" y="392"/>
                      </a:lnTo>
                      <a:lnTo>
                        <a:pt x="304" y="344"/>
                      </a:lnTo>
                      <a:lnTo>
                        <a:pt x="296" y="344"/>
                      </a:lnTo>
                      <a:lnTo>
                        <a:pt x="288" y="352"/>
                      </a:lnTo>
                      <a:lnTo>
                        <a:pt x="280" y="352"/>
                      </a:lnTo>
                      <a:lnTo>
                        <a:pt x="272" y="344"/>
                      </a:lnTo>
                      <a:lnTo>
                        <a:pt x="264" y="336"/>
                      </a:lnTo>
                      <a:lnTo>
                        <a:pt x="264" y="344"/>
                      </a:lnTo>
                      <a:lnTo>
                        <a:pt x="256" y="344"/>
                      </a:lnTo>
                      <a:lnTo>
                        <a:pt x="248" y="344"/>
                      </a:lnTo>
                      <a:lnTo>
                        <a:pt x="248" y="336"/>
                      </a:lnTo>
                      <a:lnTo>
                        <a:pt x="216" y="336"/>
                      </a:lnTo>
                      <a:lnTo>
                        <a:pt x="208" y="320"/>
                      </a:lnTo>
                      <a:lnTo>
                        <a:pt x="200" y="264"/>
                      </a:lnTo>
                      <a:lnTo>
                        <a:pt x="184" y="264"/>
                      </a:lnTo>
                      <a:lnTo>
                        <a:pt x="168" y="256"/>
                      </a:lnTo>
                      <a:lnTo>
                        <a:pt x="152" y="256"/>
                      </a:lnTo>
                      <a:lnTo>
                        <a:pt x="152" y="272"/>
                      </a:lnTo>
                      <a:lnTo>
                        <a:pt x="120" y="272"/>
                      </a:lnTo>
                      <a:lnTo>
                        <a:pt x="104" y="256"/>
                      </a:lnTo>
                      <a:lnTo>
                        <a:pt x="96" y="232"/>
                      </a:lnTo>
                      <a:lnTo>
                        <a:pt x="16" y="240"/>
                      </a:lnTo>
                      <a:lnTo>
                        <a:pt x="0" y="232"/>
                      </a:lnTo>
                      <a:lnTo>
                        <a:pt x="16" y="224"/>
                      </a:lnTo>
                      <a:lnTo>
                        <a:pt x="24" y="216"/>
                      </a:lnTo>
                      <a:lnTo>
                        <a:pt x="32" y="208"/>
                      </a:lnTo>
                      <a:lnTo>
                        <a:pt x="40" y="208"/>
                      </a:lnTo>
                      <a:lnTo>
                        <a:pt x="40" y="216"/>
                      </a:lnTo>
                      <a:lnTo>
                        <a:pt x="72" y="200"/>
                      </a:lnTo>
                      <a:lnTo>
                        <a:pt x="88" y="144"/>
                      </a:lnTo>
                      <a:lnTo>
                        <a:pt x="104" y="136"/>
                      </a:lnTo>
                      <a:lnTo>
                        <a:pt x="112" y="112"/>
                      </a:lnTo>
                      <a:lnTo>
                        <a:pt x="120" y="72"/>
                      </a:lnTo>
                      <a:lnTo>
                        <a:pt x="128" y="56"/>
                      </a:lnTo>
                      <a:lnTo>
                        <a:pt x="128" y="32"/>
                      </a:lnTo>
                      <a:lnTo>
                        <a:pt x="128" y="16"/>
                      </a:lnTo>
                      <a:lnTo>
                        <a:pt x="160" y="8"/>
                      </a:lnTo>
                      <a:lnTo>
                        <a:pt x="176" y="24"/>
                      </a:lnTo>
                      <a:lnTo>
                        <a:pt x="208" y="32"/>
                      </a:lnTo>
                      <a:lnTo>
                        <a:pt x="224" y="24"/>
                      </a:lnTo>
                      <a:lnTo>
                        <a:pt x="280" y="0"/>
                      </a:lnTo>
                      <a:lnTo>
                        <a:pt x="312" y="8"/>
                      </a:lnTo>
                      <a:lnTo>
                        <a:pt x="320" y="16"/>
                      </a:lnTo>
                      <a:lnTo>
                        <a:pt x="328" y="16"/>
                      </a:lnTo>
                      <a:lnTo>
                        <a:pt x="336" y="16"/>
                      </a:lnTo>
                      <a:lnTo>
                        <a:pt x="344" y="16"/>
                      </a:lnTo>
                      <a:lnTo>
                        <a:pt x="360" y="16"/>
                      </a:lnTo>
                      <a:lnTo>
                        <a:pt x="376" y="32"/>
                      </a:lnTo>
                      <a:lnTo>
                        <a:pt x="376" y="56"/>
                      </a:lnTo>
                      <a:lnTo>
                        <a:pt x="376" y="72"/>
                      </a:lnTo>
                      <a:lnTo>
                        <a:pt x="352" y="112"/>
                      </a:lnTo>
                      <a:lnTo>
                        <a:pt x="344" y="136"/>
                      </a:lnTo>
                      <a:lnTo>
                        <a:pt x="344" y="160"/>
                      </a:lnTo>
                      <a:lnTo>
                        <a:pt x="352" y="176"/>
                      </a:lnTo>
                      <a:lnTo>
                        <a:pt x="352" y="184"/>
                      </a:lnTo>
                      <a:lnTo>
                        <a:pt x="360" y="200"/>
                      </a:lnTo>
                      <a:lnTo>
                        <a:pt x="352" y="208"/>
                      </a:lnTo>
                      <a:lnTo>
                        <a:pt x="352" y="232"/>
                      </a:lnTo>
                      <a:lnTo>
                        <a:pt x="376" y="264"/>
                      </a:lnTo>
                      <a:lnTo>
                        <a:pt x="376" y="28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82" name="Freeform 329">
                  <a:extLst>
                    <a:ext uri="{FF2B5EF4-FFF2-40B4-BE49-F238E27FC236}">
                      <a16:creationId xmlns:a16="http://schemas.microsoft.com/office/drawing/2014/main" id="{37617770-ABE8-4F4F-0BCE-142FBBC8634D}"/>
                    </a:ext>
                  </a:extLst>
                </p:cNvPr>
                <p:cNvSpPr/>
                <p:nvPr/>
              </p:nvSpPr>
              <p:spPr bwMode="gray">
                <a:xfrm>
                  <a:off x="2924" y="2836"/>
                  <a:ext cx="101" cy="129"/>
                </a:xfrm>
                <a:custGeom>
                  <a:avLst/>
                  <a:gdLst>
                    <a:gd name="T0" fmla="*/ 14 w 144"/>
                    <a:gd name="T1" fmla="*/ 63 h 184"/>
                    <a:gd name="T2" fmla="*/ 17 w 144"/>
                    <a:gd name="T3" fmla="*/ 60 h 184"/>
                    <a:gd name="T4" fmla="*/ 19 w 144"/>
                    <a:gd name="T5" fmla="*/ 60 h 184"/>
                    <a:gd name="T6" fmla="*/ 19 w 144"/>
                    <a:gd name="T7" fmla="*/ 63 h 184"/>
                    <a:gd name="T8" fmla="*/ 30 w 144"/>
                    <a:gd name="T9" fmla="*/ 58 h 184"/>
                    <a:gd name="T10" fmla="*/ 36 w 144"/>
                    <a:gd name="T11" fmla="*/ 39 h 184"/>
                    <a:gd name="T12" fmla="*/ 41 w 144"/>
                    <a:gd name="T13" fmla="*/ 36 h 184"/>
                    <a:gd name="T14" fmla="*/ 44 w 144"/>
                    <a:gd name="T15" fmla="*/ 27 h 184"/>
                    <a:gd name="T16" fmla="*/ 47 w 144"/>
                    <a:gd name="T17" fmla="*/ 14 h 184"/>
                    <a:gd name="T18" fmla="*/ 50 w 144"/>
                    <a:gd name="T19" fmla="*/ 8 h 184"/>
                    <a:gd name="T20" fmla="*/ 50 w 144"/>
                    <a:gd name="T21" fmla="*/ 0 h 184"/>
                    <a:gd name="T22" fmla="*/ 44 w 144"/>
                    <a:gd name="T23" fmla="*/ 3 h 184"/>
                    <a:gd name="T24" fmla="*/ 39 w 144"/>
                    <a:gd name="T25" fmla="*/ 0 h 184"/>
                    <a:gd name="T26" fmla="*/ 33 w 144"/>
                    <a:gd name="T27" fmla="*/ 3 h 184"/>
                    <a:gd name="T28" fmla="*/ 30 w 144"/>
                    <a:gd name="T29" fmla="*/ 8 h 184"/>
                    <a:gd name="T30" fmla="*/ 25 w 144"/>
                    <a:gd name="T31" fmla="*/ 14 h 184"/>
                    <a:gd name="T32" fmla="*/ 22 w 144"/>
                    <a:gd name="T33" fmla="*/ 11 h 184"/>
                    <a:gd name="T34" fmla="*/ 11 w 144"/>
                    <a:gd name="T35" fmla="*/ 11 h 184"/>
                    <a:gd name="T36" fmla="*/ 8 w 144"/>
                    <a:gd name="T37" fmla="*/ 17 h 184"/>
                    <a:gd name="T38" fmla="*/ 17 w 144"/>
                    <a:gd name="T39" fmla="*/ 22 h 184"/>
                    <a:gd name="T40" fmla="*/ 22 w 144"/>
                    <a:gd name="T41" fmla="*/ 19 h 184"/>
                    <a:gd name="T42" fmla="*/ 22 w 144"/>
                    <a:gd name="T43" fmla="*/ 25 h 184"/>
                    <a:gd name="T44" fmla="*/ 19 w 144"/>
                    <a:gd name="T45" fmla="*/ 27 h 184"/>
                    <a:gd name="T46" fmla="*/ 17 w 144"/>
                    <a:gd name="T47" fmla="*/ 33 h 184"/>
                    <a:gd name="T48" fmla="*/ 19 w 144"/>
                    <a:gd name="T49" fmla="*/ 36 h 184"/>
                    <a:gd name="T50" fmla="*/ 22 w 144"/>
                    <a:gd name="T51" fmla="*/ 36 h 184"/>
                    <a:gd name="T52" fmla="*/ 19 w 144"/>
                    <a:gd name="T53" fmla="*/ 50 h 184"/>
                    <a:gd name="T54" fmla="*/ 14 w 144"/>
                    <a:gd name="T55" fmla="*/ 44 h 184"/>
                    <a:gd name="T56" fmla="*/ 11 w 144"/>
                    <a:gd name="T57" fmla="*/ 41 h 184"/>
                    <a:gd name="T58" fmla="*/ 6 w 144"/>
                    <a:gd name="T59" fmla="*/ 39 h 184"/>
                    <a:gd name="T60" fmla="*/ 6 w 144"/>
                    <a:gd name="T61" fmla="*/ 44 h 184"/>
                    <a:gd name="T62" fmla="*/ 3 w 144"/>
                    <a:gd name="T63" fmla="*/ 47 h 184"/>
                    <a:gd name="T64" fmla="*/ 0 w 144"/>
                    <a:gd name="T65" fmla="*/ 47 h 184"/>
                    <a:gd name="T66" fmla="*/ 3 w 144"/>
                    <a:gd name="T67" fmla="*/ 50 h 184"/>
                    <a:gd name="T68" fmla="*/ 8 w 144"/>
                    <a:gd name="T69" fmla="*/ 55 h 184"/>
                    <a:gd name="T70" fmla="*/ 3 w 144"/>
                    <a:gd name="T71" fmla="*/ 60 h 184"/>
                    <a:gd name="T72" fmla="*/ 3 w 144"/>
                    <a:gd name="T73" fmla="*/ 63 h 184"/>
                    <a:gd name="T74" fmla="*/ 11 w 144"/>
                    <a:gd name="T75" fmla="*/ 60 h 184"/>
                    <a:gd name="T76" fmla="*/ 14 w 144"/>
                    <a:gd name="T77" fmla="*/ 60 h 184"/>
                    <a:gd name="T78" fmla="*/ 14 w 144"/>
                    <a:gd name="T79" fmla="*/ 63 h 18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144"/>
                    <a:gd name="T121" fmla="*/ 0 h 184"/>
                    <a:gd name="T122" fmla="*/ 144 w 144"/>
                    <a:gd name="T123" fmla="*/ 184 h 18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144" h="184">
                      <a:moveTo>
                        <a:pt x="40" y="184"/>
                      </a:moveTo>
                      <a:lnTo>
                        <a:pt x="48" y="176"/>
                      </a:lnTo>
                      <a:lnTo>
                        <a:pt x="56" y="176"/>
                      </a:lnTo>
                      <a:lnTo>
                        <a:pt x="56" y="184"/>
                      </a:lnTo>
                      <a:lnTo>
                        <a:pt x="88" y="168"/>
                      </a:lnTo>
                      <a:lnTo>
                        <a:pt x="104" y="112"/>
                      </a:lnTo>
                      <a:lnTo>
                        <a:pt x="120" y="104"/>
                      </a:lnTo>
                      <a:lnTo>
                        <a:pt x="128" y="80"/>
                      </a:lnTo>
                      <a:lnTo>
                        <a:pt x="136" y="40"/>
                      </a:lnTo>
                      <a:lnTo>
                        <a:pt x="144" y="24"/>
                      </a:lnTo>
                      <a:lnTo>
                        <a:pt x="144" y="0"/>
                      </a:lnTo>
                      <a:lnTo>
                        <a:pt x="128" y="8"/>
                      </a:lnTo>
                      <a:lnTo>
                        <a:pt x="112" y="0"/>
                      </a:lnTo>
                      <a:lnTo>
                        <a:pt x="96" y="8"/>
                      </a:lnTo>
                      <a:lnTo>
                        <a:pt x="88" y="24"/>
                      </a:lnTo>
                      <a:lnTo>
                        <a:pt x="72" y="40"/>
                      </a:lnTo>
                      <a:lnTo>
                        <a:pt x="64" y="32"/>
                      </a:lnTo>
                      <a:lnTo>
                        <a:pt x="32" y="32"/>
                      </a:lnTo>
                      <a:lnTo>
                        <a:pt x="24" y="48"/>
                      </a:lnTo>
                      <a:lnTo>
                        <a:pt x="48" y="64"/>
                      </a:lnTo>
                      <a:lnTo>
                        <a:pt x="64" y="56"/>
                      </a:lnTo>
                      <a:lnTo>
                        <a:pt x="64" y="72"/>
                      </a:lnTo>
                      <a:lnTo>
                        <a:pt x="56" y="80"/>
                      </a:lnTo>
                      <a:lnTo>
                        <a:pt x="48" y="96"/>
                      </a:lnTo>
                      <a:lnTo>
                        <a:pt x="56" y="104"/>
                      </a:lnTo>
                      <a:lnTo>
                        <a:pt x="64" y="104"/>
                      </a:lnTo>
                      <a:lnTo>
                        <a:pt x="56" y="144"/>
                      </a:lnTo>
                      <a:lnTo>
                        <a:pt x="40" y="128"/>
                      </a:lnTo>
                      <a:lnTo>
                        <a:pt x="32" y="120"/>
                      </a:lnTo>
                      <a:lnTo>
                        <a:pt x="16" y="112"/>
                      </a:lnTo>
                      <a:lnTo>
                        <a:pt x="16" y="128"/>
                      </a:lnTo>
                      <a:lnTo>
                        <a:pt x="8" y="136"/>
                      </a:lnTo>
                      <a:lnTo>
                        <a:pt x="0" y="136"/>
                      </a:lnTo>
                      <a:lnTo>
                        <a:pt x="8" y="144"/>
                      </a:lnTo>
                      <a:lnTo>
                        <a:pt x="24" y="160"/>
                      </a:lnTo>
                      <a:lnTo>
                        <a:pt x="8" y="176"/>
                      </a:lnTo>
                      <a:lnTo>
                        <a:pt x="8" y="184"/>
                      </a:lnTo>
                      <a:lnTo>
                        <a:pt x="32" y="176"/>
                      </a:lnTo>
                      <a:lnTo>
                        <a:pt x="40" y="176"/>
                      </a:lnTo>
                      <a:lnTo>
                        <a:pt x="40" y="18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83" name="Freeform 330">
                  <a:extLst>
                    <a:ext uri="{FF2B5EF4-FFF2-40B4-BE49-F238E27FC236}">
                      <a16:creationId xmlns:a16="http://schemas.microsoft.com/office/drawing/2014/main" id="{86101BB3-86AB-C76D-F9F9-75C2B3875209}"/>
                    </a:ext>
                  </a:extLst>
                </p:cNvPr>
                <p:cNvSpPr/>
                <p:nvPr/>
              </p:nvSpPr>
              <p:spPr bwMode="gray">
                <a:xfrm>
                  <a:off x="3183" y="2903"/>
                  <a:ext cx="157" cy="158"/>
                </a:xfrm>
                <a:custGeom>
                  <a:avLst/>
                  <a:gdLst>
                    <a:gd name="T0" fmla="*/ 69 w 224"/>
                    <a:gd name="T1" fmla="*/ 25 h 224"/>
                    <a:gd name="T2" fmla="*/ 55 w 224"/>
                    <a:gd name="T3" fmla="*/ 20 h 224"/>
                    <a:gd name="T4" fmla="*/ 55 w 224"/>
                    <a:gd name="T5" fmla="*/ 14 h 224"/>
                    <a:gd name="T6" fmla="*/ 55 w 224"/>
                    <a:gd name="T7" fmla="*/ 11 h 224"/>
                    <a:gd name="T8" fmla="*/ 41 w 224"/>
                    <a:gd name="T9" fmla="*/ 6 h 224"/>
                    <a:gd name="T10" fmla="*/ 30 w 224"/>
                    <a:gd name="T11" fmla="*/ 0 h 224"/>
                    <a:gd name="T12" fmla="*/ 11 w 224"/>
                    <a:gd name="T13" fmla="*/ 0 h 224"/>
                    <a:gd name="T14" fmla="*/ 8 w 224"/>
                    <a:gd name="T15" fmla="*/ 0 h 224"/>
                    <a:gd name="T16" fmla="*/ 11 w 224"/>
                    <a:gd name="T17" fmla="*/ 3 h 224"/>
                    <a:gd name="T18" fmla="*/ 8 w 224"/>
                    <a:gd name="T19" fmla="*/ 6 h 224"/>
                    <a:gd name="T20" fmla="*/ 6 w 224"/>
                    <a:gd name="T21" fmla="*/ 8 h 224"/>
                    <a:gd name="T22" fmla="*/ 6 w 224"/>
                    <a:gd name="T23" fmla="*/ 11 h 224"/>
                    <a:gd name="T24" fmla="*/ 8 w 224"/>
                    <a:gd name="T25" fmla="*/ 14 h 224"/>
                    <a:gd name="T26" fmla="*/ 8 w 224"/>
                    <a:gd name="T27" fmla="*/ 17 h 224"/>
                    <a:gd name="T28" fmla="*/ 6 w 224"/>
                    <a:gd name="T29" fmla="*/ 20 h 224"/>
                    <a:gd name="T30" fmla="*/ 6 w 224"/>
                    <a:gd name="T31" fmla="*/ 23 h 224"/>
                    <a:gd name="T32" fmla="*/ 3 w 224"/>
                    <a:gd name="T33" fmla="*/ 25 h 224"/>
                    <a:gd name="T34" fmla="*/ 0 w 224"/>
                    <a:gd name="T35" fmla="*/ 28 h 224"/>
                    <a:gd name="T36" fmla="*/ 0 w 224"/>
                    <a:gd name="T37" fmla="*/ 36 h 224"/>
                    <a:gd name="T38" fmla="*/ 8 w 224"/>
                    <a:gd name="T39" fmla="*/ 48 h 224"/>
                    <a:gd name="T40" fmla="*/ 8 w 224"/>
                    <a:gd name="T41" fmla="*/ 53 h 224"/>
                    <a:gd name="T42" fmla="*/ 14 w 224"/>
                    <a:gd name="T43" fmla="*/ 59 h 224"/>
                    <a:gd name="T44" fmla="*/ 22 w 224"/>
                    <a:gd name="T45" fmla="*/ 61 h 224"/>
                    <a:gd name="T46" fmla="*/ 27 w 224"/>
                    <a:gd name="T47" fmla="*/ 61 h 224"/>
                    <a:gd name="T48" fmla="*/ 33 w 224"/>
                    <a:gd name="T49" fmla="*/ 61 h 224"/>
                    <a:gd name="T50" fmla="*/ 36 w 224"/>
                    <a:gd name="T51" fmla="*/ 67 h 224"/>
                    <a:gd name="T52" fmla="*/ 36 w 224"/>
                    <a:gd name="T53" fmla="*/ 78 h 224"/>
                    <a:gd name="T54" fmla="*/ 47 w 224"/>
                    <a:gd name="T55" fmla="*/ 78 h 224"/>
                    <a:gd name="T56" fmla="*/ 53 w 224"/>
                    <a:gd name="T57" fmla="*/ 78 h 224"/>
                    <a:gd name="T58" fmla="*/ 55 w 224"/>
                    <a:gd name="T59" fmla="*/ 78 h 224"/>
                    <a:gd name="T60" fmla="*/ 60 w 224"/>
                    <a:gd name="T61" fmla="*/ 78 h 224"/>
                    <a:gd name="T62" fmla="*/ 67 w 224"/>
                    <a:gd name="T63" fmla="*/ 73 h 224"/>
                    <a:gd name="T64" fmla="*/ 69 w 224"/>
                    <a:gd name="T65" fmla="*/ 73 h 224"/>
                    <a:gd name="T66" fmla="*/ 71 w 224"/>
                    <a:gd name="T67" fmla="*/ 70 h 224"/>
                    <a:gd name="T68" fmla="*/ 77 w 224"/>
                    <a:gd name="T69" fmla="*/ 67 h 224"/>
                    <a:gd name="T70" fmla="*/ 69 w 224"/>
                    <a:gd name="T71" fmla="*/ 59 h 224"/>
                    <a:gd name="T72" fmla="*/ 67 w 224"/>
                    <a:gd name="T73" fmla="*/ 51 h 224"/>
                    <a:gd name="T74" fmla="*/ 69 w 224"/>
                    <a:gd name="T75" fmla="*/ 42 h 224"/>
                    <a:gd name="T76" fmla="*/ 63 w 224"/>
                    <a:gd name="T77" fmla="*/ 40 h 224"/>
                    <a:gd name="T78" fmla="*/ 63 w 224"/>
                    <a:gd name="T79" fmla="*/ 34 h 224"/>
                    <a:gd name="T80" fmla="*/ 69 w 224"/>
                    <a:gd name="T81" fmla="*/ 25 h 22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24"/>
                    <a:gd name="T124" fmla="*/ 0 h 224"/>
                    <a:gd name="T125" fmla="*/ 224 w 224"/>
                    <a:gd name="T126" fmla="*/ 224 h 22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24" h="224">
                      <a:moveTo>
                        <a:pt x="200" y="72"/>
                      </a:moveTo>
                      <a:lnTo>
                        <a:pt x="160" y="56"/>
                      </a:lnTo>
                      <a:lnTo>
                        <a:pt x="160" y="40"/>
                      </a:lnTo>
                      <a:lnTo>
                        <a:pt x="160" y="32"/>
                      </a:lnTo>
                      <a:lnTo>
                        <a:pt x="120" y="16"/>
                      </a:lnTo>
                      <a:lnTo>
                        <a:pt x="88" y="0"/>
                      </a:ln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32" y="8"/>
                      </a:lnTo>
                      <a:lnTo>
                        <a:pt x="24" y="16"/>
                      </a:lnTo>
                      <a:lnTo>
                        <a:pt x="16" y="24"/>
                      </a:lnTo>
                      <a:lnTo>
                        <a:pt x="16" y="32"/>
                      </a:lnTo>
                      <a:lnTo>
                        <a:pt x="24" y="40"/>
                      </a:lnTo>
                      <a:lnTo>
                        <a:pt x="24" y="48"/>
                      </a:lnTo>
                      <a:lnTo>
                        <a:pt x="16" y="56"/>
                      </a:lnTo>
                      <a:lnTo>
                        <a:pt x="16" y="64"/>
                      </a:lnTo>
                      <a:lnTo>
                        <a:pt x="8" y="72"/>
                      </a:lnTo>
                      <a:lnTo>
                        <a:pt x="0" y="80"/>
                      </a:lnTo>
                      <a:lnTo>
                        <a:pt x="0" y="104"/>
                      </a:lnTo>
                      <a:lnTo>
                        <a:pt x="24" y="136"/>
                      </a:lnTo>
                      <a:lnTo>
                        <a:pt x="24" y="152"/>
                      </a:lnTo>
                      <a:lnTo>
                        <a:pt x="40" y="168"/>
                      </a:lnTo>
                      <a:lnTo>
                        <a:pt x="64" y="176"/>
                      </a:lnTo>
                      <a:lnTo>
                        <a:pt x="80" y="176"/>
                      </a:lnTo>
                      <a:lnTo>
                        <a:pt x="96" y="176"/>
                      </a:lnTo>
                      <a:lnTo>
                        <a:pt x="104" y="192"/>
                      </a:lnTo>
                      <a:lnTo>
                        <a:pt x="104" y="224"/>
                      </a:lnTo>
                      <a:lnTo>
                        <a:pt x="136" y="224"/>
                      </a:lnTo>
                      <a:lnTo>
                        <a:pt x="152" y="224"/>
                      </a:lnTo>
                      <a:lnTo>
                        <a:pt x="160" y="224"/>
                      </a:lnTo>
                      <a:lnTo>
                        <a:pt x="176" y="224"/>
                      </a:lnTo>
                      <a:lnTo>
                        <a:pt x="192" y="208"/>
                      </a:lnTo>
                      <a:lnTo>
                        <a:pt x="200" y="208"/>
                      </a:lnTo>
                      <a:lnTo>
                        <a:pt x="208" y="200"/>
                      </a:lnTo>
                      <a:lnTo>
                        <a:pt x="224" y="192"/>
                      </a:lnTo>
                      <a:lnTo>
                        <a:pt x="200" y="168"/>
                      </a:lnTo>
                      <a:lnTo>
                        <a:pt x="192" y="144"/>
                      </a:lnTo>
                      <a:lnTo>
                        <a:pt x="200" y="120"/>
                      </a:lnTo>
                      <a:lnTo>
                        <a:pt x="184" y="112"/>
                      </a:lnTo>
                      <a:lnTo>
                        <a:pt x="184" y="96"/>
                      </a:lnTo>
                      <a:lnTo>
                        <a:pt x="200" y="7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84" name="Freeform 331">
                  <a:extLst>
                    <a:ext uri="{FF2B5EF4-FFF2-40B4-BE49-F238E27FC236}">
                      <a16:creationId xmlns:a16="http://schemas.microsoft.com/office/drawing/2014/main" id="{5442CA98-B9D3-32B6-AE91-066F6010B9F4}"/>
                    </a:ext>
                  </a:extLst>
                </p:cNvPr>
                <p:cNvSpPr/>
                <p:nvPr/>
              </p:nvSpPr>
              <p:spPr bwMode="gray">
                <a:xfrm>
                  <a:off x="3177" y="2824"/>
                  <a:ext cx="85" cy="85"/>
                </a:xfrm>
                <a:custGeom>
                  <a:avLst/>
                  <a:gdLst>
                    <a:gd name="T0" fmla="*/ 34 w 120"/>
                    <a:gd name="T1" fmla="*/ 40 h 120"/>
                    <a:gd name="T2" fmla="*/ 14 w 120"/>
                    <a:gd name="T3" fmla="*/ 40 h 120"/>
                    <a:gd name="T4" fmla="*/ 11 w 120"/>
                    <a:gd name="T5" fmla="*/ 40 h 120"/>
                    <a:gd name="T6" fmla="*/ 9 w 120"/>
                    <a:gd name="T7" fmla="*/ 40 h 120"/>
                    <a:gd name="T8" fmla="*/ 6 w 120"/>
                    <a:gd name="T9" fmla="*/ 43 h 120"/>
                    <a:gd name="T10" fmla="*/ 0 w 120"/>
                    <a:gd name="T11" fmla="*/ 43 h 120"/>
                    <a:gd name="T12" fmla="*/ 3 w 120"/>
                    <a:gd name="T13" fmla="*/ 34 h 120"/>
                    <a:gd name="T14" fmla="*/ 11 w 120"/>
                    <a:gd name="T15" fmla="*/ 20 h 120"/>
                    <a:gd name="T16" fmla="*/ 11 w 120"/>
                    <a:gd name="T17" fmla="*/ 14 h 120"/>
                    <a:gd name="T18" fmla="*/ 11 w 120"/>
                    <a:gd name="T19" fmla="*/ 6 h 120"/>
                    <a:gd name="T20" fmla="*/ 14 w 120"/>
                    <a:gd name="T21" fmla="*/ 6 h 120"/>
                    <a:gd name="T22" fmla="*/ 20 w 120"/>
                    <a:gd name="T23" fmla="*/ 6 h 120"/>
                    <a:gd name="T24" fmla="*/ 28 w 120"/>
                    <a:gd name="T25" fmla="*/ 6 h 120"/>
                    <a:gd name="T26" fmla="*/ 34 w 120"/>
                    <a:gd name="T27" fmla="*/ 0 h 120"/>
                    <a:gd name="T28" fmla="*/ 37 w 120"/>
                    <a:gd name="T29" fmla="*/ 6 h 120"/>
                    <a:gd name="T30" fmla="*/ 43 w 120"/>
                    <a:gd name="T31" fmla="*/ 17 h 120"/>
                    <a:gd name="T32" fmla="*/ 43 w 120"/>
                    <a:gd name="T33" fmla="*/ 23 h 120"/>
                    <a:gd name="T34" fmla="*/ 34 w 120"/>
                    <a:gd name="T35" fmla="*/ 28 h 120"/>
                    <a:gd name="T36" fmla="*/ 34 w 120"/>
                    <a:gd name="T37" fmla="*/ 40 h 12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20"/>
                    <a:gd name="T58" fmla="*/ 0 h 120"/>
                    <a:gd name="T59" fmla="*/ 120 w 120"/>
                    <a:gd name="T60" fmla="*/ 120 h 12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20" h="120">
                      <a:moveTo>
                        <a:pt x="96" y="112"/>
                      </a:moveTo>
                      <a:lnTo>
                        <a:pt x="40" y="112"/>
                      </a:lnTo>
                      <a:lnTo>
                        <a:pt x="32" y="112"/>
                      </a:lnTo>
                      <a:lnTo>
                        <a:pt x="24" y="112"/>
                      </a:lnTo>
                      <a:lnTo>
                        <a:pt x="16" y="120"/>
                      </a:lnTo>
                      <a:lnTo>
                        <a:pt x="0" y="120"/>
                      </a:lnTo>
                      <a:lnTo>
                        <a:pt x="8" y="96"/>
                      </a:lnTo>
                      <a:lnTo>
                        <a:pt x="32" y="56"/>
                      </a:lnTo>
                      <a:lnTo>
                        <a:pt x="32" y="40"/>
                      </a:lnTo>
                      <a:lnTo>
                        <a:pt x="32" y="16"/>
                      </a:lnTo>
                      <a:lnTo>
                        <a:pt x="40" y="16"/>
                      </a:lnTo>
                      <a:lnTo>
                        <a:pt x="56" y="16"/>
                      </a:lnTo>
                      <a:lnTo>
                        <a:pt x="80" y="16"/>
                      </a:lnTo>
                      <a:lnTo>
                        <a:pt x="96" y="0"/>
                      </a:lnTo>
                      <a:lnTo>
                        <a:pt x="104" y="16"/>
                      </a:lnTo>
                      <a:lnTo>
                        <a:pt x="120" y="48"/>
                      </a:lnTo>
                      <a:lnTo>
                        <a:pt x="120" y="64"/>
                      </a:lnTo>
                      <a:lnTo>
                        <a:pt x="96" y="80"/>
                      </a:lnTo>
                      <a:lnTo>
                        <a:pt x="96" y="11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85" name="Freeform 332">
                  <a:extLst>
                    <a:ext uri="{FF2B5EF4-FFF2-40B4-BE49-F238E27FC236}">
                      <a16:creationId xmlns:a16="http://schemas.microsoft.com/office/drawing/2014/main" id="{465EBF0D-336A-1E73-2931-DF33D65FDE7B}"/>
                    </a:ext>
                  </a:extLst>
                </p:cNvPr>
                <p:cNvSpPr/>
                <p:nvPr/>
              </p:nvSpPr>
              <p:spPr bwMode="gray">
                <a:xfrm>
                  <a:off x="2930" y="3139"/>
                  <a:ext cx="202" cy="186"/>
                </a:xfrm>
                <a:custGeom>
                  <a:avLst/>
                  <a:gdLst>
                    <a:gd name="T0" fmla="*/ 33 w 288"/>
                    <a:gd name="T1" fmla="*/ 89 h 264"/>
                    <a:gd name="T2" fmla="*/ 30 w 288"/>
                    <a:gd name="T3" fmla="*/ 84 h 264"/>
                    <a:gd name="T4" fmla="*/ 25 w 288"/>
                    <a:gd name="T5" fmla="*/ 78 h 264"/>
                    <a:gd name="T6" fmla="*/ 22 w 288"/>
                    <a:gd name="T7" fmla="*/ 67 h 264"/>
                    <a:gd name="T8" fmla="*/ 19 w 288"/>
                    <a:gd name="T9" fmla="*/ 58 h 264"/>
                    <a:gd name="T10" fmla="*/ 17 w 288"/>
                    <a:gd name="T11" fmla="*/ 42 h 264"/>
                    <a:gd name="T12" fmla="*/ 17 w 288"/>
                    <a:gd name="T13" fmla="*/ 39 h 264"/>
                    <a:gd name="T14" fmla="*/ 6 w 288"/>
                    <a:gd name="T15" fmla="*/ 19 h 264"/>
                    <a:gd name="T16" fmla="*/ 6 w 288"/>
                    <a:gd name="T17" fmla="*/ 17 h 264"/>
                    <a:gd name="T18" fmla="*/ 3 w 288"/>
                    <a:gd name="T19" fmla="*/ 11 h 264"/>
                    <a:gd name="T20" fmla="*/ 0 w 288"/>
                    <a:gd name="T21" fmla="*/ 3 h 264"/>
                    <a:gd name="T22" fmla="*/ 6 w 288"/>
                    <a:gd name="T23" fmla="*/ 0 h 264"/>
                    <a:gd name="T24" fmla="*/ 14 w 288"/>
                    <a:gd name="T25" fmla="*/ 0 h 264"/>
                    <a:gd name="T26" fmla="*/ 17 w 288"/>
                    <a:gd name="T27" fmla="*/ 3 h 264"/>
                    <a:gd name="T28" fmla="*/ 25 w 288"/>
                    <a:gd name="T29" fmla="*/ 0 h 264"/>
                    <a:gd name="T30" fmla="*/ 44 w 288"/>
                    <a:gd name="T31" fmla="*/ 0 h 264"/>
                    <a:gd name="T32" fmla="*/ 53 w 288"/>
                    <a:gd name="T33" fmla="*/ 6 h 264"/>
                    <a:gd name="T34" fmla="*/ 58 w 288"/>
                    <a:gd name="T35" fmla="*/ 6 h 264"/>
                    <a:gd name="T36" fmla="*/ 67 w 288"/>
                    <a:gd name="T37" fmla="*/ 6 h 264"/>
                    <a:gd name="T38" fmla="*/ 75 w 288"/>
                    <a:gd name="T39" fmla="*/ 6 h 264"/>
                    <a:gd name="T40" fmla="*/ 80 w 288"/>
                    <a:gd name="T41" fmla="*/ 0 h 264"/>
                    <a:gd name="T42" fmla="*/ 83 w 288"/>
                    <a:gd name="T43" fmla="*/ 3 h 264"/>
                    <a:gd name="T44" fmla="*/ 91 w 288"/>
                    <a:gd name="T45" fmla="*/ 3 h 264"/>
                    <a:gd name="T46" fmla="*/ 96 w 288"/>
                    <a:gd name="T47" fmla="*/ 3 h 264"/>
                    <a:gd name="T48" fmla="*/ 100 w 288"/>
                    <a:gd name="T49" fmla="*/ 6 h 264"/>
                    <a:gd name="T50" fmla="*/ 94 w 288"/>
                    <a:gd name="T51" fmla="*/ 6 h 264"/>
                    <a:gd name="T52" fmla="*/ 86 w 288"/>
                    <a:gd name="T53" fmla="*/ 8 h 264"/>
                    <a:gd name="T54" fmla="*/ 80 w 288"/>
                    <a:gd name="T55" fmla="*/ 8 h 264"/>
                    <a:gd name="T56" fmla="*/ 67 w 288"/>
                    <a:gd name="T57" fmla="*/ 11 h 264"/>
                    <a:gd name="T58" fmla="*/ 67 w 288"/>
                    <a:gd name="T59" fmla="*/ 36 h 264"/>
                    <a:gd name="T60" fmla="*/ 58 w 288"/>
                    <a:gd name="T61" fmla="*/ 36 h 264"/>
                    <a:gd name="T62" fmla="*/ 58 w 288"/>
                    <a:gd name="T63" fmla="*/ 56 h 264"/>
                    <a:gd name="T64" fmla="*/ 58 w 288"/>
                    <a:gd name="T65" fmla="*/ 89 h 264"/>
                    <a:gd name="T66" fmla="*/ 50 w 288"/>
                    <a:gd name="T67" fmla="*/ 92 h 264"/>
                    <a:gd name="T68" fmla="*/ 44 w 288"/>
                    <a:gd name="T69" fmla="*/ 89 h 264"/>
                    <a:gd name="T70" fmla="*/ 41 w 288"/>
                    <a:gd name="T71" fmla="*/ 87 h 264"/>
                    <a:gd name="T72" fmla="*/ 39 w 288"/>
                    <a:gd name="T73" fmla="*/ 87 h 264"/>
                    <a:gd name="T74" fmla="*/ 36 w 288"/>
                    <a:gd name="T75" fmla="*/ 87 h 264"/>
                    <a:gd name="T76" fmla="*/ 33 w 288"/>
                    <a:gd name="T77" fmla="*/ 89 h 26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88"/>
                    <a:gd name="T118" fmla="*/ 0 h 264"/>
                    <a:gd name="T119" fmla="*/ 288 w 288"/>
                    <a:gd name="T120" fmla="*/ 264 h 26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88" h="264">
                      <a:moveTo>
                        <a:pt x="96" y="256"/>
                      </a:moveTo>
                      <a:lnTo>
                        <a:pt x="88" y="240"/>
                      </a:lnTo>
                      <a:lnTo>
                        <a:pt x="72" y="224"/>
                      </a:lnTo>
                      <a:lnTo>
                        <a:pt x="64" y="192"/>
                      </a:lnTo>
                      <a:lnTo>
                        <a:pt x="56" y="168"/>
                      </a:lnTo>
                      <a:lnTo>
                        <a:pt x="48" y="120"/>
                      </a:lnTo>
                      <a:lnTo>
                        <a:pt x="48" y="112"/>
                      </a:lnTo>
                      <a:lnTo>
                        <a:pt x="16" y="56"/>
                      </a:lnTo>
                      <a:lnTo>
                        <a:pt x="16" y="48"/>
                      </a:lnTo>
                      <a:lnTo>
                        <a:pt x="8" y="32"/>
                      </a:lnTo>
                      <a:lnTo>
                        <a:pt x="0" y="8"/>
                      </a:lnTo>
                      <a:lnTo>
                        <a:pt x="16" y="0"/>
                      </a:lnTo>
                      <a:lnTo>
                        <a:pt x="40" y="0"/>
                      </a:lnTo>
                      <a:lnTo>
                        <a:pt x="48" y="8"/>
                      </a:lnTo>
                      <a:lnTo>
                        <a:pt x="72" y="0"/>
                      </a:lnTo>
                      <a:lnTo>
                        <a:pt x="128" y="0"/>
                      </a:lnTo>
                      <a:lnTo>
                        <a:pt x="152" y="16"/>
                      </a:lnTo>
                      <a:lnTo>
                        <a:pt x="168" y="16"/>
                      </a:lnTo>
                      <a:lnTo>
                        <a:pt x="192" y="16"/>
                      </a:lnTo>
                      <a:lnTo>
                        <a:pt x="216" y="16"/>
                      </a:lnTo>
                      <a:lnTo>
                        <a:pt x="232" y="0"/>
                      </a:lnTo>
                      <a:lnTo>
                        <a:pt x="240" y="8"/>
                      </a:lnTo>
                      <a:lnTo>
                        <a:pt x="264" y="8"/>
                      </a:lnTo>
                      <a:lnTo>
                        <a:pt x="280" y="8"/>
                      </a:lnTo>
                      <a:lnTo>
                        <a:pt x="288" y="16"/>
                      </a:lnTo>
                      <a:lnTo>
                        <a:pt x="272" y="16"/>
                      </a:lnTo>
                      <a:lnTo>
                        <a:pt x="248" y="24"/>
                      </a:lnTo>
                      <a:lnTo>
                        <a:pt x="232" y="24"/>
                      </a:lnTo>
                      <a:lnTo>
                        <a:pt x="192" y="32"/>
                      </a:lnTo>
                      <a:lnTo>
                        <a:pt x="192" y="104"/>
                      </a:lnTo>
                      <a:lnTo>
                        <a:pt x="168" y="104"/>
                      </a:lnTo>
                      <a:lnTo>
                        <a:pt x="168" y="160"/>
                      </a:lnTo>
                      <a:lnTo>
                        <a:pt x="168" y="256"/>
                      </a:lnTo>
                      <a:lnTo>
                        <a:pt x="144" y="264"/>
                      </a:lnTo>
                      <a:lnTo>
                        <a:pt x="128" y="256"/>
                      </a:lnTo>
                      <a:lnTo>
                        <a:pt x="120" y="248"/>
                      </a:lnTo>
                      <a:lnTo>
                        <a:pt x="112" y="248"/>
                      </a:lnTo>
                      <a:lnTo>
                        <a:pt x="104" y="248"/>
                      </a:lnTo>
                      <a:lnTo>
                        <a:pt x="96" y="25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86" name="Freeform 333">
                  <a:extLst>
                    <a:ext uri="{FF2B5EF4-FFF2-40B4-BE49-F238E27FC236}">
                      <a16:creationId xmlns:a16="http://schemas.microsoft.com/office/drawing/2014/main" id="{54D2C7AA-542A-EEF0-8A94-E2BDD15C4BFC}"/>
                    </a:ext>
                  </a:extLst>
                </p:cNvPr>
                <p:cNvSpPr/>
                <p:nvPr/>
              </p:nvSpPr>
              <p:spPr bwMode="gray">
                <a:xfrm>
                  <a:off x="3048" y="3151"/>
                  <a:ext cx="124" cy="135"/>
                </a:xfrm>
                <a:custGeom>
                  <a:avLst/>
                  <a:gdLst>
                    <a:gd name="T0" fmla="*/ 61 w 176"/>
                    <a:gd name="T1" fmla="*/ 34 h 192"/>
                    <a:gd name="T2" fmla="*/ 58 w 176"/>
                    <a:gd name="T3" fmla="*/ 27 h 192"/>
                    <a:gd name="T4" fmla="*/ 53 w 176"/>
                    <a:gd name="T5" fmla="*/ 19 h 192"/>
                    <a:gd name="T6" fmla="*/ 53 w 176"/>
                    <a:gd name="T7" fmla="*/ 14 h 192"/>
                    <a:gd name="T8" fmla="*/ 42 w 176"/>
                    <a:gd name="T9" fmla="*/ 6 h 192"/>
                    <a:gd name="T10" fmla="*/ 42 w 176"/>
                    <a:gd name="T11" fmla="*/ 0 h 192"/>
                    <a:gd name="T12" fmla="*/ 36 w 176"/>
                    <a:gd name="T13" fmla="*/ 0 h 192"/>
                    <a:gd name="T14" fmla="*/ 27 w 176"/>
                    <a:gd name="T15" fmla="*/ 3 h 192"/>
                    <a:gd name="T16" fmla="*/ 23 w 176"/>
                    <a:gd name="T17" fmla="*/ 3 h 192"/>
                    <a:gd name="T18" fmla="*/ 8 w 176"/>
                    <a:gd name="T19" fmla="*/ 6 h 192"/>
                    <a:gd name="T20" fmla="*/ 8 w 176"/>
                    <a:gd name="T21" fmla="*/ 31 h 192"/>
                    <a:gd name="T22" fmla="*/ 0 w 176"/>
                    <a:gd name="T23" fmla="*/ 31 h 192"/>
                    <a:gd name="T24" fmla="*/ 0 w 176"/>
                    <a:gd name="T25" fmla="*/ 50 h 192"/>
                    <a:gd name="T26" fmla="*/ 6 w 176"/>
                    <a:gd name="T27" fmla="*/ 56 h 192"/>
                    <a:gd name="T28" fmla="*/ 8 w 176"/>
                    <a:gd name="T29" fmla="*/ 67 h 192"/>
                    <a:gd name="T30" fmla="*/ 14 w 176"/>
                    <a:gd name="T31" fmla="*/ 67 h 192"/>
                    <a:gd name="T32" fmla="*/ 23 w 176"/>
                    <a:gd name="T33" fmla="*/ 58 h 192"/>
                    <a:gd name="T34" fmla="*/ 27 w 176"/>
                    <a:gd name="T35" fmla="*/ 58 h 192"/>
                    <a:gd name="T36" fmla="*/ 31 w 176"/>
                    <a:gd name="T37" fmla="*/ 61 h 192"/>
                    <a:gd name="T38" fmla="*/ 36 w 176"/>
                    <a:gd name="T39" fmla="*/ 58 h 192"/>
                    <a:gd name="T40" fmla="*/ 42 w 176"/>
                    <a:gd name="T41" fmla="*/ 53 h 192"/>
                    <a:gd name="T42" fmla="*/ 42 w 176"/>
                    <a:gd name="T43" fmla="*/ 44 h 192"/>
                    <a:gd name="T44" fmla="*/ 50 w 176"/>
                    <a:gd name="T45" fmla="*/ 41 h 192"/>
                    <a:gd name="T46" fmla="*/ 53 w 176"/>
                    <a:gd name="T47" fmla="*/ 39 h 192"/>
                    <a:gd name="T48" fmla="*/ 61 w 176"/>
                    <a:gd name="T49" fmla="*/ 34 h 19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76"/>
                    <a:gd name="T76" fmla="*/ 0 h 192"/>
                    <a:gd name="T77" fmla="*/ 176 w 176"/>
                    <a:gd name="T78" fmla="*/ 192 h 19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76" h="192">
                      <a:moveTo>
                        <a:pt x="176" y="96"/>
                      </a:moveTo>
                      <a:lnTo>
                        <a:pt x="168" y="80"/>
                      </a:lnTo>
                      <a:lnTo>
                        <a:pt x="152" y="56"/>
                      </a:lnTo>
                      <a:lnTo>
                        <a:pt x="152" y="40"/>
                      </a:lnTo>
                      <a:lnTo>
                        <a:pt x="120" y="16"/>
                      </a:lnTo>
                      <a:lnTo>
                        <a:pt x="120" y="0"/>
                      </a:lnTo>
                      <a:lnTo>
                        <a:pt x="104" y="0"/>
                      </a:lnTo>
                      <a:lnTo>
                        <a:pt x="80" y="8"/>
                      </a:lnTo>
                      <a:lnTo>
                        <a:pt x="64" y="8"/>
                      </a:lnTo>
                      <a:lnTo>
                        <a:pt x="24" y="16"/>
                      </a:lnTo>
                      <a:lnTo>
                        <a:pt x="24" y="88"/>
                      </a:lnTo>
                      <a:lnTo>
                        <a:pt x="0" y="88"/>
                      </a:lnTo>
                      <a:lnTo>
                        <a:pt x="0" y="144"/>
                      </a:lnTo>
                      <a:lnTo>
                        <a:pt x="16" y="160"/>
                      </a:lnTo>
                      <a:lnTo>
                        <a:pt x="24" y="192"/>
                      </a:lnTo>
                      <a:lnTo>
                        <a:pt x="40" y="192"/>
                      </a:lnTo>
                      <a:lnTo>
                        <a:pt x="64" y="168"/>
                      </a:lnTo>
                      <a:lnTo>
                        <a:pt x="80" y="168"/>
                      </a:lnTo>
                      <a:lnTo>
                        <a:pt x="88" y="176"/>
                      </a:lnTo>
                      <a:lnTo>
                        <a:pt x="104" y="168"/>
                      </a:lnTo>
                      <a:lnTo>
                        <a:pt x="120" y="152"/>
                      </a:lnTo>
                      <a:lnTo>
                        <a:pt x="120" y="128"/>
                      </a:lnTo>
                      <a:lnTo>
                        <a:pt x="144" y="120"/>
                      </a:lnTo>
                      <a:lnTo>
                        <a:pt x="152" y="112"/>
                      </a:lnTo>
                      <a:lnTo>
                        <a:pt x="176" y="9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87" name="Freeform 334">
                  <a:extLst>
                    <a:ext uri="{FF2B5EF4-FFF2-40B4-BE49-F238E27FC236}">
                      <a16:creationId xmlns:a16="http://schemas.microsoft.com/office/drawing/2014/main" id="{297FD6C8-1670-5EB0-E35E-D18935C3B434}"/>
                    </a:ext>
                  </a:extLst>
                </p:cNvPr>
                <p:cNvSpPr/>
                <p:nvPr/>
              </p:nvSpPr>
              <p:spPr bwMode="gray">
                <a:xfrm>
                  <a:off x="3132" y="3117"/>
                  <a:ext cx="102" cy="101"/>
                </a:xfrm>
                <a:custGeom>
                  <a:avLst/>
                  <a:gdLst>
                    <a:gd name="T0" fmla="*/ 20 w 144"/>
                    <a:gd name="T1" fmla="*/ 3 h 144"/>
                    <a:gd name="T2" fmla="*/ 20 w 144"/>
                    <a:gd name="T3" fmla="*/ 8 h 144"/>
                    <a:gd name="T4" fmla="*/ 14 w 144"/>
                    <a:gd name="T5" fmla="*/ 11 h 144"/>
                    <a:gd name="T6" fmla="*/ 11 w 144"/>
                    <a:gd name="T7" fmla="*/ 11 h 144"/>
                    <a:gd name="T8" fmla="*/ 6 w 144"/>
                    <a:gd name="T9" fmla="*/ 17 h 144"/>
                    <a:gd name="T10" fmla="*/ 0 w 144"/>
                    <a:gd name="T11" fmla="*/ 17 h 144"/>
                    <a:gd name="T12" fmla="*/ 0 w 144"/>
                    <a:gd name="T13" fmla="*/ 22 h 144"/>
                    <a:gd name="T14" fmla="*/ 11 w 144"/>
                    <a:gd name="T15" fmla="*/ 30 h 144"/>
                    <a:gd name="T16" fmla="*/ 11 w 144"/>
                    <a:gd name="T17" fmla="*/ 36 h 144"/>
                    <a:gd name="T18" fmla="*/ 17 w 144"/>
                    <a:gd name="T19" fmla="*/ 44 h 144"/>
                    <a:gd name="T20" fmla="*/ 20 w 144"/>
                    <a:gd name="T21" fmla="*/ 50 h 144"/>
                    <a:gd name="T22" fmla="*/ 23 w 144"/>
                    <a:gd name="T23" fmla="*/ 50 h 144"/>
                    <a:gd name="T24" fmla="*/ 28 w 144"/>
                    <a:gd name="T25" fmla="*/ 47 h 144"/>
                    <a:gd name="T26" fmla="*/ 40 w 144"/>
                    <a:gd name="T27" fmla="*/ 50 h 144"/>
                    <a:gd name="T28" fmla="*/ 42 w 144"/>
                    <a:gd name="T29" fmla="*/ 47 h 144"/>
                    <a:gd name="T30" fmla="*/ 42 w 144"/>
                    <a:gd name="T31" fmla="*/ 39 h 144"/>
                    <a:gd name="T32" fmla="*/ 51 w 144"/>
                    <a:gd name="T33" fmla="*/ 33 h 144"/>
                    <a:gd name="T34" fmla="*/ 51 w 144"/>
                    <a:gd name="T35" fmla="*/ 30 h 144"/>
                    <a:gd name="T36" fmla="*/ 48 w 144"/>
                    <a:gd name="T37" fmla="*/ 27 h 144"/>
                    <a:gd name="T38" fmla="*/ 48 w 144"/>
                    <a:gd name="T39" fmla="*/ 22 h 144"/>
                    <a:gd name="T40" fmla="*/ 51 w 144"/>
                    <a:gd name="T41" fmla="*/ 19 h 144"/>
                    <a:gd name="T42" fmla="*/ 48 w 144"/>
                    <a:gd name="T43" fmla="*/ 11 h 144"/>
                    <a:gd name="T44" fmla="*/ 45 w 144"/>
                    <a:gd name="T45" fmla="*/ 6 h 144"/>
                    <a:gd name="T46" fmla="*/ 28 w 144"/>
                    <a:gd name="T47" fmla="*/ 0 h 144"/>
                    <a:gd name="T48" fmla="*/ 23 w 144"/>
                    <a:gd name="T49" fmla="*/ 3 h 144"/>
                    <a:gd name="T50" fmla="*/ 20 w 144"/>
                    <a:gd name="T51" fmla="*/ 3 h 14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44"/>
                    <a:gd name="T79" fmla="*/ 0 h 144"/>
                    <a:gd name="T80" fmla="*/ 144 w 144"/>
                    <a:gd name="T81" fmla="*/ 144 h 14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44" h="144">
                      <a:moveTo>
                        <a:pt x="56" y="8"/>
                      </a:moveTo>
                      <a:lnTo>
                        <a:pt x="56" y="24"/>
                      </a:lnTo>
                      <a:lnTo>
                        <a:pt x="40" y="32"/>
                      </a:lnTo>
                      <a:lnTo>
                        <a:pt x="32" y="32"/>
                      </a:lnTo>
                      <a:lnTo>
                        <a:pt x="16" y="48"/>
                      </a:lnTo>
                      <a:lnTo>
                        <a:pt x="0" y="48"/>
                      </a:lnTo>
                      <a:lnTo>
                        <a:pt x="0" y="64"/>
                      </a:lnTo>
                      <a:lnTo>
                        <a:pt x="32" y="88"/>
                      </a:lnTo>
                      <a:lnTo>
                        <a:pt x="32" y="104"/>
                      </a:lnTo>
                      <a:lnTo>
                        <a:pt x="48" y="128"/>
                      </a:lnTo>
                      <a:lnTo>
                        <a:pt x="56" y="144"/>
                      </a:lnTo>
                      <a:lnTo>
                        <a:pt x="64" y="144"/>
                      </a:lnTo>
                      <a:lnTo>
                        <a:pt x="80" y="136"/>
                      </a:lnTo>
                      <a:lnTo>
                        <a:pt x="112" y="144"/>
                      </a:lnTo>
                      <a:lnTo>
                        <a:pt x="120" y="136"/>
                      </a:lnTo>
                      <a:lnTo>
                        <a:pt x="120" y="112"/>
                      </a:lnTo>
                      <a:lnTo>
                        <a:pt x="144" y="96"/>
                      </a:lnTo>
                      <a:lnTo>
                        <a:pt x="144" y="88"/>
                      </a:lnTo>
                      <a:lnTo>
                        <a:pt x="136" y="80"/>
                      </a:lnTo>
                      <a:lnTo>
                        <a:pt x="136" y="64"/>
                      </a:lnTo>
                      <a:lnTo>
                        <a:pt x="144" y="56"/>
                      </a:lnTo>
                      <a:lnTo>
                        <a:pt x="136" y="32"/>
                      </a:lnTo>
                      <a:lnTo>
                        <a:pt x="128" y="16"/>
                      </a:lnTo>
                      <a:lnTo>
                        <a:pt x="80" y="0"/>
                      </a:lnTo>
                      <a:lnTo>
                        <a:pt x="64" y="8"/>
                      </a:lnTo>
                      <a:lnTo>
                        <a:pt x="56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88" name="Rectangle 335">
                  <a:extLst>
                    <a:ext uri="{FF2B5EF4-FFF2-40B4-BE49-F238E27FC236}">
                      <a16:creationId xmlns:a16="http://schemas.microsoft.com/office/drawing/2014/main" id="{ACBD0840-CC04-DD36-2FAC-981B7E8ECDEA}"/>
                    </a:ext>
                  </a:extLst>
                </p:cNvPr>
                <p:cNvSpPr/>
                <p:nvPr/>
              </p:nvSpPr>
              <p:spPr bwMode="gray">
                <a:xfrm>
                  <a:off x="2902" y="2858"/>
                  <a:ext cx="22" cy="17"/>
                </a:xfrm>
                <a:prstGeom prst="rect">
                  <a:avLst/>
                </a:prstGeom>
                <a:grpFill/>
                <a:ln w="3175">
                  <a:solidFill>
                    <a:sysClr val="window" lastClr="FFFFFF"/>
                  </a:solidFill>
                  <a:miter lim="800000"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89" name="Freeform 336">
                  <a:extLst>
                    <a:ext uri="{FF2B5EF4-FFF2-40B4-BE49-F238E27FC236}">
                      <a16:creationId xmlns:a16="http://schemas.microsoft.com/office/drawing/2014/main" id="{26AE4382-30C9-58E2-1B2A-A1C8A532DEDD}"/>
                    </a:ext>
                  </a:extLst>
                </p:cNvPr>
                <p:cNvSpPr/>
                <p:nvPr/>
              </p:nvSpPr>
              <p:spPr bwMode="gray">
                <a:xfrm>
                  <a:off x="2598" y="2774"/>
                  <a:ext cx="56" cy="56"/>
                </a:xfrm>
                <a:custGeom>
                  <a:avLst/>
                  <a:gdLst>
                    <a:gd name="T0" fmla="*/ 22 w 80"/>
                    <a:gd name="T1" fmla="*/ 6 h 80"/>
                    <a:gd name="T2" fmla="*/ 22 w 80"/>
                    <a:gd name="T3" fmla="*/ 14 h 80"/>
                    <a:gd name="T4" fmla="*/ 27 w 80"/>
                    <a:gd name="T5" fmla="*/ 17 h 80"/>
                    <a:gd name="T6" fmla="*/ 27 w 80"/>
                    <a:gd name="T7" fmla="*/ 22 h 80"/>
                    <a:gd name="T8" fmla="*/ 25 w 80"/>
                    <a:gd name="T9" fmla="*/ 27 h 80"/>
                    <a:gd name="T10" fmla="*/ 17 w 80"/>
                    <a:gd name="T11" fmla="*/ 25 h 80"/>
                    <a:gd name="T12" fmla="*/ 8 w 80"/>
                    <a:gd name="T13" fmla="*/ 17 h 80"/>
                    <a:gd name="T14" fmla="*/ 0 w 80"/>
                    <a:gd name="T15" fmla="*/ 10 h 80"/>
                    <a:gd name="T16" fmla="*/ 8 w 80"/>
                    <a:gd name="T17" fmla="*/ 0 h 80"/>
                    <a:gd name="T18" fmla="*/ 14 w 80"/>
                    <a:gd name="T19" fmla="*/ 3 h 80"/>
                    <a:gd name="T20" fmla="*/ 14 w 80"/>
                    <a:gd name="T21" fmla="*/ 6 h 80"/>
                    <a:gd name="T22" fmla="*/ 22 w 80"/>
                    <a:gd name="T23" fmla="*/ 6 h 8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80"/>
                    <a:gd name="T37" fmla="*/ 0 h 80"/>
                    <a:gd name="T38" fmla="*/ 80 w 80"/>
                    <a:gd name="T39" fmla="*/ 80 h 8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80" h="80">
                      <a:moveTo>
                        <a:pt x="64" y="16"/>
                      </a:moveTo>
                      <a:lnTo>
                        <a:pt x="64" y="40"/>
                      </a:lnTo>
                      <a:lnTo>
                        <a:pt x="80" y="48"/>
                      </a:lnTo>
                      <a:lnTo>
                        <a:pt x="80" y="64"/>
                      </a:lnTo>
                      <a:lnTo>
                        <a:pt x="72" y="80"/>
                      </a:lnTo>
                      <a:lnTo>
                        <a:pt x="48" y="72"/>
                      </a:lnTo>
                      <a:lnTo>
                        <a:pt x="24" y="48"/>
                      </a:lnTo>
                      <a:lnTo>
                        <a:pt x="0" y="32"/>
                      </a:lnTo>
                      <a:lnTo>
                        <a:pt x="24" y="0"/>
                      </a:lnTo>
                      <a:lnTo>
                        <a:pt x="40" y="8"/>
                      </a:lnTo>
                      <a:lnTo>
                        <a:pt x="40" y="16"/>
                      </a:lnTo>
                      <a:lnTo>
                        <a:pt x="64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90" name="Freeform 337">
                  <a:extLst>
                    <a:ext uri="{FF2B5EF4-FFF2-40B4-BE49-F238E27FC236}">
                      <a16:creationId xmlns:a16="http://schemas.microsoft.com/office/drawing/2014/main" id="{A692D895-DB1D-4049-C881-23BEF7218328}"/>
                    </a:ext>
                  </a:extLst>
                </p:cNvPr>
                <p:cNvSpPr/>
                <p:nvPr/>
              </p:nvSpPr>
              <p:spPr bwMode="gray">
                <a:xfrm>
                  <a:off x="3177" y="2926"/>
                  <a:ext cx="23" cy="28"/>
                </a:xfrm>
                <a:custGeom>
                  <a:avLst/>
                  <a:gdLst>
                    <a:gd name="T0" fmla="*/ 0 w 32"/>
                    <a:gd name="T1" fmla="*/ 0 h 40"/>
                    <a:gd name="T2" fmla="*/ 3 w 32"/>
                    <a:gd name="T3" fmla="*/ 0 h 40"/>
                    <a:gd name="T4" fmla="*/ 6 w 32"/>
                    <a:gd name="T5" fmla="*/ 0 h 40"/>
                    <a:gd name="T6" fmla="*/ 9 w 32"/>
                    <a:gd name="T7" fmla="*/ 0 h 40"/>
                    <a:gd name="T8" fmla="*/ 12 w 32"/>
                    <a:gd name="T9" fmla="*/ 3 h 40"/>
                    <a:gd name="T10" fmla="*/ 12 w 32"/>
                    <a:gd name="T11" fmla="*/ 6 h 40"/>
                    <a:gd name="T12" fmla="*/ 9 w 32"/>
                    <a:gd name="T13" fmla="*/ 8 h 40"/>
                    <a:gd name="T14" fmla="*/ 9 w 32"/>
                    <a:gd name="T15" fmla="*/ 10 h 40"/>
                    <a:gd name="T16" fmla="*/ 6 w 32"/>
                    <a:gd name="T17" fmla="*/ 14 h 40"/>
                    <a:gd name="T18" fmla="*/ 3 w 32"/>
                    <a:gd name="T19" fmla="*/ 8 h 40"/>
                    <a:gd name="T20" fmla="*/ 3 w 32"/>
                    <a:gd name="T21" fmla="*/ 6 h 40"/>
                    <a:gd name="T22" fmla="*/ 0 w 32"/>
                    <a:gd name="T23" fmla="*/ 0 h 4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2"/>
                    <a:gd name="T37" fmla="*/ 0 h 40"/>
                    <a:gd name="T38" fmla="*/ 32 w 32"/>
                    <a:gd name="T39" fmla="*/ 40 h 4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2" h="40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0"/>
                      </a:lnTo>
                      <a:lnTo>
                        <a:pt x="32" y="8"/>
                      </a:lnTo>
                      <a:lnTo>
                        <a:pt x="32" y="16"/>
                      </a:lnTo>
                      <a:lnTo>
                        <a:pt x="24" y="24"/>
                      </a:lnTo>
                      <a:lnTo>
                        <a:pt x="24" y="32"/>
                      </a:lnTo>
                      <a:lnTo>
                        <a:pt x="16" y="40"/>
                      </a:lnTo>
                      <a:lnTo>
                        <a:pt x="8" y="24"/>
                      </a:lnTo>
                      <a:lnTo>
                        <a:pt x="8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91" name="Freeform 338">
                  <a:extLst>
                    <a:ext uri="{FF2B5EF4-FFF2-40B4-BE49-F238E27FC236}">
                      <a16:creationId xmlns:a16="http://schemas.microsoft.com/office/drawing/2014/main" id="{3DE6806E-E4E4-440F-CCF3-1B8CE279AD34}"/>
                    </a:ext>
                  </a:extLst>
                </p:cNvPr>
                <p:cNvSpPr/>
                <p:nvPr/>
              </p:nvSpPr>
              <p:spPr bwMode="gray">
                <a:xfrm>
                  <a:off x="3560" y="2504"/>
                  <a:ext cx="11" cy="11"/>
                </a:xfrm>
                <a:custGeom>
                  <a:avLst/>
                  <a:gdLst>
                    <a:gd name="T0" fmla="*/ 3 w 16"/>
                    <a:gd name="T1" fmla="*/ 6 h 16"/>
                    <a:gd name="T2" fmla="*/ 6 w 16"/>
                    <a:gd name="T3" fmla="*/ 0 h 16"/>
                    <a:gd name="T4" fmla="*/ 3 w 16"/>
                    <a:gd name="T5" fmla="*/ 0 h 16"/>
                    <a:gd name="T6" fmla="*/ 0 w 16"/>
                    <a:gd name="T7" fmla="*/ 3 h 16"/>
                    <a:gd name="T8" fmla="*/ 3 w 16"/>
                    <a:gd name="T9" fmla="*/ 6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6"/>
                    <a:gd name="T17" fmla="*/ 16 w 16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6">
                      <a:moveTo>
                        <a:pt x="8" y="16"/>
                      </a:move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92" name="Freeform 339">
                  <a:extLst>
                    <a:ext uri="{FF2B5EF4-FFF2-40B4-BE49-F238E27FC236}">
                      <a16:creationId xmlns:a16="http://schemas.microsoft.com/office/drawing/2014/main" id="{73527041-6D62-D11F-ABAA-78C6C0E7FDE5}"/>
                    </a:ext>
                  </a:extLst>
                </p:cNvPr>
                <p:cNvSpPr/>
                <p:nvPr/>
              </p:nvSpPr>
              <p:spPr bwMode="gray">
                <a:xfrm>
                  <a:off x="3498" y="2509"/>
                  <a:ext cx="68" cy="51"/>
                </a:xfrm>
                <a:custGeom>
                  <a:avLst/>
                  <a:gdLst>
                    <a:gd name="T0" fmla="*/ 34 w 96"/>
                    <a:gd name="T1" fmla="*/ 3 h 72"/>
                    <a:gd name="T2" fmla="*/ 31 w 96"/>
                    <a:gd name="T3" fmla="*/ 0 h 72"/>
                    <a:gd name="T4" fmla="*/ 28 w 96"/>
                    <a:gd name="T5" fmla="*/ 3 h 72"/>
                    <a:gd name="T6" fmla="*/ 20 w 96"/>
                    <a:gd name="T7" fmla="*/ 8 h 72"/>
                    <a:gd name="T8" fmla="*/ 17 w 96"/>
                    <a:gd name="T9" fmla="*/ 14 h 72"/>
                    <a:gd name="T10" fmla="*/ 11 w 96"/>
                    <a:gd name="T11" fmla="*/ 14 h 72"/>
                    <a:gd name="T12" fmla="*/ 6 w 96"/>
                    <a:gd name="T13" fmla="*/ 14 h 72"/>
                    <a:gd name="T14" fmla="*/ 3 w 96"/>
                    <a:gd name="T15" fmla="*/ 14 h 72"/>
                    <a:gd name="T16" fmla="*/ 0 w 96"/>
                    <a:gd name="T17" fmla="*/ 17 h 72"/>
                    <a:gd name="T18" fmla="*/ 6 w 96"/>
                    <a:gd name="T19" fmla="*/ 23 h 72"/>
                    <a:gd name="T20" fmla="*/ 26 w 96"/>
                    <a:gd name="T21" fmla="*/ 26 h 72"/>
                    <a:gd name="T22" fmla="*/ 26 w 96"/>
                    <a:gd name="T23" fmla="*/ 20 h 72"/>
                    <a:gd name="T24" fmla="*/ 31 w 96"/>
                    <a:gd name="T25" fmla="*/ 11 h 72"/>
                    <a:gd name="T26" fmla="*/ 31 w 96"/>
                    <a:gd name="T27" fmla="*/ 6 h 72"/>
                    <a:gd name="T28" fmla="*/ 34 w 96"/>
                    <a:gd name="T29" fmla="*/ 6 h 72"/>
                    <a:gd name="T30" fmla="*/ 34 w 96"/>
                    <a:gd name="T31" fmla="*/ 3 h 7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6"/>
                    <a:gd name="T49" fmla="*/ 0 h 72"/>
                    <a:gd name="T50" fmla="*/ 96 w 96"/>
                    <a:gd name="T51" fmla="*/ 72 h 7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6" h="72">
                      <a:moveTo>
                        <a:pt x="96" y="8"/>
                      </a:moveTo>
                      <a:lnTo>
                        <a:pt x="88" y="0"/>
                      </a:lnTo>
                      <a:lnTo>
                        <a:pt x="80" y="8"/>
                      </a:lnTo>
                      <a:lnTo>
                        <a:pt x="56" y="24"/>
                      </a:lnTo>
                      <a:lnTo>
                        <a:pt x="48" y="40"/>
                      </a:lnTo>
                      <a:lnTo>
                        <a:pt x="32" y="40"/>
                      </a:lnTo>
                      <a:lnTo>
                        <a:pt x="16" y="40"/>
                      </a:lnTo>
                      <a:lnTo>
                        <a:pt x="8" y="40"/>
                      </a:lnTo>
                      <a:lnTo>
                        <a:pt x="0" y="48"/>
                      </a:lnTo>
                      <a:lnTo>
                        <a:pt x="16" y="64"/>
                      </a:lnTo>
                      <a:lnTo>
                        <a:pt x="72" y="72"/>
                      </a:lnTo>
                      <a:lnTo>
                        <a:pt x="72" y="56"/>
                      </a:lnTo>
                      <a:lnTo>
                        <a:pt x="88" y="32"/>
                      </a:lnTo>
                      <a:lnTo>
                        <a:pt x="88" y="16"/>
                      </a:lnTo>
                      <a:lnTo>
                        <a:pt x="96" y="16"/>
                      </a:lnTo>
                      <a:lnTo>
                        <a:pt x="96" y="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93" name="Freeform 340">
                  <a:extLst>
                    <a:ext uri="{FF2B5EF4-FFF2-40B4-BE49-F238E27FC236}">
                      <a16:creationId xmlns:a16="http://schemas.microsoft.com/office/drawing/2014/main" id="{D15D6914-70A8-616F-6C61-BD3EEA95585F}"/>
                    </a:ext>
                  </a:extLst>
                </p:cNvPr>
                <p:cNvSpPr/>
                <p:nvPr/>
              </p:nvSpPr>
              <p:spPr bwMode="gray">
                <a:xfrm>
                  <a:off x="3487" y="2504"/>
                  <a:ext cx="11" cy="28"/>
                </a:xfrm>
                <a:custGeom>
                  <a:avLst/>
                  <a:gdLst>
                    <a:gd name="T0" fmla="*/ 0 w 16"/>
                    <a:gd name="T1" fmla="*/ 8 h 40"/>
                    <a:gd name="T2" fmla="*/ 3 w 16"/>
                    <a:gd name="T3" fmla="*/ 6 h 40"/>
                    <a:gd name="T4" fmla="*/ 0 w 16"/>
                    <a:gd name="T5" fmla="*/ 3 h 40"/>
                    <a:gd name="T6" fmla="*/ 3 w 16"/>
                    <a:gd name="T7" fmla="*/ 0 h 40"/>
                    <a:gd name="T8" fmla="*/ 6 w 16"/>
                    <a:gd name="T9" fmla="*/ 0 h 40"/>
                    <a:gd name="T10" fmla="*/ 6 w 16"/>
                    <a:gd name="T11" fmla="*/ 8 h 40"/>
                    <a:gd name="T12" fmla="*/ 6 w 16"/>
                    <a:gd name="T13" fmla="*/ 14 h 40"/>
                    <a:gd name="T14" fmla="*/ 3 w 16"/>
                    <a:gd name="T15" fmla="*/ 14 h 40"/>
                    <a:gd name="T16" fmla="*/ 0 w 16"/>
                    <a:gd name="T17" fmla="*/ 8 h 4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6"/>
                    <a:gd name="T28" fmla="*/ 0 h 40"/>
                    <a:gd name="T29" fmla="*/ 16 w 16"/>
                    <a:gd name="T30" fmla="*/ 40 h 4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6" h="40">
                      <a:moveTo>
                        <a:pt x="0" y="24"/>
                      </a:move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24"/>
                      </a:lnTo>
                      <a:lnTo>
                        <a:pt x="16" y="40"/>
                      </a:lnTo>
                      <a:lnTo>
                        <a:pt x="8" y="4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94" name="Freeform 341">
                  <a:extLst>
                    <a:ext uri="{FF2B5EF4-FFF2-40B4-BE49-F238E27FC236}">
                      <a16:creationId xmlns:a16="http://schemas.microsoft.com/office/drawing/2014/main" id="{DA4BA747-4430-4EA5-4437-FDF2F0780899}"/>
                    </a:ext>
                  </a:extLst>
                </p:cNvPr>
                <p:cNvSpPr/>
                <p:nvPr/>
              </p:nvSpPr>
              <p:spPr bwMode="gray">
                <a:xfrm>
                  <a:off x="3431" y="2442"/>
                  <a:ext cx="16" cy="17"/>
                </a:xfrm>
                <a:custGeom>
                  <a:avLst/>
                  <a:gdLst>
                    <a:gd name="T0" fmla="*/ 0 w 24"/>
                    <a:gd name="T1" fmla="*/ 6 h 24"/>
                    <a:gd name="T2" fmla="*/ 0 w 24"/>
                    <a:gd name="T3" fmla="*/ 3 h 24"/>
                    <a:gd name="T4" fmla="*/ 2 w 24"/>
                    <a:gd name="T5" fmla="*/ 0 h 24"/>
                    <a:gd name="T6" fmla="*/ 7 w 24"/>
                    <a:gd name="T7" fmla="*/ 0 h 24"/>
                    <a:gd name="T8" fmla="*/ 5 w 24"/>
                    <a:gd name="T9" fmla="*/ 3 h 24"/>
                    <a:gd name="T10" fmla="*/ 5 w 24"/>
                    <a:gd name="T11" fmla="*/ 6 h 24"/>
                    <a:gd name="T12" fmla="*/ 7 w 24"/>
                    <a:gd name="T13" fmla="*/ 9 h 24"/>
                    <a:gd name="T14" fmla="*/ 5 w 24"/>
                    <a:gd name="T15" fmla="*/ 9 h 24"/>
                    <a:gd name="T16" fmla="*/ 0 w 24"/>
                    <a:gd name="T17" fmla="*/ 6 h 2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4"/>
                    <a:gd name="T28" fmla="*/ 0 h 24"/>
                    <a:gd name="T29" fmla="*/ 24 w 24"/>
                    <a:gd name="T30" fmla="*/ 24 h 2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4" h="24">
                      <a:moveTo>
                        <a:pt x="0" y="16"/>
                      </a:move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24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95" name="Freeform 342">
                  <a:extLst>
                    <a:ext uri="{FF2B5EF4-FFF2-40B4-BE49-F238E27FC236}">
                      <a16:creationId xmlns:a16="http://schemas.microsoft.com/office/drawing/2014/main" id="{1D9A4D8A-6ADC-391A-E6F3-A0DEC92044CC}"/>
                    </a:ext>
                  </a:extLst>
                </p:cNvPr>
                <p:cNvSpPr/>
                <p:nvPr/>
              </p:nvSpPr>
              <p:spPr bwMode="gray">
                <a:xfrm>
                  <a:off x="3267" y="2335"/>
                  <a:ext cx="17" cy="51"/>
                </a:xfrm>
                <a:custGeom>
                  <a:avLst/>
                  <a:gdLst>
                    <a:gd name="T0" fmla="*/ 6 w 24"/>
                    <a:gd name="T1" fmla="*/ 23 h 72"/>
                    <a:gd name="T2" fmla="*/ 3 w 24"/>
                    <a:gd name="T3" fmla="*/ 23 h 72"/>
                    <a:gd name="T4" fmla="*/ 0 w 24"/>
                    <a:gd name="T5" fmla="*/ 26 h 72"/>
                    <a:gd name="T6" fmla="*/ 0 w 24"/>
                    <a:gd name="T7" fmla="*/ 23 h 72"/>
                    <a:gd name="T8" fmla="*/ 0 w 24"/>
                    <a:gd name="T9" fmla="*/ 20 h 72"/>
                    <a:gd name="T10" fmla="*/ 3 w 24"/>
                    <a:gd name="T11" fmla="*/ 6 h 72"/>
                    <a:gd name="T12" fmla="*/ 9 w 24"/>
                    <a:gd name="T13" fmla="*/ 0 h 72"/>
                    <a:gd name="T14" fmla="*/ 9 w 24"/>
                    <a:gd name="T15" fmla="*/ 3 h 72"/>
                    <a:gd name="T16" fmla="*/ 9 w 24"/>
                    <a:gd name="T17" fmla="*/ 8 h 72"/>
                    <a:gd name="T18" fmla="*/ 9 w 24"/>
                    <a:gd name="T19" fmla="*/ 14 h 72"/>
                    <a:gd name="T20" fmla="*/ 6 w 24"/>
                    <a:gd name="T21" fmla="*/ 17 h 72"/>
                    <a:gd name="T22" fmla="*/ 6 w 24"/>
                    <a:gd name="T23" fmla="*/ 20 h 72"/>
                    <a:gd name="T24" fmla="*/ 6 w 24"/>
                    <a:gd name="T25" fmla="*/ 23 h 7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4"/>
                    <a:gd name="T40" fmla="*/ 0 h 72"/>
                    <a:gd name="T41" fmla="*/ 24 w 24"/>
                    <a:gd name="T42" fmla="*/ 72 h 7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4" h="72">
                      <a:moveTo>
                        <a:pt x="16" y="64"/>
                      </a:move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0" y="64"/>
                      </a:lnTo>
                      <a:lnTo>
                        <a:pt x="0" y="56"/>
                      </a:lnTo>
                      <a:lnTo>
                        <a:pt x="8" y="16"/>
                      </a:lnTo>
                      <a:lnTo>
                        <a:pt x="24" y="0"/>
                      </a:ln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24" y="40"/>
                      </a:lnTo>
                      <a:lnTo>
                        <a:pt x="16" y="48"/>
                      </a:lnTo>
                      <a:lnTo>
                        <a:pt x="16" y="56"/>
                      </a:lnTo>
                      <a:lnTo>
                        <a:pt x="16" y="6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96" name="Freeform 343">
                  <a:extLst>
                    <a:ext uri="{FF2B5EF4-FFF2-40B4-BE49-F238E27FC236}">
                      <a16:creationId xmlns:a16="http://schemas.microsoft.com/office/drawing/2014/main" id="{A6707D23-097D-C41D-821C-05CA571E5504}"/>
                    </a:ext>
                  </a:extLst>
                </p:cNvPr>
                <p:cNvSpPr/>
                <p:nvPr/>
              </p:nvSpPr>
              <p:spPr bwMode="gray">
                <a:xfrm>
                  <a:off x="3391" y="2273"/>
                  <a:ext cx="276" cy="248"/>
                </a:xfrm>
                <a:custGeom>
                  <a:avLst/>
                  <a:gdLst>
                    <a:gd name="T0" fmla="*/ 123 w 392"/>
                    <a:gd name="T1" fmla="*/ 120 h 352"/>
                    <a:gd name="T2" fmla="*/ 115 w 392"/>
                    <a:gd name="T3" fmla="*/ 120 h 352"/>
                    <a:gd name="T4" fmla="*/ 103 w 392"/>
                    <a:gd name="T5" fmla="*/ 120 h 352"/>
                    <a:gd name="T6" fmla="*/ 95 w 392"/>
                    <a:gd name="T7" fmla="*/ 115 h 352"/>
                    <a:gd name="T8" fmla="*/ 92 w 392"/>
                    <a:gd name="T9" fmla="*/ 106 h 352"/>
                    <a:gd name="T10" fmla="*/ 87 w 392"/>
                    <a:gd name="T11" fmla="*/ 106 h 352"/>
                    <a:gd name="T12" fmla="*/ 70 w 392"/>
                    <a:gd name="T13" fmla="*/ 109 h 352"/>
                    <a:gd name="T14" fmla="*/ 65 w 392"/>
                    <a:gd name="T15" fmla="*/ 106 h 352"/>
                    <a:gd name="T16" fmla="*/ 56 w 392"/>
                    <a:gd name="T17" fmla="*/ 101 h 352"/>
                    <a:gd name="T18" fmla="*/ 50 w 392"/>
                    <a:gd name="T19" fmla="*/ 95 h 352"/>
                    <a:gd name="T20" fmla="*/ 44 w 392"/>
                    <a:gd name="T21" fmla="*/ 84 h 352"/>
                    <a:gd name="T22" fmla="*/ 34 w 392"/>
                    <a:gd name="T23" fmla="*/ 81 h 352"/>
                    <a:gd name="T24" fmla="*/ 25 w 392"/>
                    <a:gd name="T25" fmla="*/ 78 h 352"/>
                    <a:gd name="T26" fmla="*/ 23 w 392"/>
                    <a:gd name="T27" fmla="*/ 61 h 352"/>
                    <a:gd name="T28" fmla="*/ 8 w 392"/>
                    <a:gd name="T29" fmla="*/ 50 h 352"/>
                    <a:gd name="T30" fmla="*/ 14 w 392"/>
                    <a:gd name="T31" fmla="*/ 34 h 352"/>
                    <a:gd name="T32" fmla="*/ 3 w 392"/>
                    <a:gd name="T33" fmla="*/ 23 h 352"/>
                    <a:gd name="T34" fmla="*/ 0 w 392"/>
                    <a:gd name="T35" fmla="*/ 3 h 352"/>
                    <a:gd name="T36" fmla="*/ 11 w 392"/>
                    <a:gd name="T37" fmla="*/ 6 h 352"/>
                    <a:gd name="T38" fmla="*/ 19 w 392"/>
                    <a:gd name="T39" fmla="*/ 3 h 352"/>
                    <a:gd name="T40" fmla="*/ 27 w 392"/>
                    <a:gd name="T41" fmla="*/ 3 h 352"/>
                    <a:gd name="T42" fmla="*/ 34 w 392"/>
                    <a:gd name="T43" fmla="*/ 14 h 352"/>
                    <a:gd name="T44" fmla="*/ 42 w 392"/>
                    <a:gd name="T45" fmla="*/ 19 h 352"/>
                    <a:gd name="T46" fmla="*/ 50 w 392"/>
                    <a:gd name="T47" fmla="*/ 27 h 352"/>
                    <a:gd name="T48" fmla="*/ 67 w 392"/>
                    <a:gd name="T49" fmla="*/ 25 h 352"/>
                    <a:gd name="T50" fmla="*/ 73 w 392"/>
                    <a:gd name="T51" fmla="*/ 19 h 352"/>
                    <a:gd name="T52" fmla="*/ 84 w 392"/>
                    <a:gd name="T53" fmla="*/ 11 h 352"/>
                    <a:gd name="T54" fmla="*/ 103 w 392"/>
                    <a:gd name="T55" fmla="*/ 17 h 352"/>
                    <a:gd name="T56" fmla="*/ 123 w 392"/>
                    <a:gd name="T57" fmla="*/ 27 h 352"/>
                    <a:gd name="T58" fmla="*/ 123 w 392"/>
                    <a:gd name="T59" fmla="*/ 42 h 352"/>
                    <a:gd name="T60" fmla="*/ 120 w 392"/>
                    <a:gd name="T61" fmla="*/ 61 h 352"/>
                    <a:gd name="T62" fmla="*/ 120 w 392"/>
                    <a:gd name="T63" fmla="*/ 70 h 352"/>
                    <a:gd name="T64" fmla="*/ 125 w 392"/>
                    <a:gd name="T65" fmla="*/ 73 h 352"/>
                    <a:gd name="T66" fmla="*/ 120 w 392"/>
                    <a:gd name="T67" fmla="*/ 84 h 352"/>
                    <a:gd name="T68" fmla="*/ 134 w 392"/>
                    <a:gd name="T69" fmla="*/ 101 h 352"/>
                    <a:gd name="T70" fmla="*/ 137 w 392"/>
                    <a:gd name="T71" fmla="*/ 106 h 352"/>
                    <a:gd name="T72" fmla="*/ 128 w 392"/>
                    <a:gd name="T73" fmla="*/ 115 h 352"/>
                    <a:gd name="T74" fmla="*/ 125 w 392"/>
                    <a:gd name="T75" fmla="*/ 123 h 352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92"/>
                    <a:gd name="T115" fmla="*/ 0 h 352"/>
                    <a:gd name="T116" fmla="*/ 392 w 392"/>
                    <a:gd name="T117" fmla="*/ 352 h 352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92" h="352">
                      <a:moveTo>
                        <a:pt x="360" y="352"/>
                      </a:moveTo>
                      <a:lnTo>
                        <a:pt x="352" y="344"/>
                      </a:lnTo>
                      <a:lnTo>
                        <a:pt x="336" y="344"/>
                      </a:lnTo>
                      <a:lnTo>
                        <a:pt x="328" y="344"/>
                      </a:lnTo>
                      <a:lnTo>
                        <a:pt x="312" y="344"/>
                      </a:lnTo>
                      <a:lnTo>
                        <a:pt x="296" y="344"/>
                      </a:lnTo>
                      <a:lnTo>
                        <a:pt x="280" y="336"/>
                      </a:lnTo>
                      <a:lnTo>
                        <a:pt x="272" y="328"/>
                      </a:lnTo>
                      <a:lnTo>
                        <a:pt x="272" y="320"/>
                      </a:lnTo>
                      <a:lnTo>
                        <a:pt x="264" y="304"/>
                      </a:lnTo>
                      <a:lnTo>
                        <a:pt x="256" y="304"/>
                      </a:lnTo>
                      <a:lnTo>
                        <a:pt x="248" y="304"/>
                      </a:lnTo>
                      <a:lnTo>
                        <a:pt x="240" y="312"/>
                      </a:lnTo>
                      <a:lnTo>
                        <a:pt x="200" y="312"/>
                      </a:lnTo>
                      <a:lnTo>
                        <a:pt x="192" y="312"/>
                      </a:lnTo>
                      <a:lnTo>
                        <a:pt x="184" y="304"/>
                      </a:lnTo>
                      <a:lnTo>
                        <a:pt x="168" y="288"/>
                      </a:lnTo>
                      <a:lnTo>
                        <a:pt x="160" y="288"/>
                      </a:lnTo>
                      <a:lnTo>
                        <a:pt x="144" y="280"/>
                      </a:lnTo>
                      <a:lnTo>
                        <a:pt x="144" y="272"/>
                      </a:lnTo>
                      <a:lnTo>
                        <a:pt x="136" y="256"/>
                      </a:lnTo>
                      <a:lnTo>
                        <a:pt x="128" y="240"/>
                      </a:lnTo>
                      <a:lnTo>
                        <a:pt x="120" y="232"/>
                      </a:lnTo>
                      <a:lnTo>
                        <a:pt x="96" y="232"/>
                      </a:lnTo>
                      <a:lnTo>
                        <a:pt x="88" y="232"/>
                      </a:lnTo>
                      <a:lnTo>
                        <a:pt x="72" y="224"/>
                      </a:lnTo>
                      <a:lnTo>
                        <a:pt x="80" y="192"/>
                      </a:lnTo>
                      <a:lnTo>
                        <a:pt x="64" y="176"/>
                      </a:lnTo>
                      <a:lnTo>
                        <a:pt x="48" y="168"/>
                      </a:lnTo>
                      <a:lnTo>
                        <a:pt x="24" y="144"/>
                      </a:lnTo>
                      <a:lnTo>
                        <a:pt x="48" y="104"/>
                      </a:lnTo>
                      <a:lnTo>
                        <a:pt x="40" y="96"/>
                      </a:lnTo>
                      <a:lnTo>
                        <a:pt x="24" y="96"/>
                      </a:lnTo>
                      <a:lnTo>
                        <a:pt x="8" y="64"/>
                      </a:lnTo>
                      <a:lnTo>
                        <a:pt x="8" y="48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32" y="16"/>
                      </a:lnTo>
                      <a:lnTo>
                        <a:pt x="48" y="8"/>
                      </a:lnTo>
                      <a:lnTo>
                        <a:pt x="56" y="8"/>
                      </a:lnTo>
                      <a:lnTo>
                        <a:pt x="80" y="0"/>
                      </a:lnTo>
                      <a:lnTo>
                        <a:pt x="80" y="8"/>
                      </a:lnTo>
                      <a:lnTo>
                        <a:pt x="80" y="24"/>
                      </a:lnTo>
                      <a:lnTo>
                        <a:pt x="96" y="40"/>
                      </a:lnTo>
                      <a:lnTo>
                        <a:pt x="104" y="48"/>
                      </a:lnTo>
                      <a:lnTo>
                        <a:pt x="120" y="56"/>
                      </a:lnTo>
                      <a:lnTo>
                        <a:pt x="128" y="64"/>
                      </a:lnTo>
                      <a:lnTo>
                        <a:pt x="144" y="80"/>
                      </a:lnTo>
                      <a:lnTo>
                        <a:pt x="176" y="72"/>
                      </a:lnTo>
                      <a:lnTo>
                        <a:pt x="192" y="72"/>
                      </a:lnTo>
                      <a:lnTo>
                        <a:pt x="208" y="64"/>
                      </a:lnTo>
                      <a:lnTo>
                        <a:pt x="208" y="56"/>
                      </a:lnTo>
                      <a:lnTo>
                        <a:pt x="224" y="56"/>
                      </a:lnTo>
                      <a:lnTo>
                        <a:pt x="240" y="32"/>
                      </a:lnTo>
                      <a:lnTo>
                        <a:pt x="288" y="40"/>
                      </a:lnTo>
                      <a:lnTo>
                        <a:pt x="296" y="48"/>
                      </a:lnTo>
                      <a:lnTo>
                        <a:pt x="312" y="48"/>
                      </a:lnTo>
                      <a:lnTo>
                        <a:pt x="352" y="80"/>
                      </a:lnTo>
                      <a:lnTo>
                        <a:pt x="352" y="96"/>
                      </a:lnTo>
                      <a:lnTo>
                        <a:pt x="352" y="120"/>
                      </a:lnTo>
                      <a:lnTo>
                        <a:pt x="336" y="136"/>
                      </a:lnTo>
                      <a:lnTo>
                        <a:pt x="344" y="176"/>
                      </a:lnTo>
                      <a:lnTo>
                        <a:pt x="336" y="192"/>
                      </a:lnTo>
                      <a:lnTo>
                        <a:pt x="344" y="200"/>
                      </a:lnTo>
                      <a:lnTo>
                        <a:pt x="352" y="192"/>
                      </a:lnTo>
                      <a:lnTo>
                        <a:pt x="360" y="208"/>
                      </a:lnTo>
                      <a:lnTo>
                        <a:pt x="352" y="224"/>
                      </a:lnTo>
                      <a:lnTo>
                        <a:pt x="344" y="240"/>
                      </a:lnTo>
                      <a:lnTo>
                        <a:pt x="344" y="256"/>
                      </a:lnTo>
                      <a:lnTo>
                        <a:pt x="384" y="288"/>
                      </a:lnTo>
                      <a:lnTo>
                        <a:pt x="376" y="296"/>
                      </a:lnTo>
                      <a:lnTo>
                        <a:pt x="392" y="304"/>
                      </a:lnTo>
                      <a:lnTo>
                        <a:pt x="392" y="312"/>
                      </a:lnTo>
                      <a:lnTo>
                        <a:pt x="368" y="328"/>
                      </a:lnTo>
                      <a:lnTo>
                        <a:pt x="360" y="344"/>
                      </a:lnTo>
                      <a:lnTo>
                        <a:pt x="360" y="35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97" name="Freeform 344">
                  <a:extLst>
                    <a:ext uri="{FF2B5EF4-FFF2-40B4-BE49-F238E27FC236}">
                      <a16:creationId xmlns:a16="http://schemas.microsoft.com/office/drawing/2014/main" id="{5DFFA70D-1470-4F8B-F75E-72F7AC96BCB4}"/>
                    </a:ext>
                  </a:extLst>
                </p:cNvPr>
                <p:cNvSpPr/>
                <p:nvPr/>
              </p:nvSpPr>
              <p:spPr bwMode="gray">
                <a:xfrm>
                  <a:off x="3262" y="2402"/>
                  <a:ext cx="5" cy="17"/>
                </a:xfrm>
                <a:custGeom>
                  <a:avLst/>
                  <a:gdLst>
                    <a:gd name="T0" fmla="*/ 2 w 8"/>
                    <a:gd name="T1" fmla="*/ 0 h 24"/>
                    <a:gd name="T2" fmla="*/ 2 w 8"/>
                    <a:gd name="T3" fmla="*/ 9 h 24"/>
                    <a:gd name="T4" fmla="*/ 0 w 8"/>
                    <a:gd name="T5" fmla="*/ 6 h 24"/>
                    <a:gd name="T6" fmla="*/ 0 w 8"/>
                    <a:gd name="T7" fmla="*/ 3 h 24"/>
                    <a:gd name="T8" fmla="*/ 0 w 8"/>
                    <a:gd name="T9" fmla="*/ 0 h 24"/>
                    <a:gd name="T10" fmla="*/ 2 w 8"/>
                    <a:gd name="T11" fmla="*/ 0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24"/>
                    <a:gd name="T20" fmla="*/ 8 w 8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24">
                      <a:moveTo>
                        <a:pt x="8" y="0"/>
                      </a:moveTo>
                      <a:lnTo>
                        <a:pt x="8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98" name="Freeform 345">
                  <a:extLst>
                    <a:ext uri="{FF2B5EF4-FFF2-40B4-BE49-F238E27FC236}">
                      <a16:creationId xmlns:a16="http://schemas.microsoft.com/office/drawing/2014/main" id="{882B05F7-18E8-B75E-BBB4-8CFDA48BBED9}"/>
                    </a:ext>
                  </a:extLst>
                </p:cNvPr>
                <p:cNvSpPr/>
                <p:nvPr/>
              </p:nvSpPr>
              <p:spPr bwMode="gray">
                <a:xfrm>
                  <a:off x="3256" y="2386"/>
                  <a:ext cx="68" cy="67"/>
                </a:xfrm>
                <a:custGeom>
                  <a:avLst/>
                  <a:gdLst>
                    <a:gd name="T0" fmla="*/ 6 w 96"/>
                    <a:gd name="T1" fmla="*/ 17 h 96"/>
                    <a:gd name="T2" fmla="*/ 6 w 96"/>
                    <a:gd name="T3" fmla="*/ 8 h 96"/>
                    <a:gd name="T4" fmla="*/ 9 w 96"/>
                    <a:gd name="T5" fmla="*/ 8 h 96"/>
                    <a:gd name="T6" fmla="*/ 14 w 96"/>
                    <a:gd name="T7" fmla="*/ 8 h 96"/>
                    <a:gd name="T8" fmla="*/ 23 w 96"/>
                    <a:gd name="T9" fmla="*/ 3 h 96"/>
                    <a:gd name="T10" fmla="*/ 28 w 96"/>
                    <a:gd name="T11" fmla="*/ 0 h 96"/>
                    <a:gd name="T12" fmla="*/ 34 w 96"/>
                    <a:gd name="T13" fmla="*/ 8 h 96"/>
                    <a:gd name="T14" fmla="*/ 31 w 96"/>
                    <a:gd name="T15" fmla="*/ 10 h 96"/>
                    <a:gd name="T16" fmla="*/ 17 w 96"/>
                    <a:gd name="T17" fmla="*/ 10 h 96"/>
                    <a:gd name="T18" fmla="*/ 23 w 96"/>
                    <a:gd name="T19" fmla="*/ 24 h 96"/>
                    <a:gd name="T20" fmla="*/ 20 w 96"/>
                    <a:gd name="T21" fmla="*/ 27 h 96"/>
                    <a:gd name="T22" fmla="*/ 14 w 96"/>
                    <a:gd name="T23" fmla="*/ 27 h 96"/>
                    <a:gd name="T24" fmla="*/ 9 w 96"/>
                    <a:gd name="T25" fmla="*/ 33 h 96"/>
                    <a:gd name="T26" fmla="*/ 0 w 96"/>
                    <a:gd name="T27" fmla="*/ 33 h 96"/>
                    <a:gd name="T28" fmla="*/ 0 w 96"/>
                    <a:gd name="T29" fmla="*/ 30 h 96"/>
                    <a:gd name="T30" fmla="*/ 3 w 96"/>
                    <a:gd name="T31" fmla="*/ 22 h 96"/>
                    <a:gd name="T32" fmla="*/ 6 w 96"/>
                    <a:gd name="T33" fmla="*/ 17 h 9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96"/>
                    <a:gd name="T52" fmla="*/ 0 h 96"/>
                    <a:gd name="T53" fmla="*/ 96 w 96"/>
                    <a:gd name="T54" fmla="*/ 96 h 9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96" h="96">
                      <a:moveTo>
                        <a:pt x="16" y="48"/>
                      </a:move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40" y="24"/>
                      </a:lnTo>
                      <a:lnTo>
                        <a:pt x="64" y="8"/>
                      </a:lnTo>
                      <a:lnTo>
                        <a:pt x="80" y="0"/>
                      </a:lnTo>
                      <a:lnTo>
                        <a:pt x="96" y="24"/>
                      </a:lnTo>
                      <a:lnTo>
                        <a:pt x="88" y="32"/>
                      </a:lnTo>
                      <a:lnTo>
                        <a:pt x="48" y="32"/>
                      </a:lnTo>
                      <a:lnTo>
                        <a:pt x="64" y="72"/>
                      </a:lnTo>
                      <a:lnTo>
                        <a:pt x="56" y="80"/>
                      </a:lnTo>
                      <a:lnTo>
                        <a:pt x="40" y="80"/>
                      </a:lnTo>
                      <a:lnTo>
                        <a:pt x="24" y="96"/>
                      </a:lnTo>
                      <a:lnTo>
                        <a:pt x="0" y="96"/>
                      </a:lnTo>
                      <a:lnTo>
                        <a:pt x="0" y="88"/>
                      </a:lnTo>
                      <a:lnTo>
                        <a:pt x="8" y="64"/>
                      </a:lnTo>
                      <a:lnTo>
                        <a:pt x="16" y="48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99" name="Freeform 346">
                  <a:extLst>
                    <a:ext uri="{FF2B5EF4-FFF2-40B4-BE49-F238E27FC236}">
                      <a16:creationId xmlns:a16="http://schemas.microsoft.com/office/drawing/2014/main" id="{88C5BA71-B199-4EB6-E4EA-24A8380D2765}"/>
                    </a:ext>
                  </a:extLst>
                </p:cNvPr>
                <p:cNvSpPr/>
                <p:nvPr/>
              </p:nvSpPr>
              <p:spPr bwMode="gray">
                <a:xfrm>
                  <a:off x="3256" y="2402"/>
                  <a:ext cx="304" cy="259"/>
                </a:xfrm>
                <a:custGeom>
                  <a:avLst/>
                  <a:gdLst>
                    <a:gd name="T0" fmla="*/ 145 w 432"/>
                    <a:gd name="T1" fmla="*/ 78 h 368"/>
                    <a:gd name="T2" fmla="*/ 125 w 432"/>
                    <a:gd name="T3" fmla="*/ 75 h 368"/>
                    <a:gd name="T4" fmla="*/ 120 w 432"/>
                    <a:gd name="T5" fmla="*/ 70 h 368"/>
                    <a:gd name="T6" fmla="*/ 123 w 432"/>
                    <a:gd name="T7" fmla="*/ 67 h 368"/>
                    <a:gd name="T8" fmla="*/ 120 w 432"/>
                    <a:gd name="T9" fmla="*/ 64 h 368"/>
                    <a:gd name="T10" fmla="*/ 117 w 432"/>
                    <a:gd name="T11" fmla="*/ 64 h 368"/>
                    <a:gd name="T12" fmla="*/ 115 w 432"/>
                    <a:gd name="T13" fmla="*/ 58 h 368"/>
                    <a:gd name="T14" fmla="*/ 109 w 432"/>
                    <a:gd name="T15" fmla="*/ 53 h 368"/>
                    <a:gd name="T16" fmla="*/ 109 w 432"/>
                    <a:gd name="T17" fmla="*/ 44 h 368"/>
                    <a:gd name="T18" fmla="*/ 106 w 432"/>
                    <a:gd name="T19" fmla="*/ 44 h 368"/>
                    <a:gd name="T20" fmla="*/ 103 w 432"/>
                    <a:gd name="T21" fmla="*/ 36 h 368"/>
                    <a:gd name="T22" fmla="*/ 101 w 432"/>
                    <a:gd name="T23" fmla="*/ 34 h 368"/>
                    <a:gd name="T24" fmla="*/ 98 w 432"/>
                    <a:gd name="T25" fmla="*/ 31 h 368"/>
                    <a:gd name="T26" fmla="*/ 94 w 432"/>
                    <a:gd name="T27" fmla="*/ 27 h 368"/>
                    <a:gd name="T28" fmla="*/ 92 w 432"/>
                    <a:gd name="T29" fmla="*/ 27 h 368"/>
                    <a:gd name="T30" fmla="*/ 87 w 432"/>
                    <a:gd name="T31" fmla="*/ 25 h 368"/>
                    <a:gd name="T32" fmla="*/ 75 w 432"/>
                    <a:gd name="T33" fmla="*/ 27 h 368"/>
                    <a:gd name="T34" fmla="*/ 61 w 432"/>
                    <a:gd name="T35" fmla="*/ 23 h 368"/>
                    <a:gd name="T36" fmla="*/ 61 w 432"/>
                    <a:gd name="T37" fmla="*/ 14 h 368"/>
                    <a:gd name="T38" fmla="*/ 53 w 432"/>
                    <a:gd name="T39" fmla="*/ 8 h 368"/>
                    <a:gd name="T40" fmla="*/ 42 w 432"/>
                    <a:gd name="T41" fmla="*/ 3 h 368"/>
                    <a:gd name="T42" fmla="*/ 34 w 432"/>
                    <a:gd name="T43" fmla="*/ 0 h 368"/>
                    <a:gd name="T44" fmla="*/ 31 w 432"/>
                    <a:gd name="T45" fmla="*/ 3 h 368"/>
                    <a:gd name="T46" fmla="*/ 17 w 432"/>
                    <a:gd name="T47" fmla="*/ 3 h 368"/>
                    <a:gd name="T48" fmla="*/ 23 w 432"/>
                    <a:gd name="T49" fmla="*/ 17 h 368"/>
                    <a:gd name="T50" fmla="*/ 19 w 432"/>
                    <a:gd name="T51" fmla="*/ 19 h 368"/>
                    <a:gd name="T52" fmla="*/ 14 w 432"/>
                    <a:gd name="T53" fmla="*/ 19 h 368"/>
                    <a:gd name="T54" fmla="*/ 8 w 432"/>
                    <a:gd name="T55" fmla="*/ 25 h 368"/>
                    <a:gd name="T56" fmla="*/ 0 w 432"/>
                    <a:gd name="T57" fmla="*/ 25 h 368"/>
                    <a:gd name="T58" fmla="*/ 0 w 432"/>
                    <a:gd name="T59" fmla="*/ 36 h 368"/>
                    <a:gd name="T60" fmla="*/ 6 w 432"/>
                    <a:gd name="T61" fmla="*/ 36 h 368"/>
                    <a:gd name="T62" fmla="*/ 6 w 432"/>
                    <a:gd name="T63" fmla="*/ 39 h 368"/>
                    <a:gd name="T64" fmla="*/ 8 w 432"/>
                    <a:gd name="T65" fmla="*/ 48 h 368"/>
                    <a:gd name="T66" fmla="*/ 11 w 432"/>
                    <a:gd name="T67" fmla="*/ 50 h 368"/>
                    <a:gd name="T68" fmla="*/ 17 w 432"/>
                    <a:gd name="T69" fmla="*/ 56 h 368"/>
                    <a:gd name="T70" fmla="*/ 17 w 432"/>
                    <a:gd name="T71" fmla="*/ 61 h 368"/>
                    <a:gd name="T72" fmla="*/ 19 w 432"/>
                    <a:gd name="T73" fmla="*/ 67 h 368"/>
                    <a:gd name="T74" fmla="*/ 23 w 432"/>
                    <a:gd name="T75" fmla="*/ 70 h 368"/>
                    <a:gd name="T76" fmla="*/ 27 w 432"/>
                    <a:gd name="T77" fmla="*/ 72 h 368"/>
                    <a:gd name="T78" fmla="*/ 31 w 432"/>
                    <a:gd name="T79" fmla="*/ 78 h 368"/>
                    <a:gd name="T80" fmla="*/ 31 w 432"/>
                    <a:gd name="T81" fmla="*/ 87 h 368"/>
                    <a:gd name="T82" fmla="*/ 34 w 432"/>
                    <a:gd name="T83" fmla="*/ 92 h 368"/>
                    <a:gd name="T84" fmla="*/ 36 w 432"/>
                    <a:gd name="T85" fmla="*/ 94 h 368"/>
                    <a:gd name="T86" fmla="*/ 42 w 432"/>
                    <a:gd name="T87" fmla="*/ 98 h 368"/>
                    <a:gd name="T88" fmla="*/ 42 w 432"/>
                    <a:gd name="T89" fmla="*/ 101 h 368"/>
                    <a:gd name="T90" fmla="*/ 48 w 432"/>
                    <a:gd name="T91" fmla="*/ 111 h 368"/>
                    <a:gd name="T92" fmla="*/ 50 w 432"/>
                    <a:gd name="T93" fmla="*/ 115 h 368"/>
                    <a:gd name="T94" fmla="*/ 56 w 432"/>
                    <a:gd name="T95" fmla="*/ 120 h 368"/>
                    <a:gd name="T96" fmla="*/ 61 w 432"/>
                    <a:gd name="T97" fmla="*/ 117 h 368"/>
                    <a:gd name="T98" fmla="*/ 78 w 432"/>
                    <a:gd name="T99" fmla="*/ 120 h 368"/>
                    <a:gd name="T100" fmla="*/ 84 w 432"/>
                    <a:gd name="T101" fmla="*/ 128 h 368"/>
                    <a:gd name="T102" fmla="*/ 101 w 432"/>
                    <a:gd name="T103" fmla="*/ 109 h 368"/>
                    <a:gd name="T104" fmla="*/ 125 w 432"/>
                    <a:gd name="T105" fmla="*/ 103 h 368"/>
                    <a:gd name="T106" fmla="*/ 142 w 432"/>
                    <a:gd name="T107" fmla="*/ 98 h 368"/>
                    <a:gd name="T108" fmla="*/ 148 w 432"/>
                    <a:gd name="T109" fmla="*/ 98 h 368"/>
                    <a:gd name="T110" fmla="*/ 151 w 432"/>
                    <a:gd name="T111" fmla="*/ 81 h 368"/>
                    <a:gd name="T112" fmla="*/ 145 w 432"/>
                    <a:gd name="T113" fmla="*/ 78 h 368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432"/>
                    <a:gd name="T172" fmla="*/ 0 h 368"/>
                    <a:gd name="T173" fmla="*/ 432 w 432"/>
                    <a:gd name="T174" fmla="*/ 368 h 368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432" h="368">
                      <a:moveTo>
                        <a:pt x="416" y="224"/>
                      </a:moveTo>
                      <a:lnTo>
                        <a:pt x="360" y="216"/>
                      </a:lnTo>
                      <a:lnTo>
                        <a:pt x="344" y="200"/>
                      </a:lnTo>
                      <a:lnTo>
                        <a:pt x="352" y="192"/>
                      </a:lnTo>
                      <a:lnTo>
                        <a:pt x="344" y="184"/>
                      </a:lnTo>
                      <a:lnTo>
                        <a:pt x="336" y="184"/>
                      </a:lnTo>
                      <a:lnTo>
                        <a:pt x="328" y="168"/>
                      </a:lnTo>
                      <a:lnTo>
                        <a:pt x="312" y="152"/>
                      </a:lnTo>
                      <a:lnTo>
                        <a:pt x="312" y="128"/>
                      </a:lnTo>
                      <a:lnTo>
                        <a:pt x="304" y="128"/>
                      </a:lnTo>
                      <a:lnTo>
                        <a:pt x="296" y="104"/>
                      </a:lnTo>
                      <a:lnTo>
                        <a:pt x="288" y="96"/>
                      </a:lnTo>
                      <a:lnTo>
                        <a:pt x="280" y="88"/>
                      </a:lnTo>
                      <a:lnTo>
                        <a:pt x="272" y="80"/>
                      </a:lnTo>
                      <a:lnTo>
                        <a:pt x="264" y="80"/>
                      </a:lnTo>
                      <a:lnTo>
                        <a:pt x="248" y="72"/>
                      </a:lnTo>
                      <a:lnTo>
                        <a:pt x="216" y="80"/>
                      </a:lnTo>
                      <a:lnTo>
                        <a:pt x="176" y="64"/>
                      </a:lnTo>
                      <a:lnTo>
                        <a:pt x="176" y="40"/>
                      </a:lnTo>
                      <a:lnTo>
                        <a:pt x="152" y="24"/>
                      </a:lnTo>
                      <a:lnTo>
                        <a:pt x="120" y="8"/>
                      </a:lnTo>
                      <a:lnTo>
                        <a:pt x="96" y="0"/>
                      </a:lnTo>
                      <a:lnTo>
                        <a:pt x="88" y="8"/>
                      </a:lnTo>
                      <a:lnTo>
                        <a:pt x="48" y="8"/>
                      </a:lnTo>
                      <a:lnTo>
                        <a:pt x="64" y="48"/>
                      </a:lnTo>
                      <a:lnTo>
                        <a:pt x="56" y="56"/>
                      </a:lnTo>
                      <a:lnTo>
                        <a:pt x="40" y="56"/>
                      </a:lnTo>
                      <a:lnTo>
                        <a:pt x="24" y="72"/>
                      </a:lnTo>
                      <a:lnTo>
                        <a:pt x="0" y="72"/>
                      </a:lnTo>
                      <a:lnTo>
                        <a:pt x="0" y="104"/>
                      </a:lnTo>
                      <a:lnTo>
                        <a:pt x="16" y="104"/>
                      </a:lnTo>
                      <a:lnTo>
                        <a:pt x="16" y="112"/>
                      </a:lnTo>
                      <a:lnTo>
                        <a:pt x="24" y="136"/>
                      </a:lnTo>
                      <a:lnTo>
                        <a:pt x="32" y="144"/>
                      </a:lnTo>
                      <a:lnTo>
                        <a:pt x="48" y="160"/>
                      </a:lnTo>
                      <a:lnTo>
                        <a:pt x="48" y="176"/>
                      </a:lnTo>
                      <a:lnTo>
                        <a:pt x="56" y="192"/>
                      </a:lnTo>
                      <a:lnTo>
                        <a:pt x="64" y="200"/>
                      </a:lnTo>
                      <a:lnTo>
                        <a:pt x="80" y="208"/>
                      </a:lnTo>
                      <a:lnTo>
                        <a:pt x="88" y="224"/>
                      </a:lnTo>
                      <a:lnTo>
                        <a:pt x="88" y="248"/>
                      </a:lnTo>
                      <a:lnTo>
                        <a:pt x="96" y="264"/>
                      </a:lnTo>
                      <a:lnTo>
                        <a:pt x="104" y="272"/>
                      </a:lnTo>
                      <a:lnTo>
                        <a:pt x="120" y="280"/>
                      </a:lnTo>
                      <a:lnTo>
                        <a:pt x="120" y="288"/>
                      </a:lnTo>
                      <a:lnTo>
                        <a:pt x="136" y="320"/>
                      </a:lnTo>
                      <a:lnTo>
                        <a:pt x="144" y="328"/>
                      </a:lnTo>
                      <a:lnTo>
                        <a:pt x="160" y="344"/>
                      </a:lnTo>
                      <a:lnTo>
                        <a:pt x="176" y="336"/>
                      </a:lnTo>
                      <a:lnTo>
                        <a:pt x="224" y="344"/>
                      </a:lnTo>
                      <a:lnTo>
                        <a:pt x="240" y="368"/>
                      </a:lnTo>
                      <a:lnTo>
                        <a:pt x="288" y="312"/>
                      </a:lnTo>
                      <a:lnTo>
                        <a:pt x="360" y="296"/>
                      </a:lnTo>
                      <a:lnTo>
                        <a:pt x="408" y="280"/>
                      </a:lnTo>
                      <a:lnTo>
                        <a:pt x="424" y="280"/>
                      </a:lnTo>
                      <a:lnTo>
                        <a:pt x="432" y="232"/>
                      </a:lnTo>
                      <a:lnTo>
                        <a:pt x="416" y="224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00" name="Freeform 347">
                  <a:extLst>
                    <a:ext uri="{FF2B5EF4-FFF2-40B4-BE49-F238E27FC236}">
                      <a16:creationId xmlns:a16="http://schemas.microsoft.com/office/drawing/2014/main" id="{9DDBB328-AF4C-4ADD-6097-5A165059F478}"/>
                    </a:ext>
                  </a:extLst>
                </p:cNvPr>
                <p:cNvSpPr/>
                <p:nvPr/>
              </p:nvSpPr>
              <p:spPr bwMode="gray">
                <a:xfrm>
                  <a:off x="3369" y="2611"/>
                  <a:ext cx="163" cy="95"/>
                </a:xfrm>
                <a:custGeom>
                  <a:avLst/>
                  <a:gdLst>
                    <a:gd name="T0" fmla="*/ 81 w 232"/>
                    <a:gd name="T1" fmla="*/ 17 h 136"/>
                    <a:gd name="T2" fmla="*/ 77 w 232"/>
                    <a:gd name="T3" fmla="*/ 14 h 136"/>
                    <a:gd name="T4" fmla="*/ 72 w 232"/>
                    <a:gd name="T5" fmla="*/ 10 h 136"/>
                    <a:gd name="T6" fmla="*/ 72 w 232"/>
                    <a:gd name="T7" fmla="*/ 8 h 136"/>
                    <a:gd name="T8" fmla="*/ 70 w 232"/>
                    <a:gd name="T9" fmla="*/ 0 h 136"/>
                    <a:gd name="T10" fmla="*/ 44 w 232"/>
                    <a:gd name="T11" fmla="*/ 6 h 136"/>
                    <a:gd name="T12" fmla="*/ 27 w 232"/>
                    <a:gd name="T13" fmla="*/ 24 h 136"/>
                    <a:gd name="T14" fmla="*/ 22 w 232"/>
                    <a:gd name="T15" fmla="*/ 17 h 136"/>
                    <a:gd name="T16" fmla="*/ 6 w 232"/>
                    <a:gd name="T17" fmla="*/ 14 h 136"/>
                    <a:gd name="T18" fmla="*/ 0 w 232"/>
                    <a:gd name="T19" fmla="*/ 17 h 136"/>
                    <a:gd name="T20" fmla="*/ 0 w 232"/>
                    <a:gd name="T21" fmla="*/ 22 h 136"/>
                    <a:gd name="T22" fmla="*/ 0 w 232"/>
                    <a:gd name="T23" fmla="*/ 27 h 136"/>
                    <a:gd name="T24" fmla="*/ 0 w 232"/>
                    <a:gd name="T25" fmla="*/ 30 h 136"/>
                    <a:gd name="T26" fmla="*/ 3 w 232"/>
                    <a:gd name="T27" fmla="*/ 38 h 136"/>
                    <a:gd name="T28" fmla="*/ 6 w 232"/>
                    <a:gd name="T29" fmla="*/ 43 h 136"/>
                    <a:gd name="T30" fmla="*/ 8 w 232"/>
                    <a:gd name="T31" fmla="*/ 46 h 136"/>
                    <a:gd name="T32" fmla="*/ 19 w 232"/>
                    <a:gd name="T33" fmla="*/ 46 h 136"/>
                    <a:gd name="T34" fmla="*/ 22 w 232"/>
                    <a:gd name="T35" fmla="*/ 43 h 136"/>
                    <a:gd name="T36" fmla="*/ 27 w 232"/>
                    <a:gd name="T37" fmla="*/ 43 h 136"/>
                    <a:gd name="T38" fmla="*/ 31 w 232"/>
                    <a:gd name="T39" fmla="*/ 41 h 136"/>
                    <a:gd name="T40" fmla="*/ 44 w 232"/>
                    <a:gd name="T41" fmla="*/ 36 h 136"/>
                    <a:gd name="T42" fmla="*/ 47 w 232"/>
                    <a:gd name="T43" fmla="*/ 33 h 136"/>
                    <a:gd name="T44" fmla="*/ 50 w 232"/>
                    <a:gd name="T45" fmla="*/ 33 h 136"/>
                    <a:gd name="T46" fmla="*/ 56 w 232"/>
                    <a:gd name="T47" fmla="*/ 30 h 136"/>
                    <a:gd name="T48" fmla="*/ 61 w 232"/>
                    <a:gd name="T49" fmla="*/ 27 h 136"/>
                    <a:gd name="T50" fmla="*/ 67 w 232"/>
                    <a:gd name="T51" fmla="*/ 27 h 136"/>
                    <a:gd name="T52" fmla="*/ 70 w 232"/>
                    <a:gd name="T53" fmla="*/ 24 h 136"/>
                    <a:gd name="T54" fmla="*/ 72 w 232"/>
                    <a:gd name="T55" fmla="*/ 19 h 136"/>
                    <a:gd name="T56" fmla="*/ 81 w 232"/>
                    <a:gd name="T57" fmla="*/ 17 h 1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32"/>
                    <a:gd name="T88" fmla="*/ 0 h 136"/>
                    <a:gd name="T89" fmla="*/ 232 w 232"/>
                    <a:gd name="T90" fmla="*/ 136 h 1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32" h="136">
                      <a:moveTo>
                        <a:pt x="232" y="48"/>
                      </a:moveTo>
                      <a:lnTo>
                        <a:pt x="224" y="40"/>
                      </a:lnTo>
                      <a:lnTo>
                        <a:pt x="208" y="32"/>
                      </a:lnTo>
                      <a:lnTo>
                        <a:pt x="208" y="24"/>
                      </a:lnTo>
                      <a:lnTo>
                        <a:pt x="200" y="0"/>
                      </a:lnTo>
                      <a:lnTo>
                        <a:pt x="128" y="16"/>
                      </a:lnTo>
                      <a:lnTo>
                        <a:pt x="80" y="72"/>
                      </a:lnTo>
                      <a:lnTo>
                        <a:pt x="64" y="48"/>
                      </a:lnTo>
                      <a:lnTo>
                        <a:pt x="16" y="40"/>
                      </a:lnTo>
                      <a:lnTo>
                        <a:pt x="0" y="48"/>
                      </a:lnTo>
                      <a:lnTo>
                        <a:pt x="0" y="64"/>
                      </a:lnTo>
                      <a:lnTo>
                        <a:pt x="0" y="80"/>
                      </a:lnTo>
                      <a:lnTo>
                        <a:pt x="0" y="88"/>
                      </a:lnTo>
                      <a:lnTo>
                        <a:pt x="8" y="112"/>
                      </a:lnTo>
                      <a:lnTo>
                        <a:pt x="16" y="128"/>
                      </a:lnTo>
                      <a:lnTo>
                        <a:pt x="24" y="136"/>
                      </a:lnTo>
                      <a:lnTo>
                        <a:pt x="56" y="136"/>
                      </a:lnTo>
                      <a:lnTo>
                        <a:pt x="64" y="128"/>
                      </a:lnTo>
                      <a:lnTo>
                        <a:pt x="80" y="128"/>
                      </a:lnTo>
                      <a:lnTo>
                        <a:pt x="88" y="120"/>
                      </a:lnTo>
                      <a:lnTo>
                        <a:pt x="128" y="104"/>
                      </a:lnTo>
                      <a:lnTo>
                        <a:pt x="136" y="96"/>
                      </a:lnTo>
                      <a:lnTo>
                        <a:pt x="144" y="96"/>
                      </a:lnTo>
                      <a:lnTo>
                        <a:pt x="160" y="88"/>
                      </a:lnTo>
                      <a:lnTo>
                        <a:pt x="176" y="80"/>
                      </a:lnTo>
                      <a:lnTo>
                        <a:pt x="192" y="80"/>
                      </a:lnTo>
                      <a:lnTo>
                        <a:pt x="200" y="72"/>
                      </a:lnTo>
                      <a:lnTo>
                        <a:pt x="208" y="56"/>
                      </a:lnTo>
                      <a:lnTo>
                        <a:pt x="232" y="4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01" name="Freeform 348">
                  <a:extLst>
                    <a:ext uri="{FF2B5EF4-FFF2-40B4-BE49-F238E27FC236}">
                      <a16:creationId xmlns:a16="http://schemas.microsoft.com/office/drawing/2014/main" id="{6B4C872E-BA29-1E74-A3D1-71303842A25F}"/>
                    </a:ext>
                  </a:extLst>
                </p:cNvPr>
                <p:cNvSpPr/>
                <p:nvPr/>
              </p:nvSpPr>
              <p:spPr bwMode="gray">
                <a:xfrm>
                  <a:off x="3509" y="2521"/>
                  <a:ext cx="113" cy="123"/>
                </a:xfrm>
                <a:custGeom>
                  <a:avLst/>
                  <a:gdLst>
                    <a:gd name="T0" fmla="*/ 11 w 160"/>
                    <a:gd name="T1" fmla="*/ 60 h 176"/>
                    <a:gd name="T2" fmla="*/ 20 w 160"/>
                    <a:gd name="T3" fmla="*/ 60 h 176"/>
                    <a:gd name="T4" fmla="*/ 23 w 160"/>
                    <a:gd name="T5" fmla="*/ 55 h 176"/>
                    <a:gd name="T6" fmla="*/ 28 w 160"/>
                    <a:gd name="T7" fmla="*/ 55 h 176"/>
                    <a:gd name="T8" fmla="*/ 31 w 160"/>
                    <a:gd name="T9" fmla="*/ 52 h 176"/>
                    <a:gd name="T10" fmla="*/ 31 w 160"/>
                    <a:gd name="T11" fmla="*/ 50 h 176"/>
                    <a:gd name="T12" fmla="*/ 37 w 160"/>
                    <a:gd name="T13" fmla="*/ 43 h 176"/>
                    <a:gd name="T14" fmla="*/ 40 w 160"/>
                    <a:gd name="T15" fmla="*/ 38 h 176"/>
                    <a:gd name="T16" fmla="*/ 42 w 160"/>
                    <a:gd name="T17" fmla="*/ 36 h 176"/>
                    <a:gd name="T18" fmla="*/ 45 w 160"/>
                    <a:gd name="T19" fmla="*/ 33 h 176"/>
                    <a:gd name="T20" fmla="*/ 51 w 160"/>
                    <a:gd name="T21" fmla="*/ 27 h 176"/>
                    <a:gd name="T22" fmla="*/ 57 w 160"/>
                    <a:gd name="T23" fmla="*/ 22 h 176"/>
                    <a:gd name="T24" fmla="*/ 54 w 160"/>
                    <a:gd name="T25" fmla="*/ 19 h 176"/>
                    <a:gd name="T26" fmla="*/ 51 w 160"/>
                    <a:gd name="T27" fmla="*/ 17 h 176"/>
                    <a:gd name="T28" fmla="*/ 45 w 160"/>
                    <a:gd name="T29" fmla="*/ 14 h 176"/>
                    <a:gd name="T30" fmla="*/ 45 w 160"/>
                    <a:gd name="T31" fmla="*/ 10 h 176"/>
                    <a:gd name="T32" fmla="*/ 40 w 160"/>
                    <a:gd name="T33" fmla="*/ 8 h 176"/>
                    <a:gd name="T34" fmla="*/ 34 w 160"/>
                    <a:gd name="T35" fmla="*/ 6 h 176"/>
                    <a:gd name="T36" fmla="*/ 31 w 160"/>
                    <a:gd name="T37" fmla="*/ 3 h 176"/>
                    <a:gd name="T38" fmla="*/ 28 w 160"/>
                    <a:gd name="T39" fmla="*/ 0 h 176"/>
                    <a:gd name="T40" fmla="*/ 25 w 160"/>
                    <a:gd name="T41" fmla="*/ 0 h 176"/>
                    <a:gd name="T42" fmla="*/ 25 w 160"/>
                    <a:gd name="T43" fmla="*/ 6 h 176"/>
                    <a:gd name="T44" fmla="*/ 20 w 160"/>
                    <a:gd name="T45" fmla="*/ 14 h 176"/>
                    <a:gd name="T46" fmla="*/ 20 w 160"/>
                    <a:gd name="T47" fmla="*/ 19 h 176"/>
                    <a:gd name="T48" fmla="*/ 25 w 160"/>
                    <a:gd name="T49" fmla="*/ 22 h 176"/>
                    <a:gd name="T50" fmla="*/ 23 w 160"/>
                    <a:gd name="T51" fmla="*/ 38 h 176"/>
                    <a:gd name="T52" fmla="*/ 17 w 160"/>
                    <a:gd name="T53" fmla="*/ 38 h 176"/>
                    <a:gd name="T54" fmla="*/ 0 w 160"/>
                    <a:gd name="T55" fmla="*/ 43 h 176"/>
                    <a:gd name="T56" fmla="*/ 3 w 160"/>
                    <a:gd name="T57" fmla="*/ 52 h 176"/>
                    <a:gd name="T58" fmla="*/ 3 w 160"/>
                    <a:gd name="T59" fmla="*/ 55 h 176"/>
                    <a:gd name="T60" fmla="*/ 8 w 160"/>
                    <a:gd name="T61" fmla="*/ 57 h 176"/>
                    <a:gd name="T62" fmla="*/ 11 w 160"/>
                    <a:gd name="T63" fmla="*/ 60 h 17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60"/>
                    <a:gd name="T97" fmla="*/ 0 h 176"/>
                    <a:gd name="T98" fmla="*/ 160 w 160"/>
                    <a:gd name="T99" fmla="*/ 176 h 17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60" h="176">
                      <a:moveTo>
                        <a:pt x="32" y="176"/>
                      </a:moveTo>
                      <a:lnTo>
                        <a:pt x="56" y="176"/>
                      </a:lnTo>
                      <a:lnTo>
                        <a:pt x="64" y="160"/>
                      </a:lnTo>
                      <a:lnTo>
                        <a:pt x="80" y="160"/>
                      </a:lnTo>
                      <a:lnTo>
                        <a:pt x="88" y="152"/>
                      </a:lnTo>
                      <a:lnTo>
                        <a:pt x="88" y="144"/>
                      </a:lnTo>
                      <a:lnTo>
                        <a:pt x="104" y="128"/>
                      </a:lnTo>
                      <a:lnTo>
                        <a:pt x="112" y="112"/>
                      </a:lnTo>
                      <a:lnTo>
                        <a:pt x="120" y="104"/>
                      </a:lnTo>
                      <a:lnTo>
                        <a:pt x="128" y="96"/>
                      </a:lnTo>
                      <a:lnTo>
                        <a:pt x="144" y="80"/>
                      </a:lnTo>
                      <a:lnTo>
                        <a:pt x="160" y="64"/>
                      </a:lnTo>
                      <a:lnTo>
                        <a:pt x="152" y="56"/>
                      </a:lnTo>
                      <a:lnTo>
                        <a:pt x="144" y="48"/>
                      </a:lnTo>
                      <a:lnTo>
                        <a:pt x="128" y="40"/>
                      </a:lnTo>
                      <a:lnTo>
                        <a:pt x="128" y="32"/>
                      </a:lnTo>
                      <a:lnTo>
                        <a:pt x="112" y="24"/>
                      </a:lnTo>
                      <a:lnTo>
                        <a:pt x="96" y="16"/>
                      </a:lnTo>
                      <a:lnTo>
                        <a:pt x="88" y="8"/>
                      </a:lnTo>
                      <a:lnTo>
                        <a:pt x="80" y="0"/>
                      </a:lnTo>
                      <a:lnTo>
                        <a:pt x="72" y="0"/>
                      </a:lnTo>
                      <a:lnTo>
                        <a:pt x="72" y="16"/>
                      </a:lnTo>
                      <a:lnTo>
                        <a:pt x="56" y="40"/>
                      </a:lnTo>
                      <a:lnTo>
                        <a:pt x="56" y="56"/>
                      </a:lnTo>
                      <a:lnTo>
                        <a:pt x="72" y="64"/>
                      </a:lnTo>
                      <a:lnTo>
                        <a:pt x="64" y="112"/>
                      </a:lnTo>
                      <a:lnTo>
                        <a:pt x="48" y="112"/>
                      </a:lnTo>
                      <a:lnTo>
                        <a:pt x="0" y="128"/>
                      </a:lnTo>
                      <a:lnTo>
                        <a:pt x="8" y="152"/>
                      </a:lnTo>
                      <a:lnTo>
                        <a:pt x="8" y="160"/>
                      </a:lnTo>
                      <a:lnTo>
                        <a:pt x="24" y="168"/>
                      </a:lnTo>
                      <a:lnTo>
                        <a:pt x="32" y="176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02" name="Freeform 349">
                  <a:extLst>
                    <a:ext uri="{FF2B5EF4-FFF2-40B4-BE49-F238E27FC236}">
                      <a16:creationId xmlns:a16="http://schemas.microsoft.com/office/drawing/2014/main" id="{117B877F-D70C-8F28-FEF6-AC24F022B31B}"/>
                    </a:ext>
                  </a:extLst>
                </p:cNvPr>
                <p:cNvSpPr/>
                <p:nvPr/>
              </p:nvSpPr>
              <p:spPr bwMode="gray">
                <a:xfrm>
                  <a:off x="3273" y="2312"/>
                  <a:ext cx="90" cy="90"/>
                </a:xfrm>
                <a:custGeom>
                  <a:avLst/>
                  <a:gdLst>
                    <a:gd name="T0" fmla="*/ 19 w 128"/>
                    <a:gd name="T1" fmla="*/ 36 h 128"/>
                    <a:gd name="T2" fmla="*/ 14 w 128"/>
                    <a:gd name="T3" fmla="*/ 39 h 128"/>
                    <a:gd name="T4" fmla="*/ 6 w 128"/>
                    <a:gd name="T5" fmla="*/ 44 h 128"/>
                    <a:gd name="T6" fmla="*/ 0 w 128"/>
                    <a:gd name="T7" fmla="*/ 44 h 128"/>
                    <a:gd name="T8" fmla="*/ 3 w 128"/>
                    <a:gd name="T9" fmla="*/ 34 h 128"/>
                    <a:gd name="T10" fmla="*/ 3 w 128"/>
                    <a:gd name="T11" fmla="*/ 31 h 128"/>
                    <a:gd name="T12" fmla="*/ 3 w 128"/>
                    <a:gd name="T13" fmla="*/ 27 h 128"/>
                    <a:gd name="T14" fmla="*/ 6 w 128"/>
                    <a:gd name="T15" fmla="*/ 25 h 128"/>
                    <a:gd name="T16" fmla="*/ 6 w 128"/>
                    <a:gd name="T17" fmla="*/ 19 h 128"/>
                    <a:gd name="T18" fmla="*/ 6 w 128"/>
                    <a:gd name="T19" fmla="*/ 14 h 128"/>
                    <a:gd name="T20" fmla="*/ 6 w 128"/>
                    <a:gd name="T21" fmla="*/ 11 h 128"/>
                    <a:gd name="T22" fmla="*/ 6 w 128"/>
                    <a:gd name="T23" fmla="*/ 8 h 128"/>
                    <a:gd name="T24" fmla="*/ 14 w 128"/>
                    <a:gd name="T25" fmla="*/ 6 h 128"/>
                    <a:gd name="T26" fmla="*/ 19 w 128"/>
                    <a:gd name="T27" fmla="*/ 6 h 128"/>
                    <a:gd name="T28" fmla="*/ 27 w 128"/>
                    <a:gd name="T29" fmla="*/ 6 h 128"/>
                    <a:gd name="T30" fmla="*/ 36 w 128"/>
                    <a:gd name="T31" fmla="*/ 3 h 128"/>
                    <a:gd name="T32" fmla="*/ 41 w 128"/>
                    <a:gd name="T33" fmla="*/ 0 h 128"/>
                    <a:gd name="T34" fmla="*/ 44 w 128"/>
                    <a:gd name="T35" fmla="*/ 3 h 128"/>
                    <a:gd name="T36" fmla="*/ 36 w 128"/>
                    <a:gd name="T37" fmla="*/ 8 h 128"/>
                    <a:gd name="T38" fmla="*/ 39 w 128"/>
                    <a:gd name="T39" fmla="*/ 17 h 128"/>
                    <a:gd name="T40" fmla="*/ 36 w 128"/>
                    <a:gd name="T41" fmla="*/ 25 h 128"/>
                    <a:gd name="T42" fmla="*/ 23 w 128"/>
                    <a:gd name="T43" fmla="*/ 34 h 128"/>
                    <a:gd name="T44" fmla="*/ 19 w 128"/>
                    <a:gd name="T45" fmla="*/ 36 h 128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28"/>
                    <a:gd name="T70" fmla="*/ 0 h 128"/>
                    <a:gd name="T71" fmla="*/ 128 w 128"/>
                    <a:gd name="T72" fmla="*/ 128 h 128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28" h="128">
                      <a:moveTo>
                        <a:pt x="56" y="104"/>
                      </a:moveTo>
                      <a:lnTo>
                        <a:pt x="40" y="112"/>
                      </a:lnTo>
                      <a:lnTo>
                        <a:pt x="16" y="128"/>
                      </a:lnTo>
                      <a:lnTo>
                        <a:pt x="0" y="128"/>
                      </a:lnTo>
                      <a:lnTo>
                        <a:pt x="8" y="96"/>
                      </a:lnTo>
                      <a:lnTo>
                        <a:pt x="8" y="88"/>
                      </a:lnTo>
                      <a:lnTo>
                        <a:pt x="8" y="80"/>
                      </a:lnTo>
                      <a:lnTo>
                        <a:pt x="16" y="72"/>
                      </a:lnTo>
                      <a:lnTo>
                        <a:pt x="16" y="56"/>
                      </a:lnTo>
                      <a:lnTo>
                        <a:pt x="16" y="40"/>
                      </a:lnTo>
                      <a:lnTo>
                        <a:pt x="16" y="32"/>
                      </a:lnTo>
                      <a:lnTo>
                        <a:pt x="16" y="24"/>
                      </a:lnTo>
                      <a:lnTo>
                        <a:pt x="40" y="16"/>
                      </a:lnTo>
                      <a:lnTo>
                        <a:pt x="56" y="16"/>
                      </a:lnTo>
                      <a:lnTo>
                        <a:pt x="80" y="16"/>
                      </a:lnTo>
                      <a:lnTo>
                        <a:pt x="104" y="8"/>
                      </a:lnTo>
                      <a:lnTo>
                        <a:pt x="120" y="0"/>
                      </a:lnTo>
                      <a:lnTo>
                        <a:pt x="128" y="8"/>
                      </a:lnTo>
                      <a:lnTo>
                        <a:pt x="104" y="24"/>
                      </a:lnTo>
                      <a:lnTo>
                        <a:pt x="112" y="48"/>
                      </a:lnTo>
                      <a:lnTo>
                        <a:pt x="104" y="72"/>
                      </a:lnTo>
                      <a:lnTo>
                        <a:pt x="64" y="96"/>
                      </a:lnTo>
                      <a:lnTo>
                        <a:pt x="56" y="10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03" name="Freeform 350">
                  <a:extLst>
                    <a:ext uri="{FF2B5EF4-FFF2-40B4-BE49-F238E27FC236}">
                      <a16:creationId xmlns:a16="http://schemas.microsoft.com/office/drawing/2014/main" id="{A77DAA3E-3BC8-9CC3-0CF6-361420F753F0}"/>
                    </a:ext>
                  </a:extLst>
                </p:cNvPr>
                <p:cNvSpPr/>
                <p:nvPr/>
              </p:nvSpPr>
              <p:spPr bwMode="gray">
                <a:xfrm>
                  <a:off x="3312" y="2312"/>
                  <a:ext cx="141" cy="147"/>
                </a:xfrm>
                <a:custGeom>
                  <a:avLst/>
                  <a:gdLst>
                    <a:gd name="T0" fmla="*/ 67 w 200"/>
                    <a:gd name="T1" fmla="*/ 65 h 208"/>
                    <a:gd name="T2" fmla="*/ 61 w 200"/>
                    <a:gd name="T3" fmla="*/ 65 h 208"/>
                    <a:gd name="T4" fmla="*/ 59 w 200"/>
                    <a:gd name="T5" fmla="*/ 68 h 208"/>
                    <a:gd name="T6" fmla="*/ 59 w 200"/>
                    <a:gd name="T7" fmla="*/ 71 h 208"/>
                    <a:gd name="T8" fmla="*/ 48 w 200"/>
                    <a:gd name="T9" fmla="*/ 74 h 208"/>
                    <a:gd name="T10" fmla="*/ 34 w 200"/>
                    <a:gd name="T11" fmla="*/ 68 h 208"/>
                    <a:gd name="T12" fmla="*/ 34 w 200"/>
                    <a:gd name="T13" fmla="*/ 59 h 208"/>
                    <a:gd name="T14" fmla="*/ 25 w 200"/>
                    <a:gd name="T15" fmla="*/ 54 h 208"/>
                    <a:gd name="T16" fmla="*/ 14 w 200"/>
                    <a:gd name="T17" fmla="*/ 48 h 208"/>
                    <a:gd name="T18" fmla="*/ 6 w 200"/>
                    <a:gd name="T19" fmla="*/ 45 h 208"/>
                    <a:gd name="T20" fmla="*/ 0 w 200"/>
                    <a:gd name="T21" fmla="*/ 37 h 208"/>
                    <a:gd name="T22" fmla="*/ 3 w 200"/>
                    <a:gd name="T23" fmla="*/ 34 h 208"/>
                    <a:gd name="T24" fmla="*/ 17 w 200"/>
                    <a:gd name="T25" fmla="*/ 25 h 208"/>
                    <a:gd name="T26" fmla="*/ 19 w 200"/>
                    <a:gd name="T27" fmla="*/ 17 h 208"/>
                    <a:gd name="T28" fmla="*/ 17 w 200"/>
                    <a:gd name="T29" fmla="*/ 8 h 208"/>
                    <a:gd name="T30" fmla="*/ 25 w 200"/>
                    <a:gd name="T31" fmla="*/ 3 h 208"/>
                    <a:gd name="T32" fmla="*/ 31 w 200"/>
                    <a:gd name="T33" fmla="*/ 0 h 208"/>
                    <a:gd name="T34" fmla="*/ 36 w 200"/>
                    <a:gd name="T35" fmla="*/ 0 h 208"/>
                    <a:gd name="T36" fmla="*/ 39 w 200"/>
                    <a:gd name="T37" fmla="*/ 3 h 208"/>
                    <a:gd name="T38" fmla="*/ 42 w 200"/>
                    <a:gd name="T39" fmla="*/ 3 h 208"/>
                    <a:gd name="T40" fmla="*/ 48 w 200"/>
                    <a:gd name="T41" fmla="*/ 14 h 208"/>
                    <a:gd name="T42" fmla="*/ 53 w 200"/>
                    <a:gd name="T43" fmla="*/ 14 h 208"/>
                    <a:gd name="T44" fmla="*/ 56 w 200"/>
                    <a:gd name="T45" fmla="*/ 17 h 208"/>
                    <a:gd name="T46" fmla="*/ 48 w 200"/>
                    <a:gd name="T47" fmla="*/ 31 h 208"/>
                    <a:gd name="T48" fmla="*/ 56 w 200"/>
                    <a:gd name="T49" fmla="*/ 40 h 208"/>
                    <a:gd name="T50" fmla="*/ 61 w 200"/>
                    <a:gd name="T51" fmla="*/ 42 h 208"/>
                    <a:gd name="T52" fmla="*/ 67 w 200"/>
                    <a:gd name="T53" fmla="*/ 48 h 208"/>
                    <a:gd name="T54" fmla="*/ 65 w 200"/>
                    <a:gd name="T55" fmla="*/ 59 h 208"/>
                    <a:gd name="T56" fmla="*/ 70 w 200"/>
                    <a:gd name="T57" fmla="*/ 62 h 208"/>
                    <a:gd name="T58" fmla="*/ 67 w 200"/>
                    <a:gd name="T59" fmla="*/ 65 h 208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0"/>
                    <a:gd name="T91" fmla="*/ 0 h 208"/>
                    <a:gd name="T92" fmla="*/ 200 w 200"/>
                    <a:gd name="T93" fmla="*/ 208 h 208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0" h="208">
                      <a:moveTo>
                        <a:pt x="192" y="184"/>
                      </a:moveTo>
                      <a:lnTo>
                        <a:pt x="176" y="184"/>
                      </a:lnTo>
                      <a:lnTo>
                        <a:pt x="168" y="192"/>
                      </a:lnTo>
                      <a:lnTo>
                        <a:pt x="168" y="200"/>
                      </a:lnTo>
                      <a:lnTo>
                        <a:pt x="136" y="208"/>
                      </a:lnTo>
                      <a:lnTo>
                        <a:pt x="96" y="192"/>
                      </a:lnTo>
                      <a:lnTo>
                        <a:pt x="96" y="168"/>
                      </a:lnTo>
                      <a:lnTo>
                        <a:pt x="72" y="152"/>
                      </a:lnTo>
                      <a:lnTo>
                        <a:pt x="40" y="136"/>
                      </a:lnTo>
                      <a:lnTo>
                        <a:pt x="16" y="128"/>
                      </a:lnTo>
                      <a:lnTo>
                        <a:pt x="0" y="104"/>
                      </a:lnTo>
                      <a:lnTo>
                        <a:pt x="8" y="96"/>
                      </a:lnTo>
                      <a:lnTo>
                        <a:pt x="48" y="72"/>
                      </a:lnTo>
                      <a:lnTo>
                        <a:pt x="56" y="48"/>
                      </a:lnTo>
                      <a:lnTo>
                        <a:pt x="48" y="24"/>
                      </a:lnTo>
                      <a:lnTo>
                        <a:pt x="72" y="8"/>
                      </a:lnTo>
                      <a:lnTo>
                        <a:pt x="88" y="0"/>
                      </a:lnTo>
                      <a:lnTo>
                        <a:pt x="104" y="0"/>
                      </a:lnTo>
                      <a:lnTo>
                        <a:pt x="112" y="8"/>
                      </a:lnTo>
                      <a:lnTo>
                        <a:pt x="120" y="8"/>
                      </a:lnTo>
                      <a:lnTo>
                        <a:pt x="136" y="40"/>
                      </a:lnTo>
                      <a:lnTo>
                        <a:pt x="152" y="40"/>
                      </a:lnTo>
                      <a:lnTo>
                        <a:pt x="160" y="48"/>
                      </a:lnTo>
                      <a:lnTo>
                        <a:pt x="136" y="88"/>
                      </a:lnTo>
                      <a:lnTo>
                        <a:pt x="160" y="112"/>
                      </a:lnTo>
                      <a:lnTo>
                        <a:pt x="176" y="120"/>
                      </a:lnTo>
                      <a:lnTo>
                        <a:pt x="192" y="136"/>
                      </a:lnTo>
                      <a:lnTo>
                        <a:pt x="184" y="168"/>
                      </a:lnTo>
                      <a:lnTo>
                        <a:pt x="200" y="176"/>
                      </a:lnTo>
                      <a:lnTo>
                        <a:pt x="192" y="18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04" name="Freeform 351">
                  <a:extLst>
                    <a:ext uri="{FF2B5EF4-FFF2-40B4-BE49-F238E27FC236}">
                      <a16:creationId xmlns:a16="http://schemas.microsoft.com/office/drawing/2014/main" id="{8C12BFC7-A2D7-1432-4CF6-5CC368C9A874}"/>
                    </a:ext>
                  </a:extLst>
                </p:cNvPr>
                <p:cNvSpPr/>
                <p:nvPr/>
              </p:nvSpPr>
              <p:spPr bwMode="gray">
                <a:xfrm>
                  <a:off x="3380" y="3066"/>
                  <a:ext cx="101" cy="209"/>
                </a:xfrm>
                <a:custGeom>
                  <a:avLst/>
                  <a:gdLst>
                    <a:gd name="T0" fmla="*/ 0 w 144"/>
                    <a:gd name="T1" fmla="*/ 73 h 296"/>
                    <a:gd name="T2" fmla="*/ 0 w 144"/>
                    <a:gd name="T3" fmla="*/ 82 h 296"/>
                    <a:gd name="T4" fmla="*/ 3 w 144"/>
                    <a:gd name="T5" fmla="*/ 88 h 296"/>
                    <a:gd name="T6" fmla="*/ 6 w 144"/>
                    <a:gd name="T7" fmla="*/ 96 h 296"/>
                    <a:gd name="T8" fmla="*/ 8 w 144"/>
                    <a:gd name="T9" fmla="*/ 101 h 296"/>
                    <a:gd name="T10" fmla="*/ 14 w 144"/>
                    <a:gd name="T11" fmla="*/ 105 h 296"/>
                    <a:gd name="T12" fmla="*/ 19 w 144"/>
                    <a:gd name="T13" fmla="*/ 101 h 296"/>
                    <a:gd name="T14" fmla="*/ 25 w 144"/>
                    <a:gd name="T15" fmla="*/ 99 h 296"/>
                    <a:gd name="T16" fmla="*/ 30 w 144"/>
                    <a:gd name="T17" fmla="*/ 92 h 296"/>
                    <a:gd name="T18" fmla="*/ 30 w 144"/>
                    <a:gd name="T19" fmla="*/ 79 h 296"/>
                    <a:gd name="T20" fmla="*/ 36 w 144"/>
                    <a:gd name="T21" fmla="*/ 71 h 296"/>
                    <a:gd name="T22" fmla="*/ 39 w 144"/>
                    <a:gd name="T23" fmla="*/ 59 h 296"/>
                    <a:gd name="T24" fmla="*/ 44 w 144"/>
                    <a:gd name="T25" fmla="*/ 40 h 296"/>
                    <a:gd name="T26" fmla="*/ 44 w 144"/>
                    <a:gd name="T27" fmla="*/ 37 h 296"/>
                    <a:gd name="T28" fmla="*/ 44 w 144"/>
                    <a:gd name="T29" fmla="*/ 28 h 296"/>
                    <a:gd name="T30" fmla="*/ 50 w 144"/>
                    <a:gd name="T31" fmla="*/ 28 h 296"/>
                    <a:gd name="T32" fmla="*/ 50 w 144"/>
                    <a:gd name="T33" fmla="*/ 23 h 296"/>
                    <a:gd name="T34" fmla="*/ 44 w 144"/>
                    <a:gd name="T35" fmla="*/ 8 h 296"/>
                    <a:gd name="T36" fmla="*/ 44 w 144"/>
                    <a:gd name="T37" fmla="*/ 3 h 296"/>
                    <a:gd name="T38" fmla="*/ 44 w 144"/>
                    <a:gd name="T39" fmla="*/ 0 h 296"/>
                    <a:gd name="T40" fmla="*/ 41 w 144"/>
                    <a:gd name="T41" fmla="*/ 0 h 296"/>
                    <a:gd name="T42" fmla="*/ 39 w 144"/>
                    <a:gd name="T43" fmla="*/ 3 h 296"/>
                    <a:gd name="T44" fmla="*/ 36 w 144"/>
                    <a:gd name="T45" fmla="*/ 11 h 296"/>
                    <a:gd name="T46" fmla="*/ 33 w 144"/>
                    <a:gd name="T47" fmla="*/ 14 h 296"/>
                    <a:gd name="T48" fmla="*/ 33 w 144"/>
                    <a:gd name="T49" fmla="*/ 17 h 296"/>
                    <a:gd name="T50" fmla="*/ 30 w 144"/>
                    <a:gd name="T51" fmla="*/ 20 h 296"/>
                    <a:gd name="T52" fmla="*/ 27 w 144"/>
                    <a:gd name="T53" fmla="*/ 23 h 296"/>
                    <a:gd name="T54" fmla="*/ 22 w 144"/>
                    <a:gd name="T55" fmla="*/ 25 h 296"/>
                    <a:gd name="T56" fmla="*/ 19 w 144"/>
                    <a:gd name="T57" fmla="*/ 28 h 296"/>
                    <a:gd name="T58" fmla="*/ 14 w 144"/>
                    <a:gd name="T59" fmla="*/ 28 h 296"/>
                    <a:gd name="T60" fmla="*/ 14 w 144"/>
                    <a:gd name="T61" fmla="*/ 31 h 296"/>
                    <a:gd name="T62" fmla="*/ 8 w 144"/>
                    <a:gd name="T63" fmla="*/ 31 h 296"/>
                    <a:gd name="T64" fmla="*/ 6 w 144"/>
                    <a:gd name="T65" fmla="*/ 37 h 296"/>
                    <a:gd name="T66" fmla="*/ 6 w 144"/>
                    <a:gd name="T67" fmla="*/ 48 h 296"/>
                    <a:gd name="T68" fmla="*/ 8 w 144"/>
                    <a:gd name="T69" fmla="*/ 51 h 296"/>
                    <a:gd name="T70" fmla="*/ 6 w 144"/>
                    <a:gd name="T71" fmla="*/ 65 h 296"/>
                    <a:gd name="T72" fmla="*/ 0 w 144"/>
                    <a:gd name="T73" fmla="*/ 73 h 29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44"/>
                    <a:gd name="T112" fmla="*/ 0 h 296"/>
                    <a:gd name="T113" fmla="*/ 144 w 144"/>
                    <a:gd name="T114" fmla="*/ 296 h 29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44" h="296">
                      <a:moveTo>
                        <a:pt x="0" y="208"/>
                      </a:moveTo>
                      <a:lnTo>
                        <a:pt x="0" y="232"/>
                      </a:lnTo>
                      <a:lnTo>
                        <a:pt x="8" y="248"/>
                      </a:lnTo>
                      <a:lnTo>
                        <a:pt x="16" y="272"/>
                      </a:lnTo>
                      <a:lnTo>
                        <a:pt x="24" y="288"/>
                      </a:lnTo>
                      <a:lnTo>
                        <a:pt x="40" y="296"/>
                      </a:lnTo>
                      <a:lnTo>
                        <a:pt x="56" y="288"/>
                      </a:lnTo>
                      <a:lnTo>
                        <a:pt x="72" y="280"/>
                      </a:lnTo>
                      <a:lnTo>
                        <a:pt x="88" y="264"/>
                      </a:lnTo>
                      <a:lnTo>
                        <a:pt x="88" y="224"/>
                      </a:lnTo>
                      <a:lnTo>
                        <a:pt x="104" y="200"/>
                      </a:lnTo>
                      <a:lnTo>
                        <a:pt x="112" y="168"/>
                      </a:lnTo>
                      <a:lnTo>
                        <a:pt x="128" y="112"/>
                      </a:lnTo>
                      <a:lnTo>
                        <a:pt x="128" y="104"/>
                      </a:lnTo>
                      <a:lnTo>
                        <a:pt x="128" y="80"/>
                      </a:lnTo>
                      <a:lnTo>
                        <a:pt x="144" y="80"/>
                      </a:lnTo>
                      <a:lnTo>
                        <a:pt x="144" y="64"/>
                      </a:lnTo>
                      <a:lnTo>
                        <a:pt x="128" y="24"/>
                      </a:lnTo>
                      <a:lnTo>
                        <a:pt x="128" y="8"/>
                      </a:lnTo>
                      <a:lnTo>
                        <a:pt x="128" y="0"/>
                      </a:lnTo>
                      <a:lnTo>
                        <a:pt x="120" y="0"/>
                      </a:lnTo>
                      <a:lnTo>
                        <a:pt x="112" y="8"/>
                      </a:lnTo>
                      <a:lnTo>
                        <a:pt x="104" y="32"/>
                      </a:lnTo>
                      <a:lnTo>
                        <a:pt x="96" y="40"/>
                      </a:lnTo>
                      <a:lnTo>
                        <a:pt x="96" y="48"/>
                      </a:lnTo>
                      <a:lnTo>
                        <a:pt x="88" y="56"/>
                      </a:lnTo>
                      <a:lnTo>
                        <a:pt x="80" y="64"/>
                      </a:lnTo>
                      <a:lnTo>
                        <a:pt x="64" y="72"/>
                      </a:lnTo>
                      <a:lnTo>
                        <a:pt x="56" y="80"/>
                      </a:lnTo>
                      <a:lnTo>
                        <a:pt x="40" y="80"/>
                      </a:lnTo>
                      <a:lnTo>
                        <a:pt x="40" y="88"/>
                      </a:lnTo>
                      <a:lnTo>
                        <a:pt x="24" y="88"/>
                      </a:lnTo>
                      <a:lnTo>
                        <a:pt x="16" y="104"/>
                      </a:lnTo>
                      <a:lnTo>
                        <a:pt x="16" y="136"/>
                      </a:lnTo>
                      <a:lnTo>
                        <a:pt x="24" y="144"/>
                      </a:lnTo>
                      <a:lnTo>
                        <a:pt x="16" y="184"/>
                      </a:lnTo>
                      <a:lnTo>
                        <a:pt x="0" y="20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05" name="Freeform 352">
                  <a:extLst>
                    <a:ext uri="{FF2B5EF4-FFF2-40B4-BE49-F238E27FC236}">
                      <a16:creationId xmlns:a16="http://schemas.microsoft.com/office/drawing/2014/main" id="{D1148671-2BE7-0773-EDD5-43889FE7BDAD}"/>
                    </a:ext>
                  </a:extLst>
                </p:cNvPr>
                <p:cNvSpPr/>
                <p:nvPr/>
              </p:nvSpPr>
              <p:spPr bwMode="gray">
                <a:xfrm>
                  <a:off x="2997" y="3213"/>
                  <a:ext cx="231" cy="112"/>
                </a:xfrm>
                <a:custGeom>
                  <a:avLst/>
                  <a:gdLst>
                    <a:gd name="T0" fmla="*/ 0 w 328"/>
                    <a:gd name="T1" fmla="*/ 52 h 160"/>
                    <a:gd name="T2" fmla="*/ 3 w 328"/>
                    <a:gd name="T3" fmla="*/ 50 h 160"/>
                    <a:gd name="T4" fmla="*/ 6 w 328"/>
                    <a:gd name="T5" fmla="*/ 50 h 160"/>
                    <a:gd name="T6" fmla="*/ 8 w 328"/>
                    <a:gd name="T7" fmla="*/ 50 h 160"/>
                    <a:gd name="T8" fmla="*/ 11 w 328"/>
                    <a:gd name="T9" fmla="*/ 52 h 160"/>
                    <a:gd name="T10" fmla="*/ 17 w 328"/>
                    <a:gd name="T11" fmla="*/ 55 h 160"/>
                    <a:gd name="T12" fmla="*/ 25 w 328"/>
                    <a:gd name="T13" fmla="*/ 52 h 160"/>
                    <a:gd name="T14" fmla="*/ 25 w 328"/>
                    <a:gd name="T15" fmla="*/ 19 h 160"/>
                    <a:gd name="T16" fmla="*/ 31 w 328"/>
                    <a:gd name="T17" fmla="*/ 25 h 160"/>
                    <a:gd name="T18" fmla="*/ 34 w 328"/>
                    <a:gd name="T19" fmla="*/ 36 h 160"/>
                    <a:gd name="T20" fmla="*/ 39 w 328"/>
                    <a:gd name="T21" fmla="*/ 36 h 160"/>
                    <a:gd name="T22" fmla="*/ 48 w 328"/>
                    <a:gd name="T23" fmla="*/ 27 h 160"/>
                    <a:gd name="T24" fmla="*/ 53 w 328"/>
                    <a:gd name="T25" fmla="*/ 27 h 160"/>
                    <a:gd name="T26" fmla="*/ 56 w 328"/>
                    <a:gd name="T27" fmla="*/ 30 h 160"/>
                    <a:gd name="T28" fmla="*/ 61 w 328"/>
                    <a:gd name="T29" fmla="*/ 27 h 160"/>
                    <a:gd name="T30" fmla="*/ 67 w 328"/>
                    <a:gd name="T31" fmla="*/ 22 h 160"/>
                    <a:gd name="T32" fmla="*/ 67 w 328"/>
                    <a:gd name="T33" fmla="*/ 14 h 160"/>
                    <a:gd name="T34" fmla="*/ 75 w 328"/>
                    <a:gd name="T35" fmla="*/ 10 h 160"/>
                    <a:gd name="T36" fmla="*/ 78 w 328"/>
                    <a:gd name="T37" fmla="*/ 8 h 160"/>
                    <a:gd name="T38" fmla="*/ 87 w 328"/>
                    <a:gd name="T39" fmla="*/ 3 h 160"/>
                    <a:gd name="T40" fmla="*/ 89 w 328"/>
                    <a:gd name="T41" fmla="*/ 3 h 160"/>
                    <a:gd name="T42" fmla="*/ 95 w 328"/>
                    <a:gd name="T43" fmla="*/ 0 h 160"/>
                    <a:gd name="T44" fmla="*/ 106 w 328"/>
                    <a:gd name="T45" fmla="*/ 3 h 160"/>
                    <a:gd name="T46" fmla="*/ 109 w 328"/>
                    <a:gd name="T47" fmla="*/ 19 h 160"/>
                    <a:gd name="T48" fmla="*/ 106 w 328"/>
                    <a:gd name="T49" fmla="*/ 27 h 160"/>
                    <a:gd name="T50" fmla="*/ 109 w 328"/>
                    <a:gd name="T51" fmla="*/ 36 h 160"/>
                    <a:gd name="T52" fmla="*/ 115 w 328"/>
                    <a:gd name="T53" fmla="*/ 38 h 160"/>
                    <a:gd name="T54" fmla="*/ 0 w 328"/>
                    <a:gd name="T55" fmla="*/ 52 h 16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328"/>
                    <a:gd name="T85" fmla="*/ 0 h 160"/>
                    <a:gd name="T86" fmla="*/ 328 w 328"/>
                    <a:gd name="T87" fmla="*/ 160 h 16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328" h="160">
                      <a:moveTo>
                        <a:pt x="0" y="152"/>
                      </a:moveTo>
                      <a:lnTo>
                        <a:pt x="8" y="144"/>
                      </a:lnTo>
                      <a:lnTo>
                        <a:pt x="16" y="144"/>
                      </a:lnTo>
                      <a:lnTo>
                        <a:pt x="24" y="144"/>
                      </a:lnTo>
                      <a:lnTo>
                        <a:pt x="32" y="152"/>
                      </a:lnTo>
                      <a:lnTo>
                        <a:pt x="48" y="160"/>
                      </a:lnTo>
                      <a:lnTo>
                        <a:pt x="72" y="152"/>
                      </a:lnTo>
                      <a:lnTo>
                        <a:pt x="72" y="56"/>
                      </a:lnTo>
                      <a:lnTo>
                        <a:pt x="88" y="72"/>
                      </a:lnTo>
                      <a:lnTo>
                        <a:pt x="96" y="104"/>
                      </a:lnTo>
                      <a:lnTo>
                        <a:pt x="112" y="104"/>
                      </a:lnTo>
                      <a:lnTo>
                        <a:pt x="136" y="80"/>
                      </a:lnTo>
                      <a:lnTo>
                        <a:pt x="152" y="80"/>
                      </a:lnTo>
                      <a:lnTo>
                        <a:pt x="160" y="88"/>
                      </a:lnTo>
                      <a:lnTo>
                        <a:pt x="176" y="80"/>
                      </a:lnTo>
                      <a:lnTo>
                        <a:pt x="192" y="64"/>
                      </a:lnTo>
                      <a:lnTo>
                        <a:pt x="192" y="40"/>
                      </a:lnTo>
                      <a:lnTo>
                        <a:pt x="216" y="32"/>
                      </a:lnTo>
                      <a:lnTo>
                        <a:pt x="224" y="24"/>
                      </a:lnTo>
                      <a:lnTo>
                        <a:pt x="248" y="8"/>
                      </a:lnTo>
                      <a:lnTo>
                        <a:pt x="256" y="8"/>
                      </a:lnTo>
                      <a:lnTo>
                        <a:pt x="272" y="0"/>
                      </a:lnTo>
                      <a:lnTo>
                        <a:pt x="304" y="8"/>
                      </a:lnTo>
                      <a:lnTo>
                        <a:pt x="312" y="56"/>
                      </a:lnTo>
                      <a:lnTo>
                        <a:pt x="304" y="80"/>
                      </a:lnTo>
                      <a:lnTo>
                        <a:pt x="312" y="104"/>
                      </a:lnTo>
                      <a:lnTo>
                        <a:pt x="328" y="112"/>
                      </a:lnTo>
                      <a:lnTo>
                        <a:pt x="0" y="152"/>
                      </a:lnTo>
                      <a:close/>
                    </a:path>
                  </a:pathLst>
                </a:custGeom>
                <a:solidFill>
                  <a:srgbClr val="B3B3B3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06" name="Freeform 353">
                  <a:extLst>
                    <a:ext uri="{FF2B5EF4-FFF2-40B4-BE49-F238E27FC236}">
                      <a16:creationId xmlns:a16="http://schemas.microsoft.com/office/drawing/2014/main" id="{DB2C55EB-8B8D-B794-1F6C-1BB5EC712619}"/>
                    </a:ext>
                  </a:extLst>
                </p:cNvPr>
                <p:cNvSpPr/>
                <p:nvPr/>
              </p:nvSpPr>
              <p:spPr bwMode="gray">
                <a:xfrm>
                  <a:off x="3312" y="2312"/>
                  <a:ext cx="85" cy="74"/>
                </a:xfrm>
                <a:custGeom>
                  <a:avLst/>
                  <a:gdLst>
                    <a:gd name="T0" fmla="*/ 0 w 120"/>
                    <a:gd name="T1" fmla="*/ 38 h 104"/>
                    <a:gd name="T2" fmla="*/ 3 w 120"/>
                    <a:gd name="T3" fmla="*/ 34 h 104"/>
                    <a:gd name="T4" fmla="*/ 17 w 120"/>
                    <a:gd name="T5" fmla="*/ 26 h 104"/>
                    <a:gd name="T6" fmla="*/ 20 w 120"/>
                    <a:gd name="T7" fmla="*/ 17 h 104"/>
                    <a:gd name="T8" fmla="*/ 17 w 120"/>
                    <a:gd name="T9" fmla="*/ 9 h 104"/>
                    <a:gd name="T10" fmla="*/ 26 w 120"/>
                    <a:gd name="T11" fmla="*/ 3 h 104"/>
                    <a:gd name="T12" fmla="*/ 31 w 120"/>
                    <a:gd name="T13" fmla="*/ 0 h 104"/>
                    <a:gd name="T14" fmla="*/ 37 w 120"/>
                    <a:gd name="T15" fmla="*/ 0 h 104"/>
                    <a:gd name="T16" fmla="*/ 40 w 120"/>
                    <a:gd name="T17" fmla="*/ 3 h 104"/>
                    <a:gd name="T18" fmla="*/ 43 w 120"/>
                    <a:gd name="T19" fmla="*/ 3 h 104"/>
                    <a:gd name="T20" fmla="*/ 0 w 120"/>
                    <a:gd name="T21" fmla="*/ 38 h 10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20"/>
                    <a:gd name="T34" fmla="*/ 0 h 104"/>
                    <a:gd name="T35" fmla="*/ 120 w 120"/>
                    <a:gd name="T36" fmla="*/ 104 h 10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20" h="104">
                      <a:moveTo>
                        <a:pt x="0" y="104"/>
                      </a:moveTo>
                      <a:lnTo>
                        <a:pt x="8" y="96"/>
                      </a:lnTo>
                      <a:lnTo>
                        <a:pt x="48" y="72"/>
                      </a:lnTo>
                      <a:lnTo>
                        <a:pt x="56" y="48"/>
                      </a:lnTo>
                      <a:lnTo>
                        <a:pt x="48" y="24"/>
                      </a:lnTo>
                      <a:lnTo>
                        <a:pt x="72" y="8"/>
                      </a:lnTo>
                      <a:lnTo>
                        <a:pt x="88" y="0"/>
                      </a:lnTo>
                      <a:lnTo>
                        <a:pt x="104" y="0"/>
                      </a:lnTo>
                      <a:lnTo>
                        <a:pt x="112" y="8"/>
                      </a:lnTo>
                      <a:lnTo>
                        <a:pt x="120" y="8"/>
                      </a:lnTo>
                      <a:lnTo>
                        <a:pt x="0" y="10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207" name="Freeform 354">
                  <a:extLst>
                    <a:ext uri="{FF2B5EF4-FFF2-40B4-BE49-F238E27FC236}">
                      <a16:creationId xmlns:a16="http://schemas.microsoft.com/office/drawing/2014/main" id="{1823920C-D615-2A37-9084-EAF030F9B862}"/>
                    </a:ext>
                  </a:extLst>
                </p:cNvPr>
                <p:cNvSpPr/>
                <p:nvPr/>
              </p:nvSpPr>
              <p:spPr bwMode="gray">
                <a:xfrm>
                  <a:off x="3284" y="2312"/>
                  <a:ext cx="79" cy="23"/>
                </a:xfrm>
                <a:custGeom>
                  <a:avLst/>
                  <a:gdLst>
                    <a:gd name="T0" fmla="*/ 0 w 112"/>
                    <a:gd name="T1" fmla="*/ 12 h 32"/>
                    <a:gd name="T2" fmla="*/ 0 w 112"/>
                    <a:gd name="T3" fmla="*/ 9 h 32"/>
                    <a:gd name="T4" fmla="*/ 8 w 112"/>
                    <a:gd name="T5" fmla="*/ 6 h 32"/>
                    <a:gd name="T6" fmla="*/ 14 w 112"/>
                    <a:gd name="T7" fmla="*/ 6 h 32"/>
                    <a:gd name="T8" fmla="*/ 23 w 112"/>
                    <a:gd name="T9" fmla="*/ 6 h 32"/>
                    <a:gd name="T10" fmla="*/ 31 w 112"/>
                    <a:gd name="T11" fmla="*/ 3 h 32"/>
                    <a:gd name="T12" fmla="*/ 36 w 112"/>
                    <a:gd name="T13" fmla="*/ 0 h 32"/>
                    <a:gd name="T14" fmla="*/ 40 w 112"/>
                    <a:gd name="T15" fmla="*/ 3 h 32"/>
                    <a:gd name="T16" fmla="*/ 0 w 112"/>
                    <a:gd name="T17" fmla="*/ 12 h 3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12"/>
                    <a:gd name="T28" fmla="*/ 0 h 32"/>
                    <a:gd name="T29" fmla="*/ 112 w 112"/>
                    <a:gd name="T30" fmla="*/ 32 h 3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12" h="32">
                      <a:moveTo>
                        <a:pt x="0" y="32"/>
                      </a:moveTo>
                      <a:lnTo>
                        <a:pt x="0" y="24"/>
                      </a:lnTo>
                      <a:lnTo>
                        <a:pt x="24" y="16"/>
                      </a:lnTo>
                      <a:lnTo>
                        <a:pt x="40" y="16"/>
                      </a:lnTo>
                      <a:lnTo>
                        <a:pt x="64" y="16"/>
                      </a:lnTo>
                      <a:lnTo>
                        <a:pt x="88" y="8"/>
                      </a:lnTo>
                      <a:lnTo>
                        <a:pt x="104" y="0"/>
                      </a:lnTo>
                      <a:lnTo>
                        <a:pt x="112" y="8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</p:grpSp>
          <p:grpSp>
            <p:nvGrpSpPr>
              <p:cNvPr id="1117" name="Group 355">
                <a:extLst>
                  <a:ext uri="{FF2B5EF4-FFF2-40B4-BE49-F238E27FC236}">
                    <a16:creationId xmlns:a16="http://schemas.microsoft.com/office/drawing/2014/main" id="{5EC2AC25-41A1-4345-EEE3-15CF792413C0}"/>
                  </a:ext>
                </a:extLst>
              </p:cNvPr>
              <p:cNvGrpSpPr/>
              <p:nvPr/>
            </p:nvGrpSpPr>
            <p:grpSpPr bwMode="gray">
              <a:xfrm>
                <a:off x="5317359" y="2919394"/>
                <a:ext cx="1837962" cy="1196515"/>
                <a:chOff x="2513" y="2042"/>
                <a:chExt cx="884" cy="636"/>
              </a:xfrm>
              <a:solidFill>
                <a:srgbClr val="B3B3B3"/>
              </a:solidFill>
            </p:grpSpPr>
            <p:sp>
              <p:nvSpPr>
                <p:cNvPr id="1118" name="Freeform 356">
                  <a:extLst>
                    <a:ext uri="{FF2B5EF4-FFF2-40B4-BE49-F238E27FC236}">
                      <a16:creationId xmlns:a16="http://schemas.microsoft.com/office/drawing/2014/main" id="{2CECD5BA-CB4C-0753-990E-F51B81CF9572}"/>
                    </a:ext>
                  </a:extLst>
                </p:cNvPr>
                <p:cNvSpPr/>
                <p:nvPr/>
              </p:nvSpPr>
              <p:spPr bwMode="gray">
                <a:xfrm>
                  <a:off x="2958" y="2132"/>
                  <a:ext cx="79" cy="90"/>
                </a:xfrm>
                <a:custGeom>
                  <a:avLst/>
                  <a:gdLst>
                    <a:gd name="T0" fmla="*/ 34 w 112"/>
                    <a:gd name="T1" fmla="*/ 44 h 128"/>
                    <a:gd name="T2" fmla="*/ 28 w 112"/>
                    <a:gd name="T3" fmla="*/ 41 h 128"/>
                    <a:gd name="T4" fmla="*/ 28 w 112"/>
                    <a:gd name="T5" fmla="*/ 39 h 128"/>
                    <a:gd name="T6" fmla="*/ 20 w 112"/>
                    <a:gd name="T7" fmla="*/ 34 h 128"/>
                    <a:gd name="T8" fmla="*/ 14 w 112"/>
                    <a:gd name="T9" fmla="*/ 31 h 128"/>
                    <a:gd name="T10" fmla="*/ 11 w 112"/>
                    <a:gd name="T11" fmla="*/ 27 h 128"/>
                    <a:gd name="T12" fmla="*/ 11 w 112"/>
                    <a:gd name="T13" fmla="*/ 23 h 128"/>
                    <a:gd name="T14" fmla="*/ 8 w 112"/>
                    <a:gd name="T15" fmla="*/ 23 h 128"/>
                    <a:gd name="T16" fmla="*/ 6 w 112"/>
                    <a:gd name="T17" fmla="*/ 17 h 128"/>
                    <a:gd name="T18" fmla="*/ 3 w 112"/>
                    <a:gd name="T19" fmla="*/ 19 h 128"/>
                    <a:gd name="T20" fmla="*/ 3 w 112"/>
                    <a:gd name="T21" fmla="*/ 23 h 128"/>
                    <a:gd name="T22" fmla="*/ 0 w 112"/>
                    <a:gd name="T23" fmla="*/ 17 h 128"/>
                    <a:gd name="T24" fmla="*/ 0 w 112"/>
                    <a:gd name="T25" fmla="*/ 14 h 128"/>
                    <a:gd name="T26" fmla="*/ 3 w 112"/>
                    <a:gd name="T27" fmla="*/ 11 h 128"/>
                    <a:gd name="T28" fmla="*/ 14 w 112"/>
                    <a:gd name="T29" fmla="*/ 11 h 128"/>
                    <a:gd name="T30" fmla="*/ 17 w 112"/>
                    <a:gd name="T31" fmla="*/ 6 h 128"/>
                    <a:gd name="T32" fmla="*/ 17 w 112"/>
                    <a:gd name="T33" fmla="*/ 3 h 128"/>
                    <a:gd name="T34" fmla="*/ 20 w 112"/>
                    <a:gd name="T35" fmla="*/ 0 h 128"/>
                    <a:gd name="T36" fmla="*/ 23 w 112"/>
                    <a:gd name="T37" fmla="*/ 3 h 128"/>
                    <a:gd name="T38" fmla="*/ 28 w 112"/>
                    <a:gd name="T39" fmla="*/ 8 h 128"/>
                    <a:gd name="T40" fmla="*/ 36 w 112"/>
                    <a:gd name="T41" fmla="*/ 11 h 128"/>
                    <a:gd name="T42" fmla="*/ 40 w 112"/>
                    <a:gd name="T43" fmla="*/ 17 h 128"/>
                    <a:gd name="T44" fmla="*/ 31 w 112"/>
                    <a:gd name="T45" fmla="*/ 17 h 128"/>
                    <a:gd name="T46" fmla="*/ 25 w 112"/>
                    <a:gd name="T47" fmla="*/ 14 h 128"/>
                    <a:gd name="T48" fmla="*/ 23 w 112"/>
                    <a:gd name="T49" fmla="*/ 17 h 128"/>
                    <a:gd name="T50" fmla="*/ 20 w 112"/>
                    <a:gd name="T51" fmla="*/ 19 h 128"/>
                    <a:gd name="T52" fmla="*/ 17 w 112"/>
                    <a:gd name="T53" fmla="*/ 19 h 128"/>
                    <a:gd name="T54" fmla="*/ 17 w 112"/>
                    <a:gd name="T55" fmla="*/ 25 h 128"/>
                    <a:gd name="T56" fmla="*/ 23 w 112"/>
                    <a:gd name="T57" fmla="*/ 31 h 128"/>
                    <a:gd name="T58" fmla="*/ 28 w 112"/>
                    <a:gd name="T59" fmla="*/ 36 h 128"/>
                    <a:gd name="T60" fmla="*/ 31 w 112"/>
                    <a:gd name="T61" fmla="*/ 41 h 128"/>
                    <a:gd name="T62" fmla="*/ 34 w 112"/>
                    <a:gd name="T63" fmla="*/ 41 h 128"/>
                    <a:gd name="T64" fmla="*/ 34 w 112"/>
                    <a:gd name="T65" fmla="*/ 44 h 12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2"/>
                    <a:gd name="T100" fmla="*/ 0 h 128"/>
                    <a:gd name="T101" fmla="*/ 112 w 112"/>
                    <a:gd name="T102" fmla="*/ 128 h 12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2" h="128">
                      <a:moveTo>
                        <a:pt x="96" y="128"/>
                      </a:moveTo>
                      <a:lnTo>
                        <a:pt x="80" y="120"/>
                      </a:lnTo>
                      <a:lnTo>
                        <a:pt x="80" y="112"/>
                      </a:lnTo>
                      <a:lnTo>
                        <a:pt x="56" y="96"/>
                      </a:lnTo>
                      <a:lnTo>
                        <a:pt x="40" y="88"/>
                      </a:lnTo>
                      <a:lnTo>
                        <a:pt x="32" y="80"/>
                      </a:lnTo>
                      <a:lnTo>
                        <a:pt x="32" y="64"/>
                      </a:lnTo>
                      <a:lnTo>
                        <a:pt x="24" y="64"/>
                      </a:lnTo>
                      <a:lnTo>
                        <a:pt x="16" y="48"/>
                      </a:lnTo>
                      <a:lnTo>
                        <a:pt x="8" y="56"/>
                      </a:lnTo>
                      <a:lnTo>
                        <a:pt x="8" y="64"/>
                      </a:lnTo>
                      <a:lnTo>
                        <a:pt x="0" y="48"/>
                      </a:lnTo>
                      <a:lnTo>
                        <a:pt x="0" y="40"/>
                      </a:lnTo>
                      <a:lnTo>
                        <a:pt x="8" y="32"/>
                      </a:lnTo>
                      <a:lnTo>
                        <a:pt x="40" y="32"/>
                      </a:lnTo>
                      <a:lnTo>
                        <a:pt x="48" y="16"/>
                      </a:lnTo>
                      <a:lnTo>
                        <a:pt x="48" y="8"/>
                      </a:lnTo>
                      <a:lnTo>
                        <a:pt x="56" y="0"/>
                      </a:lnTo>
                      <a:lnTo>
                        <a:pt x="64" y="8"/>
                      </a:lnTo>
                      <a:lnTo>
                        <a:pt x="80" y="24"/>
                      </a:lnTo>
                      <a:lnTo>
                        <a:pt x="104" y="32"/>
                      </a:lnTo>
                      <a:lnTo>
                        <a:pt x="112" y="48"/>
                      </a:lnTo>
                      <a:lnTo>
                        <a:pt x="88" y="48"/>
                      </a:lnTo>
                      <a:lnTo>
                        <a:pt x="72" y="40"/>
                      </a:lnTo>
                      <a:lnTo>
                        <a:pt x="64" y="48"/>
                      </a:lnTo>
                      <a:lnTo>
                        <a:pt x="56" y="56"/>
                      </a:lnTo>
                      <a:lnTo>
                        <a:pt x="48" y="56"/>
                      </a:lnTo>
                      <a:lnTo>
                        <a:pt x="48" y="72"/>
                      </a:lnTo>
                      <a:lnTo>
                        <a:pt x="64" y="88"/>
                      </a:lnTo>
                      <a:lnTo>
                        <a:pt x="80" y="104"/>
                      </a:lnTo>
                      <a:lnTo>
                        <a:pt x="88" y="120"/>
                      </a:lnTo>
                      <a:lnTo>
                        <a:pt x="96" y="120"/>
                      </a:lnTo>
                      <a:lnTo>
                        <a:pt x="96" y="12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19" name="Freeform 357">
                  <a:extLst>
                    <a:ext uri="{FF2B5EF4-FFF2-40B4-BE49-F238E27FC236}">
                      <a16:creationId xmlns:a16="http://schemas.microsoft.com/office/drawing/2014/main" id="{EAC6093C-8370-1B59-6665-86FE1B9B09D9}"/>
                    </a:ext>
                  </a:extLst>
                </p:cNvPr>
                <p:cNvSpPr/>
                <p:nvPr/>
              </p:nvSpPr>
              <p:spPr bwMode="gray">
                <a:xfrm>
                  <a:off x="2992" y="2160"/>
                  <a:ext cx="50" cy="57"/>
                </a:xfrm>
                <a:custGeom>
                  <a:avLst/>
                  <a:gdLst>
                    <a:gd name="T0" fmla="*/ 16 w 72"/>
                    <a:gd name="T1" fmla="*/ 29 h 80"/>
                    <a:gd name="T2" fmla="*/ 13 w 72"/>
                    <a:gd name="T3" fmla="*/ 29 h 80"/>
                    <a:gd name="T4" fmla="*/ 10 w 72"/>
                    <a:gd name="T5" fmla="*/ 24 h 80"/>
                    <a:gd name="T6" fmla="*/ 6 w 72"/>
                    <a:gd name="T7" fmla="*/ 17 h 80"/>
                    <a:gd name="T8" fmla="*/ 0 w 72"/>
                    <a:gd name="T9" fmla="*/ 11 h 80"/>
                    <a:gd name="T10" fmla="*/ 0 w 72"/>
                    <a:gd name="T11" fmla="*/ 6 h 80"/>
                    <a:gd name="T12" fmla="*/ 3 w 72"/>
                    <a:gd name="T13" fmla="*/ 6 h 80"/>
                    <a:gd name="T14" fmla="*/ 6 w 72"/>
                    <a:gd name="T15" fmla="*/ 3 h 80"/>
                    <a:gd name="T16" fmla="*/ 8 w 72"/>
                    <a:gd name="T17" fmla="*/ 0 h 80"/>
                    <a:gd name="T18" fmla="*/ 13 w 72"/>
                    <a:gd name="T19" fmla="*/ 3 h 80"/>
                    <a:gd name="T20" fmla="*/ 22 w 72"/>
                    <a:gd name="T21" fmla="*/ 3 h 80"/>
                    <a:gd name="T22" fmla="*/ 22 w 72"/>
                    <a:gd name="T23" fmla="*/ 9 h 80"/>
                    <a:gd name="T24" fmla="*/ 24 w 72"/>
                    <a:gd name="T25" fmla="*/ 17 h 80"/>
                    <a:gd name="T26" fmla="*/ 19 w 72"/>
                    <a:gd name="T27" fmla="*/ 26 h 80"/>
                    <a:gd name="T28" fmla="*/ 16 w 72"/>
                    <a:gd name="T29" fmla="*/ 29 h 8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2"/>
                    <a:gd name="T46" fmla="*/ 0 h 80"/>
                    <a:gd name="T47" fmla="*/ 72 w 72"/>
                    <a:gd name="T48" fmla="*/ 80 h 8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2" h="80">
                      <a:moveTo>
                        <a:pt x="48" y="80"/>
                      </a:moveTo>
                      <a:lnTo>
                        <a:pt x="40" y="80"/>
                      </a:lnTo>
                      <a:lnTo>
                        <a:pt x="32" y="64"/>
                      </a:lnTo>
                      <a:lnTo>
                        <a:pt x="16" y="48"/>
                      </a:lnTo>
                      <a:lnTo>
                        <a:pt x="0" y="32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40" y="8"/>
                      </a:lnTo>
                      <a:lnTo>
                        <a:pt x="64" y="8"/>
                      </a:lnTo>
                      <a:lnTo>
                        <a:pt x="64" y="24"/>
                      </a:lnTo>
                      <a:lnTo>
                        <a:pt x="72" y="48"/>
                      </a:lnTo>
                      <a:lnTo>
                        <a:pt x="56" y="72"/>
                      </a:lnTo>
                      <a:lnTo>
                        <a:pt x="48" y="8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20" name="Freeform 358">
                  <a:extLst>
                    <a:ext uri="{FF2B5EF4-FFF2-40B4-BE49-F238E27FC236}">
                      <a16:creationId xmlns:a16="http://schemas.microsoft.com/office/drawing/2014/main" id="{F298F442-24A0-28EF-BECD-D306FB6D589F}"/>
                    </a:ext>
                  </a:extLst>
                </p:cNvPr>
                <p:cNvSpPr/>
                <p:nvPr/>
              </p:nvSpPr>
              <p:spPr bwMode="gray">
                <a:xfrm>
                  <a:off x="3138" y="2228"/>
                  <a:ext cx="259" cy="118"/>
                </a:xfrm>
                <a:custGeom>
                  <a:avLst/>
                  <a:gdLst>
                    <a:gd name="T0" fmla="*/ 125 w 368"/>
                    <a:gd name="T1" fmla="*/ 25 h 168"/>
                    <a:gd name="T2" fmla="*/ 128 w 368"/>
                    <a:gd name="T3" fmla="*/ 44 h 168"/>
                    <a:gd name="T4" fmla="*/ 123 w 368"/>
                    <a:gd name="T5" fmla="*/ 41 h 168"/>
                    <a:gd name="T6" fmla="*/ 111 w 368"/>
                    <a:gd name="T7" fmla="*/ 44 h 168"/>
                    <a:gd name="T8" fmla="*/ 103 w 368"/>
                    <a:gd name="T9" fmla="*/ 44 h 168"/>
                    <a:gd name="T10" fmla="*/ 87 w 368"/>
                    <a:gd name="T11" fmla="*/ 47 h 168"/>
                    <a:gd name="T12" fmla="*/ 72 w 368"/>
                    <a:gd name="T13" fmla="*/ 50 h 168"/>
                    <a:gd name="T14" fmla="*/ 67 w 368"/>
                    <a:gd name="T15" fmla="*/ 58 h 168"/>
                    <a:gd name="T16" fmla="*/ 67 w 368"/>
                    <a:gd name="T17" fmla="*/ 53 h 168"/>
                    <a:gd name="T18" fmla="*/ 58 w 368"/>
                    <a:gd name="T19" fmla="*/ 47 h 168"/>
                    <a:gd name="T20" fmla="*/ 53 w 368"/>
                    <a:gd name="T21" fmla="*/ 50 h 168"/>
                    <a:gd name="T22" fmla="*/ 48 w 368"/>
                    <a:gd name="T23" fmla="*/ 53 h 168"/>
                    <a:gd name="T24" fmla="*/ 34 w 368"/>
                    <a:gd name="T25" fmla="*/ 47 h 168"/>
                    <a:gd name="T26" fmla="*/ 27 w 368"/>
                    <a:gd name="T27" fmla="*/ 50 h 168"/>
                    <a:gd name="T28" fmla="*/ 19 w 368"/>
                    <a:gd name="T29" fmla="*/ 53 h 168"/>
                    <a:gd name="T30" fmla="*/ 14 w 368"/>
                    <a:gd name="T31" fmla="*/ 50 h 168"/>
                    <a:gd name="T32" fmla="*/ 8 w 368"/>
                    <a:gd name="T33" fmla="*/ 55 h 168"/>
                    <a:gd name="T34" fmla="*/ 11 w 368"/>
                    <a:gd name="T35" fmla="*/ 50 h 168"/>
                    <a:gd name="T36" fmla="*/ 8 w 368"/>
                    <a:gd name="T37" fmla="*/ 47 h 168"/>
                    <a:gd name="T38" fmla="*/ 8 w 368"/>
                    <a:gd name="T39" fmla="*/ 44 h 168"/>
                    <a:gd name="T40" fmla="*/ 6 w 368"/>
                    <a:gd name="T41" fmla="*/ 39 h 168"/>
                    <a:gd name="T42" fmla="*/ 0 w 368"/>
                    <a:gd name="T43" fmla="*/ 33 h 168"/>
                    <a:gd name="T44" fmla="*/ 3 w 368"/>
                    <a:gd name="T45" fmla="*/ 31 h 168"/>
                    <a:gd name="T46" fmla="*/ 3 w 368"/>
                    <a:gd name="T47" fmla="*/ 22 h 168"/>
                    <a:gd name="T48" fmla="*/ 3 w 368"/>
                    <a:gd name="T49" fmla="*/ 17 h 168"/>
                    <a:gd name="T50" fmla="*/ 11 w 368"/>
                    <a:gd name="T51" fmla="*/ 14 h 168"/>
                    <a:gd name="T52" fmla="*/ 19 w 368"/>
                    <a:gd name="T53" fmla="*/ 14 h 168"/>
                    <a:gd name="T54" fmla="*/ 23 w 368"/>
                    <a:gd name="T55" fmla="*/ 11 h 168"/>
                    <a:gd name="T56" fmla="*/ 19 w 368"/>
                    <a:gd name="T57" fmla="*/ 8 h 168"/>
                    <a:gd name="T58" fmla="*/ 27 w 368"/>
                    <a:gd name="T59" fmla="*/ 6 h 168"/>
                    <a:gd name="T60" fmla="*/ 39 w 368"/>
                    <a:gd name="T61" fmla="*/ 3 h 168"/>
                    <a:gd name="T62" fmla="*/ 56 w 368"/>
                    <a:gd name="T63" fmla="*/ 0 h 168"/>
                    <a:gd name="T64" fmla="*/ 61 w 368"/>
                    <a:gd name="T65" fmla="*/ 3 h 168"/>
                    <a:gd name="T66" fmla="*/ 72 w 368"/>
                    <a:gd name="T67" fmla="*/ 8 h 168"/>
                    <a:gd name="T68" fmla="*/ 84 w 368"/>
                    <a:gd name="T69" fmla="*/ 11 h 168"/>
                    <a:gd name="T70" fmla="*/ 92 w 368"/>
                    <a:gd name="T71" fmla="*/ 11 h 168"/>
                    <a:gd name="T72" fmla="*/ 106 w 368"/>
                    <a:gd name="T73" fmla="*/ 6 h 168"/>
                    <a:gd name="T74" fmla="*/ 111 w 368"/>
                    <a:gd name="T75" fmla="*/ 3 h 168"/>
                    <a:gd name="T76" fmla="*/ 123 w 368"/>
                    <a:gd name="T77" fmla="*/ 11 h 168"/>
                    <a:gd name="T78" fmla="*/ 128 w 368"/>
                    <a:gd name="T79" fmla="*/ 19 h 168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8"/>
                    <a:gd name="T121" fmla="*/ 0 h 168"/>
                    <a:gd name="T122" fmla="*/ 368 w 368"/>
                    <a:gd name="T123" fmla="*/ 168 h 168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8" h="168">
                      <a:moveTo>
                        <a:pt x="368" y="64"/>
                      </a:moveTo>
                      <a:lnTo>
                        <a:pt x="360" y="72"/>
                      </a:lnTo>
                      <a:lnTo>
                        <a:pt x="368" y="112"/>
                      </a:lnTo>
                      <a:lnTo>
                        <a:pt x="368" y="128"/>
                      </a:lnTo>
                      <a:lnTo>
                        <a:pt x="360" y="128"/>
                      </a:lnTo>
                      <a:lnTo>
                        <a:pt x="352" y="120"/>
                      </a:lnTo>
                      <a:lnTo>
                        <a:pt x="336" y="120"/>
                      </a:lnTo>
                      <a:lnTo>
                        <a:pt x="320" y="128"/>
                      </a:lnTo>
                      <a:lnTo>
                        <a:pt x="312" y="120"/>
                      </a:lnTo>
                      <a:lnTo>
                        <a:pt x="296" y="128"/>
                      </a:lnTo>
                      <a:lnTo>
                        <a:pt x="272" y="136"/>
                      </a:lnTo>
                      <a:lnTo>
                        <a:pt x="248" y="136"/>
                      </a:lnTo>
                      <a:lnTo>
                        <a:pt x="232" y="136"/>
                      </a:lnTo>
                      <a:lnTo>
                        <a:pt x="208" y="144"/>
                      </a:lnTo>
                      <a:lnTo>
                        <a:pt x="208" y="152"/>
                      </a:lnTo>
                      <a:lnTo>
                        <a:pt x="192" y="168"/>
                      </a:lnTo>
                      <a:lnTo>
                        <a:pt x="192" y="160"/>
                      </a:lnTo>
                      <a:lnTo>
                        <a:pt x="192" y="152"/>
                      </a:lnTo>
                      <a:lnTo>
                        <a:pt x="192" y="136"/>
                      </a:lnTo>
                      <a:lnTo>
                        <a:pt x="168" y="136"/>
                      </a:lnTo>
                      <a:lnTo>
                        <a:pt x="168" y="144"/>
                      </a:lnTo>
                      <a:lnTo>
                        <a:pt x="152" y="144"/>
                      </a:lnTo>
                      <a:lnTo>
                        <a:pt x="152" y="152"/>
                      </a:lnTo>
                      <a:lnTo>
                        <a:pt x="136" y="152"/>
                      </a:lnTo>
                      <a:lnTo>
                        <a:pt x="120" y="152"/>
                      </a:lnTo>
                      <a:lnTo>
                        <a:pt x="96" y="136"/>
                      </a:lnTo>
                      <a:lnTo>
                        <a:pt x="80" y="136"/>
                      </a:lnTo>
                      <a:lnTo>
                        <a:pt x="80" y="144"/>
                      </a:lnTo>
                      <a:lnTo>
                        <a:pt x="72" y="144"/>
                      </a:lnTo>
                      <a:lnTo>
                        <a:pt x="56" y="152"/>
                      </a:lnTo>
                      <a:lnTo>
                        <a:pt x="48" y="144"/>
                      </a:lnTo>
                      <a:lnTo>
                        <a:pt x="40" y="144"/>
                      </a:lnTo>
                      <a:lnTo>
                        <a:pt x="32" y="152"/>
                      </a:lnTo>
                      <a:lnTo>
                        <a:pt x="24" y="160"/>
                      </a:lnTo>
                      <a:lnTo>
                        <a:pt x="24" y="152"/>
                      </a:lnTo>
                      <a:lnTo>
                        <a:pt x="32" y="144"/>
                      </a:lnTo>
                      <a:lnTo>
                        <a:pt x="32" y="136"/>
                      </a:lnTo>
                      <a:lnTo>
                        <a:pt x="24" y="136"/>
                      </a:lnTo>
                      <a:lnTo>
                        <a:pt x="16" y="136"/>
                      </a:lnTo>
                      <a:lnTo>
                        <a:pt x="24" y="128"/>
                      </a:lnTo>
                      <a:lnTo>
                        <a:pt x="16" y="120"/>
                      </a:lnTo>
                      <a:lnTo>
                        <a:pt x="16" y="112"/>
                      </a:lnTo>
                      <a:lnTo>
                        <a:pt x="8" y="104"/>
                      </a:lnTo>
                      <a:lnTo>
                        <a:pt x="0" y="96"/>
                      </a:lnTo>
                      <a:lnTo>
                        <a:pt x="8" y="96"/>
                      </a:lnTo>
                      <a:lnTo>
                        <a:pt x="8" y="88"/>
                      </a:lnTo>
                      <a:lnTo>
                        <a:pt x="8" y="72"/>
                      </a:lnTo>
                      <a:lnTo>
                        <a:pt x="8" y="64"/>
                      </a:lnTo>
                      <a:lnTo>
                        <a:pt x="0" y="64"/>
                      </a:lnTo>
                      <a:lnTo>
                        <a:pt x="8" y="48"/>
                      </a:lnTo>
                      <a:lnTo>
                        <a:pt x="16" y="40"/>
                      </a:lnTo>
                      <a:lnTo>
                        <a:pt x="32" y="40"/>
                      </a:lnTo>
                      <a:lnTo>
                        <a:pt x="40" y="40"/>
                      </a:lnTo>
                      <a:lnTo>
                        <a:pt x="56" y="40"/>
                      </a:lnTo>
                      <a:lnTo>
                        <a:pt x="64" y="40"/>
                      </a:lnTo>
                      <a:lnTo>
                        <a:pt x="64" y="32"/>
                      </a:lnTo>
                      <a:lnTo>
                        <a:pt x="56" y="32"/>
                      </a:lnTo>
                      <a:lnTo>
                        <a:pt x="56" y="24"/>
                      </a:lnTo>
                      <a:lnTo>
                        <a:pt x="64" y="16"/>
                      </a:lnTo>
                      <a:lnTo>
                        <a:pt x="80" y="16"/>
                      </a:lnTo>
                      <a:lnTo>
                        <a:pt x="96" y="24"/>
                      </a:lnTo>
                      <a:lnTo>
                        <a:pt x="112" y="8"/>
                      </a:lnTo>
                      <a:lnTo>
                        <a:pt x="136" y="0"/>
                      </a:lnTo>
                      <a:lnTo>
                        <a:pt x="160" y="0"/>
                      </a:lnTo>
                      <a:lnTo>
                        <a:pt x="168" y="0"/>
                      </a:lnTo>
                      <a:lnTo>
                        <a:pt x="176" y="8"/>
                      </a:lnTo>
                      <a:lnTo>
                        <a:pt x="192" y="8"/>
                      </a:lnTo>
                      <a:lnTo>
                        <a:pt x="208" y="24"/>
                      </a:lnTo>
                      <a:lnTo>
                        <a:pt x="216" y="24"/>
                      </a:lnTo>
                      <a:lnTo>
                        <a:pt x="240" y="32"/>
                      </a:lnTo>
                      <a:lnTo>
                        <a:pt x="248" y="24"/>
                      </a:lnTo>
                      <a:lnTo>
                        <a:pt x="264" y="32"/>
                      </a:lnTo>
                      <a:lnTo>
                        <a:pt x="280" y="24"/>
                      </a:lnTo>
                      <a:lnTo>
                        <a:pt x="304" y="16"/>
                      </a:lnTo>
                      <a:lnTo>
                        <a:pt x="304" y="8"/>
                      </a:lnTo>
                      <a:lnTo>
                        <a:pt x="320" y="8"/>
                      </a:lnTo>
                      <a:lnTo>
                        <a:pt x="336" y="8"/>
                      </a:lnTo>
                      <a:lnTo>
                        <a:pt x="352" y="32"/>
                      </a:lnTo>
                      <a:lnTo>
                        <a:pt x="352" y="48"/>
                      </a:lnTo>
                      <a:lnTo>
                        <a:pt x="368" y="56"/>
                      </a:lnTo>
                      <a:lnTo>
                        <a:pt x="368" y="64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21" name="Freeform 359">
                  <a:extLst>
                    <a:ext uri="{FF2B5EF4-FFF2-40B4-BE49-F238E27FC236}">
                      <a16:creationId xmlns:a16="http://schemas.microsoft.com/office/drawing/2014/main" id="{BEFC5EC2-28EC-ACA1-ADCB-11F1B6919CDA}"/>
                    </a:ext>
                  </a:extLst>
                </p:cNvPr>
                <p:cNvSpPr/>
                <p:nvPr/>
              </p:nvSpPr>
              <p:spPr bwMode="gray">
                <a:xfrm>
                  <a:off x="3250" y="2380"/>
                  <a:ext cx="29" cy="67"/>
                </a:xfrm>
                <a:custGeom>
                  <a:avLst/>
                  <a:gdLst>
                    <a:gd name="T0" fmla="*/ 0 w 40"/>
                    <a:gd name="T1" fmla="*/ 19 h 96"/>
                    <a:gd name="T2" fmla="*/ 3 w 40"/>
                    <a:gd name="T3" fmla="*/ 14 h 96"/>
                    <a:gd name="T4" fmla="*/ 3 w 40"/>
                    <a:gd name="T5" fmla="*/ 10 h 96"/>
                    <a:gd name="T6" fmla="*/ 7 w 40"/>
                    <a:gd name="T7" fmla="*/ 8 h 96"/>
                    <a:gd name="T8" fmla="*/ 7 w 40"/>
                    <a:gd name="T9" fmla="*/ 6 h 96"/>
                    <a:gd name="T10" fmla="*/ 9 w 40"/>
                    <a:gd name="T11" fmla="*/ 0 h 96"/>
                    <a:gd name="T12" fmla="*/ 9 w 40"/>
                    <a:gd name="T13" fmla="*/ 3 h 96"/>
                    <a:gd name="T14" fmla="*/ 12 w 40"/>
                    <a:gd name="T15" fmla="*/ 0 h 96"/>
                    <a:gd name="T16" fmla="*/ 15 w 40"/>
                    <a:gd name="T17" fmla="*/ 0 h 96"/>
                    <a:gd name="T18" fmla="*/ 12 w 40"/>
                    <a:gd name="T19" fmla="*/ 10 h 96"/>
                    <a:gd name="T20" fmla="*/ 9 w 40"/>
                    <a:gd name="T21" fmla="*/ 10 h 96"/>
                    <a:gd name="T22" fmla="*/ 7 w 40"/>
                    <a:gd name="T23" fmla="*/ 10 h 96"/>
                    <a:gd name="T24" fmla="*/ 7 w 40"/>
                    <a:gd name="T25" fmla="*/ 14 h 96"/>
                    <a:gd name="T26" fmla="*/ 7 w 40"/>
                    <a:gd name="T27" fmla="*/ 17 h 96"/>
                    <a:gd name="T28" fmla="*/ 9 w 40"/>
                    <a:gd name="T29" fmla="*/ 19 h 96"/>
                    <a:gd name="T30" fmla="*/ 7 w 40"/>
                    <a:gd name="T31" fmla="*/ 24 h 96"/>
                    <a:gd name="T32" fmla="*/ 3 w 40"/>
                    <a:gd name="T33" fmla="*/ 33 h 96"/>
                    <a:gd name="T34" fmla="*/ 0 w 40"/>
                    <a:gd name="T35" fmla="*/ 27 h 96"/>
                    <a:gd name="T36" fmla="*/ 0 w 40"/>
                    <a:gd name="T37" fmla="*/ 22 h 96"/>
                    <a:gd name="T38" fmla="*/ 3 w 40"/>
                    <a:gd name="T39" fmla="*/ 19 h 96"/>
                    <a:gd name="T40" fmla="*/ 3 w 40"/>
                    <a:gd name="T41" fmla="*/ 19 h 96"/>
                    <a:gd name="T42" fmla="*/ 0 w 40"/>
                    <a:gd name="T43" fmla="*/ 19 h 9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0"/>
                    <a:gd name="T67" fmla="*/ 0 h 96"/>
                    <a:gd name="T68" fmla="*/ 40 w 40"/>
                    <a:gd name="T69" fmla="*/ 96 h 9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0" h="96">
                      <a:moveTo>
                        <a:pt x="0" y="56"/>
                      </a:moveTo>
                      <a:lnTo>
                        <a:pt x="8" y="40"/>
                      </a:lnTo>
                      <a:lnTo>
                        <a:pt x="8" y="32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24" y="0"/>
                      </a:lnTo>
                      <a:lnTo>
                        <a:pt x="24" y="8"/>
                      </a:lnTo>
                      <a:lnTo>
                        <a:pt x="32" y="0"/>
                      </a:lnTo>
                      <a:lnTo>
                        <a:pt x="40" y="0"/>
                      </a:lnTo>
                      <a:lnTo>
                        <a:pt x="32" y="32"/>
                      </a:lnTo>
                      <a:lnTo>
                        <a:pt x="24" y="32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16" y="48"/>
                      </a:lnTo>
                      <a:lnTo>
                        <a:pt x="24" y="56"/>
                      </a:lnTo>
                      <a:lnTo>
                        <a:pt x="16" y="72"/>
                      </a:lnTo>
                      <a:lnTo>
                        <a:pt x="8" y="96"/>
                      </a:lnTo>
                      <a:lnTo>
                        <a:pt x="0" y="80"/>
                      </a:lnTo>
                      <a:lnTo>
                        <a:pt x="0" y="64"/>
                      </a:lnTo>
                      <a:lnTo>
                        <a:pt x="8" y="56"/>
                      </a:lnTo>
                      <a:lnTo>
                        <a:pt x="0" y="5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22" name="Freeform 360">
                  <a:extLst>
                    <a:ext uri="{FF2B5EF4-FFF2-40B4-BE49-F238E27FC236}">
                      <a16:creationId xmlns:a16="http://schemas.microsoft.com/office/drawing/2014/main" id="{69AB59D1-6C2B-1EA0-3D31-6128E3B9AADE}"/>
                    </a:ext>
                  </a:extLst>
                </p:cNvPr>
                <p:cNvSpPr/>
                <p:nvPr/>
              </p:nvSpPr>
              <p:spPr bwMode="gray">
                <a:xfrm>
                  <a:off x="2935" y="2301"/>
                  <a:ext cx="45" cy="23"/>
                </a:xfrm>
                <a:custGeom>
                  <a:avLst/>
                  <a:gdLst>
                    <a:gd name="T0" fmla="*/ 23 w 64"/>
                    <a:gd name="T1" fmla="*/ 0 h 32"/>
                    <a:gd name="T2" fmla="*/ 19 w 64"/>
                    <a:gd name="T3" fmla="*/ 6 h 32"/>
                    <a:gd name="T4" fmla="*/ 19 w 64"/>
                    <a:gd name="T5" fmla="*/ 12 h 32"/>
                    <a:gd name="T6" fmla="*/ 11 w 64"/>
                    <a:gd name="T7" fmla="*/ 9 h 32"/>
                    <a:gd name="T8" fmla="*/ 6 w 64"/>
                    <a:gd name="T9" fmla="*/ 6 h 32"/>
                    <a:gd name="T10" fmla="*/ 3 w 64"/>
                    <a:gd name="T11" fmla="*/ 3 h 32"/>
                    <a:gd name="T12" fmla="*/ 0 w 64"/>
                    <a:gd name="T13" fmla="*/ 3 h 32"/>
                    <a:gd name="T14" fmla="*/ 3 w 64"/>
                    <a:gd name="T15" fmla="*/ 0 h 32"/>
                    <a:gd name="T16" fmla="*/ 6 w 64"/>
                    <a:gd name="T17" fmla="*/ 0 h 32"/>
                    <a:gd name="T18" fmla="*/ 11 w 64"/>
                    <a:gd name="T19" fmla="*/ 0 h 32"/>
                    <a:gd name="T20" fmla="*/ 17 w 64"/>
                    <a:gd name="T21" fmla="*/ 0 h 32"/>
                    <a:gd name="T22" fmla="*/ 23 w 64"/>
                    <a:gd name="T23" fmla="*/ 0 h 3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4"/>
                    <a:gd name="T37" fmla="*/ 0 h 32"/>
                    <a:gd name="T38" fmla="*/ 64 w 64"/>
                    <a:gd name="T39" fmla="*/ 32 h 3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4" h="32">
                      <a:moveTo>
                        <a:pt x="64" y="0"/>
                      </a:moveTo>
                      <a:lnTo>
                        <a:pt x="56" y="16"/>
                      </a:lnTo>
                      <a:lnTo>
                        <a:pt x="56" y="32"/>
                      </a:lnTo>
                      <a:lnTo>
                        <a:pt x="32" y="24"/>
                      </a:lnTo>
                      <a:lnTo>
                        <a:pt x="16" y="16"/>
                      </a:ln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32" y="0"/>
                      </a:lnTo>
                      <a:lnTo>
                        <a:pt x="48" y="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23" name="Freeform 361">
                  <a:extLst>
                    <a:ext uri="{FF2B5EF4-FFF2-40B4-BE49-F238E27FC236}">
                      <a16:creationId xmlns:a16="http://schemas.microsoft.com/office/drawing/2014/main" id="{48D35980-B122-2309-13B5-B63352CD080F}"/>
                    </a:ext>
                  </a:extLst>
                </p:cNvPr>
                <p:cNvSpPr/>
                <p:nvPr/>
              </p:nvSpPr>
              <p:spPr bwMode="gray">
                <a:xfrm>
                  <a:off x="2879" y="2239"/>
                  <a:ext cx="23" cy="45"/>
                </a:xfrm>
                <a:custGeom>
                  <a:avLst/>
                  <a:gdLst>
                    <a:gd name="T0" fmla="*/ 0 w 32"/>
                    <a:gd name="T1" fmla="*/ 6 h 64"/>
                    <a:gd name="T2" fmla="*/ 6 w 32"/>
                    <a:gd name="T3" fmla="*/ 3 h 64"/>
                    <a:gd name="T4" fmla="*/ 9 w 32"/>
                    <a:gd name="T5" fmla="*/ 0 h 64"/>
                    <a:gd name="T6" fmla="*/ 9 w 32"/>
                    <a:gd name="T7" fmla="*/ 3 h 64"/>
                    <a:gd name="T8" fmla="*/ 9 w 32"/>
                    <a:gd name="T9" fmla="*/ 6 h 64"/>
                    <a:gd name="T10" fmla="*/ 12 w 32"/>
                    <a:gd name="T11" fmla="*/ 8 h 64"/>
                    <a:gd name="T12" fmla="*/ 12 w 32"/>
                    <a:gd name="T13" fmla="*/ 17 h 64"/>
                    <a:gd name="T14" fmla="*/ 9 w 32"/>
                    <a:gd name="T15" fmla="*/ 19 h 64"/>
                    <a:gd name="T16" fmla="*/ 6 w 32"/>
                    <a:gd name="T17" fmla="*/ 23 h 64"/>
                    <a:gd name="T18" fmla="*/ 3 w 32"/>
                    <a:gd name="T19" fmla="*/ 23 h 64"/>
                    <a:gd name="T20" fmla="*/ 0 w 32"/>
                    <a:gd name="T21" fmla="*/ 23 h 64"/>
                    <a:gd name="T22" fmla="*/ 0 w 32"/>
                    <a:gd name="T23" fmla="*/ 17 h 64"/>
                    <a:gd name="T24" fmla="*/ 0 w 32"/>
                    <a:gd name="T25" fmla="*/ 8 h 64"/>
                    <a:gd name="T26" fmla="*/ 0 w 32"/>
                    <a:gd name="T27" fmla="*/ 6 h 6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2"/>
                    <a:gd name="T43" fmla="*/ 0 h 64"/>
                    <a:gd name="T44" fmla="*/ 32 w 32"/>
                    <a:gd name="T45" fmla="*/ 64 h 6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2" h="64">
                      <a:moveTo>
                        <a:pt x="0" y="16"/>
                      </a:move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24" y="8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32" y="48"/>
                      </a:lnTo>
                      <a:lnTo>
                        <a:pt x="24" y="56"/>
                      </a:lnTo>
                      <a:lnTo>
                        <a:pt x="16" y="64"/>
                      </a:lnTo>
                      <a:lnTo>
                        <a:pt x="8" y="64"/>
                      </a:lnTo>
                      <a:lnTo>
                        <a:pt x="0" y="64"/>
                      </a:lnTo>
                      <a:lnTo>
                        <a:pt x="0" y="48"/>
                      </a:lnTo>
                      <a:lnTo>
                        <a:pt x="0" y="24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24" name="Freeform 362">
                  <a:extLst>
                    <a:ext uri="{FF2B5EF4-FFF2-40B4-BE49-F238E27FC236}">
                      <a16:creationId xmlns:a16="http://schemas.microsoft.com/office/drawing/2014/main" id="{18EFFADD-E140-25A5-1B50-464DEDA65FB2}"/>
                    </a:ext>
                  </a:extLst>
                </p:cNvPr>
                <p:cNvSpPr/>
                <p:nvPr/>
              </p:nvSpPr>
              <p:spPr bwMode="gray">
                <a:xfrm>
                  <a:off x="2885" y="2206"/>
                  <a:ext cx="11" cy="33"/>
                </a:xfrm>
                <a:custGeom>
                  <a:avLst/>
                  <a:gdLst>
                    <a:gd name="T0" fmla="*/ 6 w 16"/>
                    <a:gd name="T1" fmla="*/ 0 h 48"/>
                    <a:gd name="T2" fmla="*/ 6 w 16"/>
                    <a:gd name="T3" fmla="*/ 3 h 48"/>
                    <a:gd name="T4" fmla="*/ 6 w 16"/>
                    <a:gd name="T5" fmla="*/ 6 h 48"/>
                    <a:gd name="T6" fmla="*/ 3 w 16"/>
                    <a:gd name="T7" fmla="*/ 13 h 48"/>
                    <a:gd name="T8" fmla="*/ 3 w 16"/>
                    <a:gd name="T9" fmla="*/ 16 h 48"/>
                    <a:gd name="T10" fmla="*/ 0 w 16"/>
                    <a:gd name="T11" fmla="*/ 13 h 48"/>
                    <a:gd name="T12" fmla="*/ 0 w 16"/>
                    <a:gd name="T13" fmla="*/ 8 h 48"/>
                    <a:gd name="T14" fmla="*/ 0 w 16"/>
                    <a:gd name="T15" fmla="*/ 6 h 48"/>
                    <a:gd name="T16" fmla="*/ 3 w 16"/>
                    <a:gd name="T17" fmla="*/ 3 h 48"/>
                    <a:gd name="T18" fmla="*/ 3 w 16"/>
                    <a:gd name="T19" fmla="*/ 0 h 48"/>
                    <a:gd name="T20" fmla="*/ 6 w 16"/>
                    <a:gd name="T21" fmla="*/ 0 h 4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6"/>
                    <a:gd name="T34" fmla="*/ 0 h 48"/>
                    <a:gd name="T35" fmla="*/ 16 w 16"/>
                    <a:gd name="T36" fmla="*/ 48 h 4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6" h="48">
                      <a:moveTo>
                        <a:pt x="16" y="0"/>
                      </a:move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8" y="40"/>
                      </a:lnTo>
                      <a:lnTo>
                        <a:pt x="8" y="48"/>
                      </a:lnTo>
                      <a:lnTo>
                        <a:pt x="0" y="40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25" name="Freeform 363">
                  <a:extLst>
                    <a:ext uri="{FF2B5EF4-FFF2-40B4-BE49-F238E27FC236}">
                      <a16:creationId xmlns:a16="http://schemas.microsoft.com/office/drawing/2014/main" id="{5A999573-C3B2-18B6-F25C-D7E156F99692}"/>
                    </a:ext>
                  </a:extLst>
                </p:cNvPr>
                <p:cNvSpPr/>
                <p:nvPr/>
              </p:nvSpPr>
              <p:spPr bwMode="gray">
                <a:xfrm>
                  <a:off x="3104" y="2346"/>
                  <a:ext cx="34" cy="11"/>
                </a:xfrm>
                <a:custGeom>
                  <a:avLst/>
                  <a:gdLst>
                    <a:gd name="T0" fmla="*/ 0 w 48"/>
                    <a:gd name="T1" fmla="*/ 3 h 16"/>
                    <a:gd name="T2" fmla="*/ 0 w 48"/>
                    <a:gd name="T3" fmla="*/ 0 h 16"/>
                    <a:gd name="T4" fmla="*/ 3 w 48"/>
                    <a:gd name="T5" fmla="*/ 0 h 16"/>
                    <a:gd name="T6" fmla="*/ 6 w 48"/>
                    <a:gd name="T7" fmla="*/ 3 h 16"/>
                    <a:gd name="T8" fmla="*/ 9 w 48"/>
                    <a:gd name="T9" fmla="*/ 3 h 16"/>
                    <a:gd name="T10" fmla="*/ 11 w 48"/>
                    <a:gd name="T11" fmla="*/ 3 h 16"/>
                    <a:gd name="T12" fmla="*/ 14 w 48"/>
                    <a:gd name="T13" fmla="*/ 3 h 16"/>
                    <a:gd name="T14" fmla="*/ 17 w 48"/>
                    <a:gd name="T15" fmla="*/ 3 h 16"/>
                    <a:gd name="T16" fmla="*/ 17 w 48"/>
                    <a:gd name="T17" fmla="*/ 6 h 16"/>
                    <a:gd name="T18" fmla="*/ 14 w 48"/>
                    <a:gd name="T19" fmla="*/ 6 h 16"/>
                    <a:gd name="T20" fmla="*/ 11 w 48"/>
                    <a:gd name="T21" fmla="*/ 6 h 16"/>
                    <a:gd name="T22" fmla="*/ 6 w 48"/>
                    <a:gd name="T23" fmla="*/ 6 h 16"/>
                    <a:gd name="T24" fmla="*/ 3 w 48"/>
                    <a:gd name="T25" fmla="*/ 6 h 16"/>
                    <a:gd name="T26" fmla="*/ 3 w 48"/>
                    <a:gd name="T27" fmla="*/ 3 h 16"/>
                    <a:gd name="T28" fmla="*/ 0 w 48"/>
                    <a:gd name="T29" fmla="*/ 3 h 1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8"/>
                    <a:gd name="T46" fmla="*/ 0 h 16"/>
                    <a:gd name="T47" fmla="*/ 48 w 48"/>
                    <a:gd name="T48" fmla="*/ 16 h 1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8" h="16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48" y="16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26" name="Freeform 364">
                  <a:extLst>
                    <a:ext uri="{FF2B5EF4-FFF2-40B4-BE49-F238E27FC236}">
                      <a16:creationId xmlns:a16="http://schemas.microsoft.com/office/drawing/2014/main" id="{CE00FB74-BDE1-FADE-A04F-1AC1F31BC24F}"/>
                    </a:ext>
                  </a:extLst>
                </p:cNvPr>
                <p:cNvSpPr/>
                <p:nvPr/>
              </p:nvSpPr>
              <p:spPr bwMode="gray">
                <a:xfrm>
                  <a:off x="2778" y="2284"/>
                  <a:ext cx="11" cy="6"/>
                </a:xfrm>
                <a:custGeom>
                  <a:avLst/>
                  <a:gdLst>
                    <a:gd name="T0" fmla="*/ 0 w 16"/>
                    <a:gd name="T1" fmla="*/ 4 h 8"/>
                    <a:gd name="T2" fmla="*/ 3 w 16"/>
                    <a:gd name="T3" fmla="*/ 0 h 8"/>
                    <a:gd name="T4" fmla="*/ 6 w 16"/>
                    <a:gd name="T5" fmla="*/ 0 h 8"/>
                    <a:gd name="T6" fmla="*/ 3 w 16"/>
                    <a:gd name="T7" fmla="*/ 4 h 8"/>
                    <a:gd name="T8" fmla="*/ 0 w 16"/>
                    <a:gd name="T9" fmla="*/ 4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27" name="Freeform 365">
                  <a:extLst>
                    <a:ext uri="{FF2B5EF4-FFF2-40B4-BE49-F238E27FC236}">
                      <a16:creationId xmlns:a16="http://schemas.microsoft.com/office/drawing/2014/main" id="{6B448729-512F-D992-A62D-D6918C663D77}"/>
                    </a:ext>
                  </a:extLst>
                </p:cNvPr>
                <p:cNvSpPr/>
                <p:nvPr/>
              </p:nvSpPr>
              <p:spPr bwMode="gray">
                <a:xfrm>
                  <a:off x="2795" y="2273"/>
                  <a:ext cx="11" cy="11"/>
                </a:xfrm>
                <a:custGeom>
                  <a:avLst/>
                  <a:gdLst>
                    <a:gd name="T0" fmla="*/ 0 w 16"/>
                    <a:gd name="T1" fmla="*/ 6 h 16"/>
                    <a:gd name="T2" fmla="*/ 0 w 16"/>
                    <a:gd name="T3" fmla="*/ 0 h 16"/>
                    <a:gd name="T4" fmla="*/ 6 w 16"/>
                    <a:gd name="T5" fmla="*/ 0 h 16"/>
                    <a:gd name="T6" fmla="*/ 6 w 16"/>
                    <a:gd name="T7" fmla="*/ 3 h 16"/>
                    <a:gd name="T8" fmla="*/ 6 w 16"/>
                    <a:gd name="T9" fmla="*/ 6 h 16"/>
                    <a:gd name="T10" fmla="*/ 3 w 16"/>
                    <a:gd name="T11" fmla="*/ 6 h 16"/>
                    <a:gd name="T12" fmla="*/ 0 w 16"/>
                    <a:gd name="T13" fmla="*/ 6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16"/>
                    <a:gd name="T23" fmla="*/ 16 w 16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16">
                      <a:moveTo>
                        <a:pt x="0" y="16"/>
                      </a:moveTo>
                      <a:lnTo>
                        <a:pt x="0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28" name="Freeform 366">
                  <a:extLst>
                    <a:ext uri="{FF2B5EF4-FFF2-40B4-BE49-F238E27FC236}">
                      <a16:creationId xmlns:a16="http://schemas.microsoft.com/office/drawing/2014/main" id="{6B9F15C0-6570-A4F9-7B52-728F4409B36E}"/>
                    </a:ext>
                  </a:extLst>
                </p:cNvPr>
                <p:cNvSpPr/>
                <p:nvPr/>
              </p:nvSpPr>
              <p:spPr bwMode="gray">
                <a:xfrm>
                  <a:off x="2812" y="2267"/>
                  <a:ext cx="11" cy="6"/>
                </a:xfrm>
                <a:custGeom>
                  <a:avLst/>
                  <a:gdLst>
                    <a:gd name="T0" fmla="*/ 0 w 16"/>
                    <a:gd name="T1" fmla="*/ 4 h 8"/>
                    <a:gd name="T2" fmla="*/ 0 w 16"/>
                    <a:gd name="T3" fmla="*/ 0 h 8"/>
                    <a:gd name="T4" fmla="*/ 3 w 16"/>
                    <a:gd name="T5" fmla="*/ 0 h 8"/>
                    <a:gd name="T6" fmla="*/ 6 w 16"/>
                    <a:gd name="T7" fmla="*/ 0 h 8"/>
                    <a:gd name="T8" fmla="*/ 6 w 16"/>
                    <a:gd name="T9" fmla="*/ 4 h 8"/>
                    <a:gd name="T10" fmla="*/ 0 w 16"/>
                    <a:gd name="T11" fmla="*/ 4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8"/>
                    <a:gd name="T20" fmla="*/ 16 w 16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8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29" name="Freeform 367">
                  <a:extLst>
                    <a:ext uri="{FF2B5EF4-FFF2-40B4-BE49-F238E27FC236}">
                      <a16:creationId xmlns:a16="http://schemas.microsoft.com/office/drawing/2014/main" id="{B8C9503B-A102-56C5-1017-8BF5BE3764C3}"/>
                    </a:ext>
                  </a:extLst>
                </p:cNvPr>
                <p:cNvSpPr/>
                <p:nvPr/>
              </p:nvSpPr>
              <p:spPr bwMode="gray">
                <a:xfrm>
                  <a:off x="3099" y="2284"/>
                  <a:ext cx="16" cy="23"/>
                </a:xfrm>
                <a:custGeom>
                  <a:avLst/>
                  <a:gdLst>
                    <a:gd name="T0" fmla="*/ 0 w 24"/>
                    <a:gd name="T1" fmla="*/ 3 h 32"/>
                    <a:gd name="T2" fmla="*/ 2 w 24"/>
                    <a:gd name="T3" fmla="*/ 6 h 32"/>
                    <a:gd name="T4" fmla="*/ 5 w 24"/>
                    <a:gd name="T5" fmla="*/ 9 h 32"/>
                    <a:gd name="T6" fmla="*/ 7 w 24"/>
                    <a:gd name="T7" fmla="*/ 12 h 32"/>
                    <a:gd name="T8" fmla="*/ 7 w 24"/>
                    <a:gd name="T9" fmla="*/ 6 h 32"/>
                    <a:gd name="T10" fmla="*/ 2 w 24"/>
                    <a:gd name="T11" fmla="*/ 0 h 32"/>
                    <a:gd name="T12" fmla="*/ 0 w 24"/>
                    <a:gd name="T13" fmla="*/ 0 h 32"/>
                    <a:gd name="T14" fmla="*/ 0 w 24"/>
                    <a:gd name="T15" fmla="*/ 3 h 3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32"/>
                    <a:gd name="T26" fmla="*/ 24 w 24"/>
                    <a:gd name="T27" fmla="*/ 32 h 3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32">
                      <a:moveTo>
                        <a:pt x="0" y="8"/>
                      </a:moveTo>
                      <a:lnTo>
                        <a:pt x="8" y="16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24" y="16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30" name="Freeform 368">
                  <a:extLst>
                    <a:ext uri="{FF2B5EF4-FFF2-40B4-BE49-F238E27FC236}">
                      <a16:creationId xmlns:a16="http://schemas.microsoft.com/office/drawing/2014/main" id="{0DCC74EC-C8D9-12F3-2B2F-F7540EA13A16}"/>
                    </a:ext>
                  </a:extLst>
                </p:cNvPr>
                <p:cNvSpPr/>
                <p:nvPr/>
              </p:nvSpPr>
              <p:spPr bwMode="gray">
                <a:xfrm>
                  <a:off x="3132" y="2284"/>
                  <a:ext cx="6" cy="12"/>
                </a:xfrm>
                <a:custGeom>
                  <a:avLst/>
                  <a:gdLst>
                    <a:gd name="T0" fmla="*/ 4 w 8"/>
                    <a:gd name="T1" fmla="*/ 7 h 16"/>
                    <a:gd name="T2" fmla="*/ 4 w 8"/>
                    <a:gd name="T3" fmla="*/ 4 h 16"/>
                    <a:gd name="T4" fmla="*/ 4 w 8"/>
                    <a:gd name="T5" fmla="*/ 0 h 16"/>
                    <a:gd name="T6" fmla="*/ 0 w 8"/>
                    <a:gd name="T7" fmla="*/ 0 h 16"/>
                    <a:gd name="T8" fmla="*/ 0 w 8"/>
                    <a:gd name="T9" fmla="*/ 4 h 16"/>
                    <a:gd name="T10" fmla="*/ 4 w 8"/>
                    <a:gd name="T11" fmla="*/ 7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16"/>
                    <a:gd name="T20" fmla="*/ 8 w 8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16">
                      <a:moveTo>
                        <a:pt x="8" y="16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31" name="Freeform 369">
                  <a:extLst>
                    <a:ext uri="{FF2B5EF4-FFF2-40B4-BE49-F238E27FC236}">
                      <a16:creationId xmlns:a16="http://schemas.microsoft.com/office/drawing/2014/main" id="{CA9A1E99-3229-CBD9-4ECB-9969E420707E}"/>
                    </a:ext>
                  </a:extLst>
                </p:cNvPr>
                <p:cNvSpPr/>
                <p:nvPr/>
              </p:nvSpPr>
              <p:spPr bwMode="gray">
                <a:xfrm>
                  <a:off x="3138" y="2307"/>
                  <a:ext cx="6" cy="5"/>
                </a:xfrm>
                <a:custGeom>
                  <a:avLst/>
                  <a:gdLst>
                    <a:gd name="T0" fmla="*/ 0 w 8"/>
                    <a:gd name="T1" fmla="*/ 2 h 8"/>
                    <a:gd name="T2" fmla="*/ 0 w 8"/>
                    <a:gd name="T3" fmla="*/ 0 h 8"/>
                    <a:gd name="T4" fmla="*/ 4 w 8"/>
                    <a:gd name="T5" fmla="*/ 2 h 8"/>
                    <a:gd name="T6" fmla="*/ 4 w 8"/>
                    <a:gd name="T7" fmla="*/ 2 h 8"/>
                    <a:gd name="T8" fmla="*/ 0 w 8"/>
                    <a:gd name="T9" fmla="*/ 2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8"/>
                    <a:gd name="T17" fmla="*/ 8 w 8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8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32" name="Freeform 370">
                  <a:extLst>
                    <a:ext uri="{FF2B5EF4-FFF2-40B4-BE49-F238E27FC236}">
                      <a16:creationId xmlns:a16="http://schemas.microsoft.com/office/drawing/2014/main" id="{65CEE406-3AC6-B844-B7C2-D122651FBE6E}"/>
                    </a:ext>
                  </a:extLst>
                </p:cNvPr>
                <p:cNvSpPr/>
                <p:nvPr/>
              </p:nvSpPr>
              <p:spPr bwMode="gray">
                <a:xfrm>
                  <a:off x="3121" y="2318"/>
                  <a:ext cx="11" cy="6"/>
                </a:xfrm>
                <a:custGeom>
                  <a:avLst/>
                  <a:gdLst>
                    <a:gd name="T0" fmla="*/ 0 w 16"/>
                    <a:gd name="T1" fmla="*/ 0 h 8"/>
                    <a:gd name="T2" fmla="*/ 3 w 16"/>
                    <a:gd name="T3" fmla="*/ 0 h 8"/>
                    <a:gd name="T4" fmla="*/ 6 w 16"/>
                    <a:gd name="T5" fmla="*/ 0 h 8"/>
                    <a:gd name="T6" fmla="*/ 6 w 16"/>
                    <a:gd name="T7" fmla="*/ 4 h 8"/>
                    <a:gd name="T8" fmla="*/ 3 w 16"/>
                    <a:gd name="T9" fmla="*/ 4 h 8"/>
                    <a:gd name="T10" fmla="*/ 0 w 16"/>
                    <a:gd name="T11" fmla="*/ 0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8"/>
                    <a:gd name="T20" fmla="*/ 16 w 16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33" name="Freeform 371">
                  <a:extLst>
                    <a:ext uri="{FF2B5EF4-FFF2-40B4-BE49-F238E27FC236}">
                      <a16:creationId xmlns:a16="http://schemas.microsoft.com/office/drawing/2014/main" id="{76E7889D-5388-8995-EAAA-4E6953CA7C1F}"/>
                    </a:ext>
                  </a:extLst>
                </p:cNvPr>
                <p:cNvSpPr/>
                <p:nvPr/>
              </p:nvSpPr>
              <p:spPr bwMode="gray">
                <a:xfrm>
                  <a:off x="2631" y="2228"/>
                  <a:ext cx="40" cy="96"/>
                </a:xfrm>
                <a:custGeom>
                  <a:avLst/>
                  <a:gdLst>
                    <a:gd name="T0" fmla="*/ 3 w 56"/>
                    <a:gd name="T1" fmla="*/ 3 h 136"/>
                    <a:gd name="T2" fmla="*/ 3 w 56"/>
                    <a:gd name="T3" fmla="*/ 6 h 136"/>
                    <a:gd name="T4" fmla="*/ 3 w 56"/>
                    <a:gd name="T5" fmla="*/ 8 h 136"/>
                    <a:gd name="T6" fmla="*/ 3 w 56"/>
                    <a:gd name="T7" fmla="*/ 14 h 136"/>
                    <a:gd name="T8" fmla="*/ 3 w 56"/>
                    <a:gd name="T9" fmla="*/ 20 h 136"/>
                    <a:gd name="T10" fmla="*/ 0 w 56"/>
                    <a:gd name="T11" fmla="*/ 23 h 136"/>
                    <a:gd name="T12" fmla="*/ 0 w 56"/>
                    <a:gd name="T13" fmla="*/ 25 h 136"/>
                    <a:gd name="T14" fmla="*/ 0 w 56"/>
                    <a:gd name="T15" fmla="*/ 28 h 136"/>
                    <a:gd name="T16" fmla="*/ 0 w 56"/>
                    <a:gd name="T17" fmla="*/ 34 h 136"/>
                    <a:gd name="T18" fmla="*/ 3 w 56"/>
                    <a:gd name="T19" fmla="*/ 37 h 136"/>
                    <a:gd name="T20" fmla="*/ 3 w 56"/>
                    <a:gd name="T21" fmla="*/ 45 h 136"/>
                    <a:gd name="T22" fmla="*/ 0 w 56"/>
                    <a:gd name="T23" fmla="*/ 48 h 136"/>
                    <a:gd name="T24" fmla="*/ 6 w 56"/>
                    <a:gd name="T25" fmla="*/ 48 h 136"/>
                    <a:gd name="T26" fmla="*/ 9 w 56"/>
                    <a:gd name="T27" fmla="*/ 48 h 136"/>
                    <a:gd name="T28" fmla="*/ 11 w 56"/>
                    <a:gd name="T29" fmla="*/ 48 h 136"/>
                    <a:gd name="T30" fmla="*/ 11 w 56"/>
                    <a:gd name="T31" fmla="*/ 42 h 136"/>
                    <a:gd name="T32" fmla="*/ 15 w 56"/>
                    <a:gd name="T33" fmla="*/ 40 h 136"/>
                    <a:gd name="T34" fmla="*/ 17 w 56"/>
                    <a:gd name="T35" fmla="*/ 31 h 136"/>
                    <a:gd name="T36" fmla="*/ 15 w 56"/>
                    <a:gd name="T37" fmla="*/ 25 h 136"/>
                    <a:gd name="T38" fmla="*/ 17 w 56"/>
                    <a:gd name="T39" fmla="*/ 23 h 136"/>
                    <a:gd name="T40" fmla="*/ 17 w 56"/>
                    <a:gd name="T41" fmla="*/ 14 h 136"/>
                    <a:gd name="T42" fmla="*/ 21 w 56"/>
                    <a:gd name="T43" fmla="*/ 11 h 136"/>
                    <a:gd name="T44" fmla="*/ 21 w 56"/>
                    <a:gd name="T45" fmla="*/ 6 h 136"/>
                    <a:gd name="T46" fmla="*/ 17 w 56"/>
                    <a:gd name="T47" fmla="*/ 0 h 136"/>
                    <a:gd name="T48" fmla="*/ 15 w 56"/>
                    <a:gd name="T49" fmla="*/ 3 h 136"/>
                    <a:gd name="T50" fmla="*/ 6 w 56"/>
                    <a:gd name="T51" fmla="*/ 3 h 136"/>
                    <a:gd name="T52" fmla="*/ 3 w 56"/>
                    <a:gd name="T53" fmla="*/ 3 h 1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56"/>
                    <a:gd name="T82" fmla="*/ 0 h 136"/>
                    <a:gd name="T83" fmla="*/ 56 w 56"/>
                    <a:gd name="T84" fmla="*/ 136 h 13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56" h="136">
                      <a:moveTo>
                        <a:pt x="8" y="8"/>
                      </a:move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8" y="40"/>
                      </a:lnTo>
                      <a:lnTo>
                        <a:pt x="8" y="56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0" y="80"/>
                      </a:lnTo>
                      <a:lnTo>
                        <a:pt x="0" y="96"/>
                      </a:lnTo>
                      <a:lnTo>
                        <a:pt x="8" y="104"/>
                      </a:lnTo>
                      <a:lnTo>
                        <a:pt x="8" y="128"/>
                      </a:lnTo>
                      <a:lnTo>
                        <a:pt x="0" y="136"/>
                      </a:lnTo>
                      <a:lnTo>
                        <a:pt x="16" y="136"/>
                      </a:lnTo>
                      <a:lnTo>
                        <a:pt x="24" y="136"/>
                      </a:lnTo>
                      <a:lnTo>
                        <a:pt x="32" y="136"/>
                      </a:lnTo>
                      <a:lnTo>
                        <a:pt x="32" y="120"/>
                      </a:lnTo>
                      <a:lnTo>
                        <a:pt x="40" y="112"/>
                      </a:lnTo>
                      <a:lnTo>
                        <a:pt x="48" y="88"/>
                      </a:lnTo>
                      <a:lnTo>
                        <a:pt x="40" y="72"/>
                      </a:lnTo>
                      <a:lnTo>
                        <a:pt x="48" y="64"/>
                      </a:lnTo>
                      <a:lnTo>
                        <a:pt x="48" y="40"/>
                      </a:lnTo>
                      <a:lnTo>
                        <a:pt x="56" y="32"/>
                      </a:lnTo>
                      <a:lnTo>
                        <a:pt x="56" y="16"/>
                      </a:lnTo>
                      <a:lnTo>
                        <a:pt x="48" y="0"/>
                      </a:lnTo>
                      <a:lnTo>
                        <a:pt x="40" y="8"/>
                      </a:lnTo>
                      <a:lnTo>
                        <a:pt x="16" y="8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34" name="Freeform 372">
                  <a:extLst>
                    <a:ext uri="{FF2B5EF4-FFF2-40B4-BE49-F238E27FC236}">
                      <a16:creationId xmlns:a16="http://schemas.microsoft.com/office/drawing/2014/main" id="{1725FA07-DC2E-957A-6C45-67828CFA957C}"/>
                    </a:ext>
                  </a:extLst>
                </p:cNvPr>
                <p:cNvSpPr/>
                <p:nvPr/>
              </p:nvSpPr>
              <p:spPr bwMode="gray">
                <a:xfrm>
                  <a:off x="2631" y="2194"/>
                  <a:ext cx="175" cy="147"/>
                </a:xfrm>
                <a:custGeom>
                  <a:avLst/>
                  <a:gdLst>
                    <a:gd name="T0" fmla="*/ 87 w 248"/>
                    <a:gd name="T1" fmla="*/ 11 h 208"/>
                    <a:gd name="T2" fmla="*/ 87 w 248"/>
                    <a:gd name="T3" fmla="*/ 17 h 208"/>
                    <a:gd name="T4" fmla="*/ 84 w 248"/>
                    <a:gd name="T5" fmla="*/ 23 h 208"/>
                    <a:gd name="T6" fmla="*/ 78 w 248"/>
                    <a:gd name="T7" fmla="*/ 25 h 208"/>
                    <a:gd name="T8" fmla="*/ 73 w 248"/>
                    <a:gd name="T9" fmla="*/ 25 h 208"/>
                    <a:gd name="T10" fmla="*/ 70 w 248"/>
                    <a:gd name="T11" fmla="*/ 28 h 208"/>
                    <a:gd name="T12" fmla="*/ 70 w 248"/>
                    <a:gd name="T13" fmla="*/ 31 h 208"/>
                    <a:gd name="T14" fmla="*/ 65 w 248"/>
                    <a:gd name="T15" fmla="*/ 37 h 208"/>
                    <a:gd name="T16" fmla="*/ 65 w 248"/>
                    <a:gd name="T17" fmla="*/ 42 h 208"/>
                    <a:gd name="T18" fmla="*/ 65 w 248"/>
                    <a:gd name="T19" fmla="*/ 51 h 208"/>
                    <a:gd name="T20" fmla="*/ 62 w 248"/>
                    <a:gd name="T21" fmla="*/ 54 h 208"/>
                    <a:gd name="T22" fmla="*/ 62 w 248"/>
                    <a:gd name="T23" fmla="*/ 59 h 208"/>
                    <a:gd name="T24" fmla="*/ 56 w 248"/>
                    <a:gd name="T25" fmla="*/ 62 h 208"/>
                    <a:gd name="T26" fmla="*/ 54 w 248"/>
                    <a:gd name="T27" fmla="*/ 65 h 208"/>
                    <a:gd name="T28" fmla="*/ 51 w 248"/>
                    <a:gd name="T29" fmla="*/ 65 h 208"/>
                    <a:gd name="T30" fmla="*/ 51 w 248"/>
                    <a:gd name="T31" fmla="*/ 68 h 208"/>
                    <a:gd name="T32" fmla="*/ 45 w 248"/>
                    <a:gd name="T33" fmla="*/ 71 h 208"/>
                    <a:gd name="T34" fmla="*/ 42 w 248"/>
                    <a:gd name="T35" fmla="*/ 68 h 208"/>
                    <a:gd name="T36" fmla="*/ 37 w 248"/>
                    <a:gd name="T37" fmla="*/ 68 h 208"/>
                    <a:gd name="T38" fmla="*/ 31 w 248"/>
                    <a:gd name="T39" fmla="*/ 71 h 208"/>
                    <a:gd name="T40" fmla="*/ 25 w 248"/>
                    <a:gd name="T41" fmla="*/ 74 h 208"/>
                    <a:gd name="T42" fmla="*/ 23 w 248"/>
                    <a:gd name="T43" fmla="*/ 74 h 208"/>
                    <a:gd name="T44" fmla="*/ 20 w 248"/>
                    <a:gd name="T45" fmla="*/ 71 h 208"/>
                    <a:gd name="T46" fmla="*/ 17 w 248"/>
                    <a:gd name="T47" fmla="*/ 65 h 208"/>
                    <a:gd name="T48" fmla="*/ 14 w 248"/>
                    <a:gd name="T49" fmla="*/ 65 h 208"/>
                    <a:gd name="T50" fmla="*/ 11 w 248"/>
                    <a:gd name="T51" fmla="*/ 65 h 208"/>
                    <a:gd name="T52" fmla="*/ 11 w 248"/>
                    <a:gd name="T53" fmla="*/ 59 h 208"/>
                    <a:gd name="T54" fmla="*/ 14 w 248"/>
                    <a:gd name="T55" fmla="*/ 57 h 208"/>
                    <a:gd name="T56" fmla="*/ 17 w 248"/>
                    <a:gd name="T57" fmla="*/ 48 h 208"/>
                    <a:gd name="T58" fmla="*/ 14 w 248"/>
                    <a:gd name="T59" fmla="*/ 42 h 208"/>
                    <a:gd name="T60" fmla="*/ 17 w 248"/>
                    <a:gd name="T61" fmla="*/ 40 h 208"/>
                    <a:gd name="T62" fmla="*/ 17 w 248"/>
                    <a:gd name="T63" fmla="*/ 31 h 208"/>
                    <a:gd name="T64" fmla="*/ 20 w 248"/>
                    <a:gd name="T65" fmla="*/ 28 h 208"/>
                    <a:gd name="T66" fmla="*/ 20 w 248"/>
                    <a:gd name="T67" fmla="*/ 23 h 208"/>
                    <a:gd name="T68" fmla="*/ 17 w 248"/>
                    <a:gd name="T69" fmla="*/ 17 h 208"/>
                    <a:gd name="T70" fmla="*/ 14 w 248"/>
                    <a:gd name="T71" fmla="*/ 20 h 208"/>
                    <a:gd name="T72" fmla="*/ 6 w 248"/>
                    <a:gd name="T73" fmla="*/ 20 h 208"/>
                    <a:gd name="T74" fmla="*/ 3 w 248"/>
                    <a:gd name="T75" fmla="*/ 20 h 208"/>
                    <a:gd name="T76" fmla="*/ 3 w 248"/>
                    <a:gd name="T77" fmla="*/ 14 h 208"/>
                    <a:gd name="T78" fmla="*/ 0 w 248"/>
                    <a:gd name="T79" fmla="*/ 8 h 208"/>
                    <a:gd name="T80" fmla="*/ 0 w 248"/>
                    <a:gd name="T81" fmla="*/ 6 h 208"/>
                    <a:gd name="T82" fmla="*/ 6 w 248"/>
                    <a:gd name="T83" fmla="*/ 3 h 208"/>
                    <a:gd name="T84" fmla="*/ 8 w 248"/>
                    <a:gd name="T85" fmla="*/ 0 h 208"/>
                    <a:gd name="T86" fmla="*/ 11 w 248"/>
                    <a:gd name="T87" fmla="*/ 0 h 208"/>
                    <a:gd name="T88" fmla="*/ 11 w 248"/>
                    <a:gd name="T89" fmla="*/ 3 h 208"/>
                    <a:gd name="T90" fmla="*/ 20 w 248"/>
                    <a:gd name="T91" fmla="*/ 3 h 208"/>
                    <a:gd name="T92" fmla="*/ 23 w 248"/>
                    <a:gd name="T93" fmla="*/ 3 h 208"/>
                    <a:gd name="T94" fmla="*/ 25 w 248"/>
                    <a:gd name="T95" fmla="*/ 3 h 208"/>
                    <a:gd name="T96" fmla="*/ 34 w 248"/>
                    <a:gd name="T97" fmla="*/ 3 h 208"/>
                    <a:gd name="T98" fmla="*/ 40 w 248"/>
                    <a:gd name="T99" fmla="*/ 3 h 208"/>
                    <a:gd name="T100" fmla="*/ 45 w 248"/>
                    <a:gd name="T101" fmla="*/ 6 h 208"/>
                    <a:gd name="T102" fmla="*/ 54 w 248"/>
                    <a:gd name="T103" fmla="*/ 6 h 208"/>
                    <a:gd name="T104" fmla="*/ 59 w 248"/>
                    <a:gd name="T105" fmla="*/ 8 h 208"/>
                    <a:gd name="T106" fmla="*/ 62 w 248"/>
                    <a:gd name="T107" fmla="*/ 8 h 208"/>
                    <a:gd name="T108" fmla="*/ 65 w 248"/>
                    <a:gd name="T109" fmla="*/ 11 h 208"/>
                    <a:gd name="T110" fmla="*/ 73 w 248"/>
                    <a:gd name="T111" fmla="*/ 11 h 208"/>
                    <a:gd name="T112" fmla="*/ 76 w 248"/>
                    <a:gd name="T113" fmla="*/ 11 h 208"/>
                    <a:gd name="T114" fmla="*/ 78 w 248"/>
                    <a:gd name="T115" fmla="*/ 11 h 208"/>
                    <a:gd name="T116" fmla="*/ 87 w 248"/>
                    <a:gd name="T117" fmla="*/ 11 h 208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48"/>
                    <a:gd name="T178" fmla="*/ 0 h 208"/>
                    <a:gd name="T179" fmla="*/ 248 w 248"/>
                    <a:gd name="T180" fmla="*/ 208 h 208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48" h="208">
                      <a:moveTo>
                        <a:pt x="248" y="32"/>
                      </a:moveTo>
                      <a:lnTo>
                        <a:pt x="248" y="48"/>
                      </a:lnTo>
                      <a:lnTo>
                        <a:pt x="240" y="64"/>
                      </a:lnTo>
                      <a:lnTo>
                        <a:pt x="224" y="72"/>
                      </a:lnTo>
                      <a:lnTo>
                        <a:pt x="208" y="72"/>
                      </a:lnTo>
                      <a:lnTo>
                        <a:pt x="200" y="80"/>
                      </a:lnTo>
                      <a:lnTo>
                        <a:pt x="200" y="88"/>
                      </a:lnTo>
                      <a:lnTo>
                        <a:pt x="184" y="104"/>
                      </a:lnTo>
                      <a:lnTo>
                        <a:pt x="184" y="120"/>
                      </a:lnTo>
                      <a:lnTo>
                        <a:pt x="184" y="144"/>
                      </a:lnTo>
                      <a:lnTo>
                        <a:pt x="176" y="152"/>
                      </a:lnTo>
                      <a:lnTo>
                        <a:pt x="176" y="168"/>
                      </a:lnTo>
                      <a:lnTo>
                        <a:pt x="160" y="176"/>
                      </a:lnTo>
                      <a:lnTo>
                        <a:pt x="152" y="184"/>
                      </a:lnTo>
                      <a:lnTo>
                        <a:pt x="144" y="184"/>
                      </a:lnTo>
                      <a:lnTo>
                        <a:pt x="144" y="192"/>
                      </a:lnTo>
                      <a:lnTo>
                        <a:pt x="128" y="200"/>
                      </a:lnTo>
                      <a:lnTo>
                        <a:pt x="120" y="192"/>
                      </a:lnTo>
                      <a:lnTo>
                        <a:pt x="104" y="192"/>
                      </a:lnTo>
                      <a:lnTo>
                        <a:pt x="88" y="200"/>
                      </a:lnTo>
                      <a:lnTo>
                        <a:pt x="72" y="208"/>
                      </a:lnTo>
                      <a:lnTo>
                        <a:pt x="64" y="208"/>
                      </a:lnTo>
                      <a:lnTo>
                        <a:pt x="56" y="200"/>
                      </a:lnTo>
                      <a:lnTo>
                        <a:pt x="48" y="184"/>
                      </a:lnTo>
                      <a:lnTo>
                        <a:pt x="40" y="184"/>
                      </a:lnTo>
                      <a:lnTo>
                        <a:pt x="32" y="184"/>
                      </a:lnTo>
                      <a:lnTo>
                        <a:pt x="32" y="168"/>
                      </a:lnTo>
                      <a:lnTo>
                        <a:pt x="40" y="160"/>
                      </a:lnTo>
                      <a:lnTo>
                        <a:pt x="48" y="136"/>
                      </a:lnTo>
                      <a:lnTo>
                        <a:pt x="40" y="120"/>
                      </a:lnTo>
                      <a:lnTo>
                        <a:pt x="48" y="112"/>
                      </a:lnTo>
                      <a:lnTo>
                        <a:pt x="48" y="88"/>
                      </a:lnTo>
                      <a:lnTo>
                        <a:pt x="56" y="80"/>
                      </a:lnTo>
                      <a:lnTo>
                        <a:pt x="56" y="64"/>
                      </a:lnTo>
                      <a:lnTo>
                        <a:pt x="48" y="48"/>
                      </a:lnTo>
                      <a:lnTo>
                        <a:pt x="40" y="56"/>
                      </a:lnTo>
                      <a:lnTo>
                        <a:pt x="16" y="56"/>
                      </a:lnTo>
                      <a:lnTo>
                        <a:pt x="8" y="56"/>
                      </a:lnTo>
                      <a:lnTo>
                        <a:pt x="8" y="40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72" y="8"/>
                      </a:lnTo>
                      <a:lnTo>
                        <a:pt x="96" y="8"/>
                      </a:lnTo>
                      <a:lnTo>
                        <a:pt x="112" y="8"/>
                      </a:lnTo>
                      <a:lnTo>
                        <a:pt x="128" y="16"/>
                      </a:lnTo>
                      <a:lnTo>
                        <a:pt x="152" y="16"/>
                      </a:lnTo>
                      <a:lnTo>
                        <a:pt x="168" y="24"/>
                      </a:lnTo>
                      <a:lnTo>
                        <a:pt x="176" y="24"/>
                      </a:lnTo>
                      <a:lnTo>
                        <a:pt x="184" y="32"/>
                      </a:lnTo>
                      <a:lnTo>
                        <a:pt x="208" y="32"/>
                      </a:lnTo>
                      <a:lnTo>
                        <a:pt x="216" y="32"/>
                      </a:lnTo>
                      <a:lnTo>
                        <a:pt x="224" y="32"/>
                      </a:lnTo>
                      <a:lnTo>
                        <a:pt x="248" y="3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35" name="Freeform 373">
                  <a:extLst>
                    <a:ext uri="{FF2B5EF4-FFF2-40B4-BE49-F238E27FC236}">
                      <a16:creationId xmlns:a16="http://schemas.microsoft.com/office/drawing/2014/main" id="{108897B5-E745-ABB3-1B9C-C777A20905FC}"/>
                    </a:ext>
                  </a:extLst>
                </p:cNvPr>
                <p:cNvSpPr/>
                <p:nvPr/>
              </p:nvSpPr>
              <p:spPr bwMode="gray">
                <a:xfrm>
                  <a:off x="2693" y="2042"/>
                  <a:ext cx="186" cy="175"/>
                </a:xfrm>
                <a:custGeom>
                  <a:avLst/>
                  <a:gdLst>
                    <a:gd name="T0" fmla="*/ 56 w 264"/>
                    <a:gd name="T1" fmla="*/ 82 h 248"/>
                    <a:gd name="T2" fmla="*/ 67 w 264"/>
                    <a:gd name="T3" fmla="*/ 82 h 248"/>
                    <a:gd name="T4" fmla="*/ 75 w 264"/>
                    <a:gd name="T5" fmla="*/ 82 h 248"/>
                    <a:gd name="T6" fmla="*/ 81 w 264"/>
                    <a:gd name="T7" fmla="*/ 78 h 248"/>
                    <a:gd name="T8" fmla="*/ 89 w 264"/>
                    <a:gd name="T9" fmla="*/ 76 h 248"/>
                    <a:gd name="T10" fmla="*/ 84 w 264"/>
                    <a:gd name="T11" fmla="*/ 70 h 248"/>
                    <a:gd name="T12" fmla="*/ 81 w 264"/>
                    <a:gd name="T13" fmla="*/ 56 h 248"/>
                    <a:gd name="T14" fmla="*/ 78 w 264"/>
                    <a:gd name="T15" fmla="*/ 51 h 248"/>
                    <a:gd name="T16" fmla="*/ 75 w 264"/>
                    <a:gd name="T17" fmla="*/ 51 h 248"/>
                    <a:gd name="T18" fmla="*/ 78 w 264"/>
                    <a:gd name="T19" fmla="*/ 45 h 248"/>
                    <a:gd name="T20" fmla="*/ 81 w 264"/>
                    <a:gd name="T21" fmla="*/ 40 h 248"/>
                    <a:gd name="T22" fmla="*/ 87 w 264"/>
                    <a:gd name="T23" fmla="*/ 40 h 248"/>
                    <a:gd name="T24" fmla="*/ 92 w 264"/>
                    <a:gd name="T25" fmla="*/ 20 h 248"/>
                    <a:gd name="T26" fmla="*/ 81 w 264"/>
                    <a:gd name="T27" fmla="*/ 17 h 248"/>
                    <a:gd name="T28" fmla="*/ 70 w 264"/>
                    <a:gd name="T29" fmla="*/ 11 h 248"/>
                    <a:gd name="T30" fmla="*/ 61 w 264"/>
                    <a:gd name="T31" fmla="*/ 8 h 248"/>
                    <a:gd name="T32" fmla="*/ 50 w 264"/>
                    <a:gd name="T33" fmla="*/ 0 h 248"/>
                    <a:gd name="T34" fmla="*/ 42 w 264"/>
                    <a:gd name="T35" fmla="*/ 8 h 248"/>
                    <a:gd name="T36" fmla="*/ 34 w 264"/>
                    <a:gd name="T37" fmla="*/ 17 h 248"/>
                    <a:gd name="T38" fmla="*/ 25 w 264"/>
                    <a:gd name="T39" fmla="*/ 14 h 248"/>
                    <a:gd name="T40" fmla="*/ 19 w 264"/>
                    <a:gd name="T41" fmla="*/ 17 h 248"/>
                    <a:gd name="T42" fmla="*/ 25 w 264"/>
                    <a:gd name="T43" fmla="*/ 25 h 248"/>
                    <a:gd name="T44" fmla="*/ 19 w 264"/>
                    <a:gd name="T45" fmla="*/ 25 h 248"/>
                    <a:gd name="T46" fmla="*/ 11 w 264"/>
                    <a:gd name="T47" fmla="*/ 25 h 248"/>
                    <a:gd name="T48" fmla="*/ 6 w 264"/>
                    <a:gd name="T49" fmla="*/ 28 h 248"/>
                    <a:gd name="T50" fmla="*/ 0 w 264"/>
                    <a:gd name="T51" fmla="*/ 31 h 248"/>
                    <a:gd name="T52" fmla="*/ 3 w 264"/>
                    <a:gd name="T53" fmla="*/ 34 h 248"/>
                    <a:gd name="T54" fmla="*/ 11 w 264"/>
                    <a:gd name="T55" fmla="*/ 37 h 248"/>
                    <a:gd name="T56" fmla="*/ 14 w 264"/>
                    <a:gd name="T57" fmla="*/ 40 h 248"/>
                    <a:gd name="T58" fmla="*/ 19 w 264"/>
                    <a:gd name="T59" fmla="*/ 42 h 248"/>
                    <a:gd name="T60" fmla="*/ 25 w 264"/>
                    <a:gd name="T61" fmla="*/ 51 h 248"/>
                    <a:gd name="T62" fmla="*/ 25 w 264"/>
                    <a:gd name="T63" fmla="*/ 59 h 248"/>
                    <a:gd name="T64" fmla="*/ 27 w 264"/>
                    <a:gd name="T65" fmla="*/ 65 h 248"/>
                    <a:gd name="T66" fmla="*/ 27 w 264"/>
                    <a:gd name="T67" fmla="*/ 65 h 248"/>
                    <a:gd name="T68" fmla="*/ 25 w 264"/>
                    <a:gd name="T69" fmla="*/ 76 h 248"/>
                    <a:gd name="T70" fmla="*/ 27 w 264"/>
                    <a:gd name="T71" fmla="*/ 84 h 248"/>
                    <a:gd name="T72" fmla="*/ 34 w 264"/>
                    <a:gd name="T73" fmla="*/ 87 h 248"/>
                    <a:gd name="T74" fmla="*/ 42 w 264"/>
                    <a:gd name="T75" fmla="*/ 84 h 248"/>
                    <a:gd name="T76" fmla="*/ 44 w 264"/>
                    <a:gd name="T77" fmla="*/ 87 h 248"/>
                    <a:gd name="T78" fmla="*/ 56 w 264"/>
                    <a:gd name="T79" fmla="*/ 87 h 248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64"/>
                    <a:gd name="T121" fmla="*/ 0 h 248"/>
                    <a:gd name="T122" fmla="*/ 264 w 264"/>
                    <a:gd name="T123" fmla="*/ 248 h 248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64" h="248">
                      <a:moveTo>
                        <a:pt x="160" y="248"/>
                      </a:moveTo>
                      <a:lnTo>
                        <a:pt x="160" y="232"/>
                      </a:lnTo>
                      <a:lnTo>
                        <a:pt x="176" y="224"/>
                      </a:lnTo>
                      <a:lnTo>
                        <a:pt x="192" y="232"/>
                      </a:lnTo>
                      <a:lnTo>
                        <a:pt x="208" y="232"/>
                      </a:lnTo>
                      <a:lnTo>
                        <a:pt x="216" y="232"/>
                      </a:lnTo>
                      <a:lnTo>
                        <a:pt x="224" y="232"/>
                      </a:lnTo>
                      <a:lnTo>
                        <a:pt x="232" y="224"/>
                      </a:lnTo>
                      <a:lnTo>
                        <a:pt x="248" y="224"/>
                      </a:lnTo>
                      <a:lnTo>
                        <a:pt x="256" y="216"/>
                      </a:lnTo>
                      <a:lnTo>
                        <a:pt x="248" y="208"/>
                      </a:lnTo>
                      <a:lnTo>
                        <a:pt x="240" y="200"/>
                      </a:lnTo>
                      <a:lnTo>
                        <a:pt x="232" y="184"/>
                      </a:lnTo>
                      <a:lnTo>
                        <a:pt x="232" y="160"/>
                      </a:lnTo>
                      <a:lnTo>
                        <a:pt x="232" y="144"/>
                      </a:lnTo>
                      <a:lnTo>
                        <a:pt x="224" y="144"/>
                      </a:lnTo>
                      <a:lnTo>
                        <a:pt x="216" y="152"/>
                      </a:lnTo>
                      <a:lnTo>
                        <a:pt x="216" y="144"/>
                      </a:lnTo>
                      <a:lnTo>
                        <a:pt x="224" y="136"/>
                      </a:lnTo>
                      <a:lnTo>
                        <a:pt x="224" y="128"/>
                      </a:lnTo>
                      <a:lnTo>
                        <a:pt x="232" y="128"/>
                      </a:lnTo>
                      <a:lnTo>
                        <a:pt x="232" y="112"/>
                      </a:lnTo>
                      <a:lnTo>
                        <a:pt x="240" y="104"/>
                      </a:lnTo>
                      <a:lnTo>
                        <a:pt x="248" y="112"/>
                      </a:lnTo>
                      <a:lnTo>
                        <a:pt x="256" y="80"/>
                      </a:lnTo>
                      <a:lnTo>
                        <a:pt x="264" y="56"/>
                      </a:lnTo>
                      <a:lnTo>
                        <a:pt x="248" y="48"/>
                      </a:lnTo>
                      <a:lnTo>
                        <a:pt x="232" y="48"/>
                      </a:lnTo>
                      <a:lnTo>
                        <a:pt x="216" y="48"/>
                      </a:lnTo>
                      <a:lnTo>
                        <a:pt x="200" y="32"/>
                      </a:lnTo>
                      <a:lnTo>
                        <a:pt x="192" y="32"/>
                      </a:lnTo>
                      <a:lnTo>
                        <a:pt x="176" y="24"/>
                      </a:lnTo>
                      <a:lnTo>
                        <a:pt x="160" y="16"/>
                      </a:lnTo>
                      <a:lnTo>
                        <a:pt x="144" y="0"/>
                      </a:lnTo>
                      <a:lnTo>
                        <a:pt x="128" y="0"/>
                      </a:lnTo>
                      <a:lnTo>
                        <a:pt x="120" y="24"/>
                      </a:lnTo>
                      <a:lnTo>
                        <a:pt x="104" y="40"/>
                      </a:lnTo>
                      <a:lnTo>
                        <a:pt x="96" y="48"/>
                      </a:lnTo>
                      <a:lnTo>
                        <a:pt x="80" y="48"/>
                      </a:lnTo>
                      <a:lnTo>
                        <a:pt x="72" y="40"/>
                      </a:lnTo>
                      <a:lnTo>
                        <a:pt x="56" y="40"/>
                      </a:lnTo>
                      <a:lnTo>
                        <a:pt x="56" y="48"/>
                      </a:lnTo>
                      <a:lnTo>
                        <a:pt x="64" y="64"/>
                      </a:lnTo>
                      <a:lnTo>
                        <a:pt x="72" y="72"/>
                      </a:lnTo>
                      <a:lnTo>
                        <a:pt x="64" y="80"/>
                      </a:lnTo>
                      <a:lnTo>
                        <a:pt x="56" y="72"/>
                      </a:lnTo>
                      <a:lnTo>
                        <a:pt x="48" y="80"/>
                      </a:lnTo>
                      <a:lnTo>
                        <a:pt x="32" y="72"/>
                      </a:lnTo>
                      <a:lnTo>
                        <a:pt x="24" y="72"/>
                      </a:lnTo>
                      <a:lnTo>
                        <a:pt x="16" y="80"/>
                      </a:lnTo>
                      <a:lnTo>
                        <a:pt x="8" y="80"/>
                      </a:lnTo>
                      <a:lnTo>
                        <a:pt x="0" y="88"/>
                      </a:lnTo>
                      <a:lnTo>
                        <a:pt x="8" y="88"/>
                      </a:lnTo>
                      <a:lnTo>
                        <a:pt x="8" y="96"/>
                      </a:lnTo>
                      <a:lnTo>
                        <a:pt x="16" y="104"/>
                      </a:lnTo>
                      <a:lnTo>
                        <a:pt x="32" y="104"/>
                      </a:lnTo>
                      <a:lnTo>
                        <a:pt x="40" y="104"/>
                      </a:lnTo>
                      <a:lnTo>
                        <a:pt x="40" y="112"/>
                      </a:lnTo>
                      <a:lnTo>
                        <a:pt x="48" y="112"/>
                      </a:lnTo>
                      <a:lnTo>
                        <a:pt x="56" y="120"/>
                      </a:lnTo>
                      <a:lnTo>
                        <a:pt x="56" y="128"/>
                      </a:lnTo>
                      <a:lnTo>
                        <a:pt x="72" y="144"/>
                      </a:lnTo>
                      <a:lnTo>
                        <a:pt x="72" y="152"/>
                      </a:lnTo>
                      <a:lnTo>
                        <a:pt x="72" y="168"/>
                      </a:lnTo>
                      <a:lnTo>
                        <a:pt x="72" y="176"/>
                      </a:lnTo>
                      <a:lnTo>
                        <a:pt x="80" y="184"/>
                      </a:lnTo>
                      <a:lnTo>
                        <a:pt x="80" y="192"/>
                      </a:lnTo>
                      <a:lnTo>
                        <a:pt x="80" y="184"/>
                      </a:lnTo>
                      <a:lnTo>
                        <a:pt x="80" y="200"/>
                      </a:lnTo>
                      <a:lnTo>
                        <a:pt x="72" y="216"/>
                      </a:lnTo>
                      <a:lnTo>
                        <a:pt x="64" y="232"/>
                      </a:lnTo>
                      <a:lnTo>
                        <a:pt x="80" y="240"/>
                      </a:lnTo>
                      <a:lnTo>
                        <a:pt x="88" y="240"/>
                      </a:lnTo>
                      <a:lnTo>
                        <a:pt x="96" y="248"/>
                      </a:lnTo>
                      <a:lnTo>
                        <a:pt x="120" y="248"/>
                      </a:lnTo>
                      <a:lnTo>
                        <a:pt x="120" y="240"/>
                      </a:lnTo>
                      <a:lnTo>
                        <a:pt x="128" y="240"/>
                      </a:lnTo>
                      <a:lnTo>
                        <a:pt x="128" y="248"/>
                      </a:lnTo>
                      <a:lnTo>
                        <a:pt x="136" y="248"/>
                      </a:lnTo>
                      <a:lnTo>
                        <a:pt x="160" y="24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36" name="Freeform 374">
                  <a:extLst>
                    <a:ext uri="{FF2B5EF4-FFF2-40B4-BE49-F238E27FC236}">
                      <a16:creationId xmlns:a16="http://schemas.microsoft.com/office/drawing/2014/main" id="{5F65397C-387C-1860-3A77-DB14872B367A}"/>
                    </a:ext>
                  </a:extLst>
                </p:cNvPr>
                <p:cNvSpPr/>
                <p:nvPr/>
              </p:nvSpPr>
              <p:spPr bwMode="gray">
                <a:xfrm>
                  <a:off x="2857" y="2132"/>
                  <a:ext cx="174" cy="175"/>
                </a:xfrm>
                <a:custGeom>
                  <a:avLst/>
                  <a:gdLst>
                    <a:gd name="T0" fmla="*/ 14 w 248"/>
                    <a:gd name="T1" fmla="*/ 25 h 248"/>
                    <a:gd name="T2" fmla="*/ 22 w 248"/>
                    <a:gd name="T3" fmla="*/ 25 h 248"/>
                    <a:gd name="T4" fmla="*/ 27 w 248"/>
                    <a:gd name="T5" fmla="*/ 40 h 248"/>
                    <a:gd name="T6" fmla="*/ 33 w 248"/>
                    <a:gd name="T7" fmla="*/ 48 h 248"/>
                    <a:gd name="T8" fmla="*/ 39 w 248"/>
                    <a:gd name="T9" fmla="*/ 51 h 248"/>
                    <a:gd name="T10" fmla="*/ 47 w 248"/>
                    <a:gd name="T11" fmla="*/ 56 h 248"/>
                    <a:gd name="T12" fmla="*/ 53 w 248"/>
                    <a:gd name="T13" fmla="*/ 59 h 248"/>
                    <a:gd name="T14" fmla="*/ 55 w 248"/>
                    <a:gd name="T15" fmla="*/ 62 h 248"/>
                    <a:gd name="T16" fmla="*/ 58 w 248"/>
                    <a:gd name="T17" fmla="*/ 65 h 248"/>
                    <a:gd name="T18" fmla="*/ 64 w 248"/>
                    <a:gd name="T19" fmla="*/ 67 h 248"/>
                    <a:gd name="T20" fmla="*/ 67 w 248"/>
                    <a:gd name="T21" fmla="*/ 73 h 248"/>
                    <a:gd name="T22" fmla="*/ 64 w 248"/>
                    <a:gd name="T23" fmla="*/ 82 h 248"/>
                    <a:gd name="T24" fmla="*/ 67 w 248"/>
                    <a:gd name="T25" fmla="*/ 87 h 248"/>
                    <a:gd name="T26" fmla="*/ 72 w 248"/>
                    <a:gd name="T27" fmla="*/ 78 h 248"/>
                    <a:gd name="T28" fmla="*/ 75 w 248"/>
                    <a:gd name="T29" fmla="*/ 73 h 248"/>
                    <a:gd name="T30" fmla="*/ 72 w 248"/>
                    <a:gd name="T31" fmla="*/ 65 h 248"/>
                    <a:gd name="T32" fmla="*/ 80 w 248"/>
                    <a:gd name="T33" fmla="*/ 65 h 248"/>
                    <a:gd name="T34" fmla="*/ 86 w 248"/>
                    <a:gd name="T35" fmla="*/ 67 h 248"/>
                    <a:gd name="T36" fmla="*/ 80 w 248"/>
                    <a:gd name="T37" fmla="*/ 59 h 248"/>
                    <a:gd name="T38" fmla="*/ 75 w 248"/>
                    <a:gd name="T39" fmla="*/ 56 h 248"/>
                    <a:gd name="T40" fmla="*/ 67 w 248"/>
                    <a:gd name="T41" fmla="*/ 54 h 248"/>
                    <a:gd name="T42" fmla="*/ 58 w 248"/>
                    <a:gd name="T43" fmla="*/ 48 h 248"/>
                    <a:gd name="T44" fmla="*/ 50 w 248"/>
                    <a:gd name="T45" fmla="*/ 37 h 248"/>
                    <a:gd name="T46" fmla="*/ 39 w 248"/>
                    <a:gd name="T47" fmla="*/ 25 h 248"/>
                    <a:gd name="T48" fmla="*/ 39 w 248"/>
                    <a:gd name="T49" fmla="*/ 17 h 248"/>
                    <a:gd name="T50" fmla="*/ 50 w 248"/>
                    <a:gd name="T51" fmla="*/ 14 h 248"/>
                    <a:gd name="T52" fmla="*/ 50 w 248"/>
                    <a:gd name="T53" fmla="*/ 14 h 248"/>
                    <a:gd name="T54" fmla="*/ 53 w 248"/>
                    <a:gd name="T55" fmla="*/ 8 h 248"/>
                    <a:gd name="T56" fmla="*/ 50 w 248"/>
                    <a:gd name="T57" fmla="*/ 3 h 248"/>
                    <a:gd name="T58" fmla="*/ 41 w 248"/>
                    <a:gd name="T59" fmla="*/ 0 h 248"/>
                    <a:gd name="T60" fmla="*/ 36 w 248"/>
                    <a:gd name="T61" fmla="*/ 0 h 248"/>
                    <a:gd name="T62" fmla="*/ 25 w 248"/>
                    <a:gd name="T63" fmla="*/ 0 h 248"/>
                    <a:gd name="T64" fmla="*/ 14 w 248"/>
                    <a:gd name="T65" fmla="*/ 6 h 248"/>
                    <a:gd name="T66" fmla="*/ 8 w 248"/>
                    <a:gd name="T67" fmla="*/ 3 h 248"/>
                    <a:gd name="T68" fmla="*/ 6 w 248"/>
                    <a:gd name="T69" fmla="*/ 11 h 248"/>
                    <a:gd name="T70" fmla="*/ 0 w 248"/>
                    <a:gd name="T71" fmla="*/ 11 h 248"/>
                    <a:gd name="T72" fmla="*/ 3 w 248"/>
                    <a:gd name="T73" fmla="*/ 25 h 248"/>
                    <a:gd name="T74" fmla="*/ 8 w 248"/>
                    <a:gd name="T75" fmla="*/ 31 h 248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48"/>
                    <a:gd name="T115" fmla="*/ 0 h 248"/>
                    <a:gd name="T116" fmla="*/ 248 w 248"/>
                    <a:gd name="T117" fmla="*/ 248 h 248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48" h="248">
                      <a:moveTo>
                        <a:pt x="24" y="88"/>
                      </a:moveTo>
                      <a:lnTo>
                        <a:pt x="40" y="72"/>
                      </a:lnTo>
                      <a:lnTo>
                        <a:pt x="56" y="72"/>
                      </a:lnTo>
                      <a:lnTo>
                        <a:pt x="64" y="72"/>
                      </a:lnTo>
                      <a:lnTo>
                        <a:pt x="80" y="96"/>
                      </a:lnTo>
                      <a:lnTo>
                        <a:pt x="80" y="112"/>
                      </a:lnTo>
                      <a:lnTo>
                        <a:pt x="96" y="120"/>
                      </a:lnTo>
                      <a:lnTo>
                        <a:pt x="96" y="136"/>
                      </a:lnTo>
                      <a:lnTo>
                        <a:pt x="104" y="144"/>
                      </a:lnTo>
                      <a:lnTo>
                        <a:pt x="112" y="144"/>
                      </a:lnTo>
                      <a:lnTo>
                        <a:pt x="120" y="152"/>
                      </a:lnTo>
                      <a:lnTo>
                        <a:pt x="136" y="160"/>
                      </a:lnTo>
                      <a:lnTo>
                        <a:pt x="144" y="160"/>
                      </a:lnTo>
                      <a:lnTo>
                        <a:pt x="152" y="168"/>
                      </a:lnTo>
                      <a:lnTo>
                        <a:pt x="160" y="168"/>
                      </a:lnTo>
                      <a:lnTo>
                        <a:pt x="160" y="176"/>
                      </a:lnTo>
                      <a:lnTo>
                        <a:pt x="168" y="176"/>
                      </a:lnTo>
                      <a:lnTo>
                        <a:pt x="168" y="184"/>
                      </a:lnTo>
                      <a:lnTo>
                        <a:pt x="176" y="192"/>
                      </a:lnTo>
                      <a:lnTo>
                        <a:pt x="184" y="192"/>
                      </a:lnTo>
                      <a:lnTo>
                        <a:pt x="192" y="200"/>
                      </a:lnTo>
                      <a:lnTo>
                        <a:pt x="192" y="208"/>
                      </a:lnTo>
                      <a:lnTo>
                        <a:pt x="200" y="224"/>
                      </a:lnTo>
                      <a:lnTo>
                        <a:pt x="184" y="232"/>
                      </a:lnTo>
                      <a:lnTo>
                        <a:pt x="184" y="240"/>
                      </a:lnTo>
                      <a:lnTo>
                        <a:pt x="192" y="248"/>
                      </a:lnTo>
                      <a:lnTo>
                        <a:pt x="200" y="240"/>
                      </a:lnTo>
                      <a:lnTo>
                        <a:pt x="208" y="224"/>
                      </a:lnTo>
                      <a:lnTo>
                        <a:pt x="216" y="224"/>
                      </a:lnTo>
                      <a:lnTo>
                        <a:pt x="216" y="208"/>
                      </a:lnTo>
                      <a:lnTo>
                        <a:pt x="208" y="200"/>
                      </a:lnTo>
                      <a:lnTo>
                        <a:pt x="208" y="184"/>
                      </a:lnTo>
                      <a:lnTo>
                        <a:pt x="224" y="184"/>
                      </a:lnTo>
                      <a:lnTo>
                        <a:pt x="232" y="184"/>
                      </a:lnTo>
                      <a:lnTo>
                        <a:pt x="240" y="192"/>
                      </a:lnTo>
                      <a:lnTo>
                        <a:pt x="248" y="192"/>
                      </a:lnTo>
                      <a:lnTo>
                        <a:pt x="240" y="184"/>
                      </a:lnTo>
                      <a:lnTo>
                        <a:pt x="232" y="168"/>
                      </a:lnTo>
                      <a:lnTo>
                        <a:pt x="216" y="168"/>
                      </a:lnTo>
                      <a:lnTo>
                        <a:pt x="216" y="160"/>
                      </a:lnTo>
                      <a:lnTo>
                        <a:pt x="200" y="160"/>
                      </a:lnTo>
                      <a:lnTo>
                        <a:pt x="192" y="152"/>
                      </a:lnTo>
                      <a:lnTo>
                        <a:pt x="192" y="144"/>
                      </a:lnTo>
                      <a:lnTo>
                        <a:pt x="168" y="136"/>
                      </a:lnTo>
                      <a:lnTo>
                        <a:pt x="152" y="128"/>
                      </a:lnTo>
                      <a:lnTo>
                        <a:pt x="144" y="104"/>
                      </a:lnTo>
                      <a:lnTo>
                        <a:pt x="136" y="88"/>
                      </a:lnTo>
                      <a:lnTo>
                        <a:pt x="112" y="72"/>
                      </a:lnTo>
                      <a:lnTo>
                        <a:pt x="112" y="56"/>
                      </a:lnTo>
                      <a:lnTo>
                        <a:pt x="112" y="48"/>
                      </a:lnTo>
                      <a:lnTo>
                        <a:pt x="120" y="40"/>
                      </a:lnTo>
                      <a:lnTo>
                        <a:pt x="144" y="40"/>
                      </a:lnTo>
                      <a:lnTo>
                        <a:pt x="144" y="48"/>
                      </a:lnTo>
                      <a:lnTo>
                        <a:pt x="144" y="40"/>
                      </a:lnTo>
                      <a:lnTo>
                        <a:pt x="152" y="32"/>
                      </a:lnTo>
                      <a:lnTo>
                        <a:pt x="152" y="24"/>
                      </a:lnTo>
                      <a:lnTo>
                        <a:pt x="144" y="16"/>
                      </a:lnTo>
                      <a:lnTo>
                        <a:pt x="144" y="8"/>
                      </a:lnTo>
                      <a:lnTo>
                        <a:pt x="128" y="0"/>
                      </a:lnTo>
                      <a:lnTo>
                        <a:pt x="120" y="0"/>
                      </a:lnTo>
                      <a:lnTo>
                        <a:pt x="112" y="0"/>
                      </a:lnTo>
                      <a:lnTo>
                        <a:pt x="104" y="0"/>
                      </a:lnTo>
                      <a:lnTo>
                        <a:pt x="96" y="0"/>
                      </a:lnTo>
                      <a:lnTo>
                        <a:pt x="72" y="0"/>
                      </a:lnTo>
                      <a:lnTo>
                        <a:pt x="64" y="16"/>
                      </a:lnTo>
                      <a:lnTo>
                        <a:pt x="40" y="16"/>
                      </a:lnTo>
                      <a:lnTo>
                        <a:pt x="40" y="8"/>
                      </a:ln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16" y="32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0" y="56"/>
                      </a:lnTo>
                      <a:lnTo>
                        <a:pt x="8" y="72"/>
                      </a:lnTo>
                      <a:lnTo>
                        <a:pt x="16" y="80"/>
                      </a:lnTo>
                      <a:lnTo>
                        <a:pt x="24" y="88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37" name="Freeform 375">
                  <a:extLst>
                    <a:ext uri="{FF2B5EF4-FFF2-40B4-BE49-F238E27FC236}">
                      <a16:creationId xmlns:a16="http://schemas.microsoft.com/office/drawing/2014/main" id="{245432D0-7AC8-9983-2FD7-A64ED27C3BE3}"/>
                    </a:ext>
                  </a:extLst>
                </p:cNvPr>
                <p:cNvSpPr/>
                <p:nvPr/>
              </p:nvSpPr>
              <p:spPr bwMode="gray">
                <a:xfrm>
                  <a:off x="3053" y="2228"/>
                  <a:ext cx="91" cy="101"/>
                </a:xfrm>
                <a:custGeom>
                  <a:avLst/>
                  <a:gdLst>
                    <a:gd name="T0" fmla="*/ 41 w 128"/>
                    <a:gd name="T1" fmla="*/ 11 h 144"/>
                    <a:gd name="T2" fmla="*/ 46 w 128"/>
                    <a:gd name="T3" fmla="*/ 8 h 144"/>
                    <a:gd name="T4" fmla="*/ 46 w 128"/>
                    <a:gd name="T5" fmla="*/ 6 h 144"/>
                    <a:gd name="T6" fmla="*/ 43 w 128"/>
                    <a:gd name="T7" fmla="*/ 0 h 144"/>
                    <a:gd name="T8" fmla="*/ 41 w 128"/>
                    <a:gd name="T9" fmla="*/ 6 h 144"/>
                    <a:gd name="T10" fmla="*/ 38 w 128"/>
                    <a:gd name="T11" fmla="*/ 6 h 144"/>
                    <a:gd name="T12" fmla="*/ 34 w 128"/>
                    <a:gd name="T13" fmla="*/ 6 h 144"/>
                    <a:gd name="T14" fmla="*/ 29 w 128"/>
                    <a:gd name="T15" fmla="*/ 3 h 144"/>
                    <a:gd name="T16" fmla="*/ 26 w 128"/>
                    <a:gd name="T17" fmla="*/ 6 h 144"/>
                    <a:gd name="T18" fmla="*/ 20 w 128"/>
                    <a:gd name="T19" fmla="*/ 6 h 144"/>
                    <a:gd name="T20" fmla="*/ 17 w 128"/>
                    <a:gd name="T21" fmla="*/ 6 h 144"/>
                    <a:gd name="T22" fmla="*/ 14 w 128"/>
                    <a:gd name="T23" fmla="*/ 11 h 144"/>
                    <a:gd name="T24" fmla="*/ 6 w 128"/>
                    <a:gd name="T25" fmla="*/ 11 h 144"/>
                    <a:gd name="T26" fmla="*/ 6 w 128"/>
                    <a:gd name="T27" fmla="*/ 14 h 144"/>
                    <a:gd name="T28" fmla="*/ 3 w 128"/>
                    <a:gd name="T29" fmla="*/ 19 h 144"/>
                    <a:gd name="T30" fmla="*/ 0 w 128"/>
                    <a:gd name="T31" fmla="*/ 22 h 144"/>
                    <a:gd name="T32" fmla="*/ 0 w 128"/>
                    <a:gd name="T33" fmla="*/ 25 h 144"/>
                    <a:gd name="T34" fmla="*/ 3 w 128"/>
                    <a:gd name="T35" fmla="*/ 27 h 144"/>
                    <a:gd name="T36" fmla="*/ 3 w 128"/>
                    <a:gd name="T37" fmla="*/ 33 h 144"/>
                    <a:gd name="T38" fmla="*/ 9 w 128"/>
                    <a:gd name="T39" fmla="*/ 36 h 144"/>
                    <a:gd name="T40" fmla="*/ 11 w 128"/>
                    <a:gd name="T41" fmla="*/ 33 h 144"/>
                    <a:gd name="T42" fmla="*/ 17 w 128"/>
                    <a:gd name="T43" fmla="*/ 33 h 144"/>
                    <a:gd name="T44" fmla="*/ 20 w 128"/>
                    <a:gd name="T45" fmla="*/ 36 h 144"/>
                    <a:gd name="T46" fmla="*/ 11 w 128"/>
                    <a:gd name="T47" fmla="*/ 36 h 144"/>
                    <a:gd name="T48" fmla="*/ 9 w 128"/>
                    <a:gd name="T49" fmla="*/ 36 h 144"/>
                    <a:gd name="T50" fmla="*/ 9 w 128"/>
                    <a:gd name="T51" fmla="*/ 39 h 144"/>
                    <a:gd name="T52" fmla="*/ 11 w 128"/>
                    <a:gd name="T53" fmla="*/ 41 h 144"/>
                    <a:gd name="T54" fmla="*/ 9 w 128"/>
                    <a:gd name="T55" fmla="*/ 47 h 144"/>
                    <a:gd name="T56" fmla="*/ 11 w 128"/>
                    <a:gd name="T57" fmla="*/ 47 h 144"/>
                    <a:gd name="T58" fmla="*/ 14 w 128"/>
                    <a:gd name="T59" fmla="*/ 47 h 144"/>
                    <a:gd name="T60" fmla="*/ 14 w 128"/>
                    <a:gd name="T61" fmla="*/ 50 h 144"/>
                    <a:gd name="T62" fmla="*/ 17 w 128"/>
                    <a:gd name="T63" fmla="*/ 50 h 144"/>
                    <a:gd name="T64" fmla="*/ 20 w 128"/>
                    <a:gd name="T65" fmla="*/ 50 h 144"/>
                    <a:gd name="T66" fmla="*/ 20 w 128"/>
                    <a:gd name="T67" fmla="*/ 47 h 144"/>
                    <a:gd name="T68" fmla="*/ 17 w 128"/>
                    <a:gd name="T69" fmla="*/ 44 h 144"/>
                    <a:gd name="T70" fmla="*/ 20 w 128"/>
                    <a:gd name="T71" fmla="*/ 41 h 144"/>
                    <a:gd name="T72" fmla="*/ 23 w 128"/>
                    <a:gd name="T73" fmla="*/ 44 h 144"/>
                    <a:gd name="T74" fmla="*/ 23 w 128"/>
                    <a:gd name="T75" fmla="*/ 39 h 144"/>
                    <a:gd name="T76" fmla="*/ 26 w 128"/>
                    <a:gd name="T77" fmla="*/ 39 h 144"/>
                    <a:gd name="T78" fmla="*/ 26 w 128"/>
                    <a:gd name="T79" fmla="*/ 36 h 144"/>
                    <a:gd name="T80" fmla="*/ 23 w 128"/>
                    <a:gd name="T81" fmla="*/ 33 h 144"/>
                    <a:gd name="T82" fmla="*/ 20 w 128"/>
                    <a:gd name="T83" fmla="*/ 30 h 144"/>
                    <a:gd name="T84" fmla="*/ 20 w 128"/>
                    <a:gd name="T85" fmla="*/ 25 h 144"/>
                    <a:gd name="T86" fmla="*/ 14 w 128"/>
                    <a:gd name="T87" fmla="*/ 19 h 144"/>
                    <a:gd name="T88" fmla="*/ 14 w 128"/>
                    <a:gd name="T89" fmla="*/ 17 h 144"/>
                    <a:gd name="T90" fmla="*/ 17 w 128"/>
                    <a:gd name="T91" fmla="*/ 14 h 144"/>
                    <a:gd name="T92" fmla="*/ 20 w 128"/>
                    <a:gd name="T93" fmla="*/ 17 h 144"/>
                    <a:gd name="T94" fmla="*/ 23 w 128"/>
                    <a:gd name="T95" fmla="*/ 19 h 144"/>
                    <a:gd name="T96" fmla="*/ 23 w 128"/>
                    <a:gd name="T97" fmla="*/ 17 h 144"/>
                    <a:gd name="T98" fmla="*/ 26 w 128"/>
                    <a:gd name="T99" fmla="*/ 19 h 144"/>
                    <a:gd name="T100" fmla="*/ 26 w 128"/>
                    <a:gd name="T101" fmla="*/ 17 h 144"/>
                    <a:gd name="T102" fmla="*/ 29 w 128"/>
                    <a:gd name="T103" fmla="*/ 19 h 144"/>
                    <a:gd name="T104" fmla="*/ 29 w 128"/>
                    <a:gd name="T105" fmla="*/ 17 h 144"/>
                    <a:gd name="T106" fmla="*/ 26 w 128"/>
                    <a:gd name="T107" fmla="*/ 17 h 144"/>
                    <a:gd name="T108" fmla="*/ 26 w 128"/>
                    <a:gd name="T109" fmla="*/ 11 h 144"/>
                    <a:gd name="T110" fmla="*/ 29 w 128"/>
                    <a:gd name="T111" fmla="*/ 11 h 144"/>
                    <a:gd name="T112" fmla="*/ 32 w 128"/>
                    <a:gd name="T113" fmla="*/ 11 h 144"/>
                    <a:gd name="T114" fmla="*/ 34 w 128"/>
                    <a:gd name="T115" fmla="*/ 11 h 144"/>
                    <a:gd name="T116" fmla="*/ 38 w 128"/>
                    <a:gd name="T117" fmla="*/ 11 h 144"/>
                    <a:gd name="T118" fmla="*/ 41 w 128"/>
                    <a:gd name="T119" fmla="*/ 11 h 144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28"/>
                    <a:gd name="T181" fmla="*/ 0 h 144"/>
                    <a:gd name="T182" fmla="*/ 128 w 128"/>
                    <a:gd name="T183" fmla="*/ 144 h 144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28" h="144">
                      <a:moveTo>
                        <a:pt x="112" y="32"/>
                      </a:moveTo>
                      <a:lnTo>
                        <a:pt x="128" y="24"/>
                      </a:lnTo>
                      <a:lnTo>
                        <a:pt x="128" y="16"/>
                      </a:lnTo>
                      <a:lnTo>
                        <a:pt x="120" y="0"/>
                      </a:lnTo>
                      <a:lnTo>
                        <a:pt x="112" y="16"/>
                      </a:lnTo>
                      <a:lnTo>
                        <a:pt x="104" y="16"/>
                      </a:lnTo>
                      <a:lnTo>
                        <a:pt x="96" y="16"/>
                      </a:lnTo>
                      <a:lnTo>
                        <a:pt x="80" y="8"/>
                      </a:lnTo>
                      <a:lnTo>
                        <a:pt x="72" y="16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40" y="32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8" y="56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8" y="80"/>
                      </a:lnTo>
                      <a:lnTo>
                        <a:pt x="8" y="96"/>
                      </a:lnTo>
                      <a:lnTo>
                        <a:pt x="24" y="104"/>
                      </a:lnTo>
                      <a:lnTo>
                        <a:pt x="32" y="96"/>
                      </a:lnTo>
                      <a:lnTo>
                        <a:pt x="48" y="96"/>
                      </a:lnTo>
                      <a:lnTo>
                        <a:pt x="56" y="104"/>
                      </a:lnTo>
                      <a:lnTo>
                        <a:pt x="32" y="104"/>
                      </a:lnTo>
                      <a:lnTo>
                        <a:pt x="24" y="104"/>
                      </a:lnTo>
                      <a:lnTo>
                        <a:pt x="24" y="112"/>
                      </a:lnTo>
                      <a:lnTo>
                        <a:pt x="32" y="120"/>
                      </a:lnTo>
                      <a:lnTo>
                        <a:pt x="24" y="136"/>
                      </a:lnTo>
                      <a:lnTo>
                        <a:pt x="32" y="136"/>
                      </a:lnTo>
                      <a:lnTo>
                        <a:pt x="40" y="136"/>
                      </a:lnTo>
                      <a:lnTo>
                        <a:pt x="40" y="144"/>
                      </a:lnTo>
                      <a:lnTo>
                        <a:pt x="48" y="144"/>
                      </a:lnTo>
                      <a:lnTo>
                        <a:pt x="56" y="144"/>
                      </a:lnTo>
                      <a:lnTo>
                        <a:pt x="56" y="136"/>
                      </a:lnTo>
                      <a:lnTo>
                        <a:pt x="48" y="128"/>
                      </a:lnTo>
                      <a:lnTo>
                        <a:pt x="56" y="120"/>
                      </a:lnTo>
                      <a:lnTo>
                        <a:pt x="64" y="128"/>
                      </a:lnTo>
                      <a:lnTo>
                        <a:pt x="64" y="112"/>
                      </a:lnTo>
                      <a:lnTo>
                        <a:pt x="72" y="112"/>
                      </a:lnTo>
                      <a:lnTo>
                        <a:pt x="72" y="104"/>
                      </a:lnTo>
                      <a:lnTo>
                        <a:pt x="64" y="96"/>
                      </a:lnTo>
                      <a:lnTo>
                        <a:pt x="56" y="88"/>
                      </a:lnTo>
                      <a:lnTo>
                        <a:pt x="56" y="72"/>
                      </a:lnTo>
                      <a:lnTo>
                        <a:pt x="40" y="56"/>
                      </a:lnTo>
                      <a:lnTo>
                        <a:pt x="40" y="48"/>
                      </a:lnTo>
                      <a:lnTo>
                        <a:pt x="48" y="40"/>
                      </a:lnTo>
                      <a:lnTo>
                        <a:pt x="56" y="48"/>
                      </a:lnTo>
                      <a:lnTo>
                        <a:pt x="64" y="56"/>
                      </a:lnTo>
                      <a:lnTo>
                        <a:pt x="64" y="48"/>
                      </a:lnTo>
                      <a:lnTo>
                        <a:pt x="72" y="56"/>
                      </a:lnTo>
                      <a:lnTo>
                        <a:pt x="72" y="48"/>
                      </a:lnTo>
                      <a:lnTo>
                        <a:pt x="80" y="56"/>
                      </a:lnTo>
                      <a:lnTo>
                        <a:pt x="80" y="48"/>
                      </a:lnTo>
                      <a:lnTo>
                        <a:pt x="72" y="48"/>
                      </a:lnTo>
                      <a:lnTo>
                        <a:pt x="72" y="32"/>
                      </a:lnTo>
                      <a:lnTo>
                        <a:pt x="80" y="32"/>
                      </a:lnTo>
                      <a:lnTo>
                        <a:pt x="88" y="32"/>
                      </a:lnTo>
                      <a:lnTo>
                        <a:pt x="96" y="32"/>
                      </a:lnTo>
                      <a:lnTo>
                        <a:pt x="104" y="32"/>
                      </a:lnTo>
                      <a:lnTo>
                        <a:pt x="112" y="32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38" name="Freeform 376">
                  <a:extLst>
                    <a:ext uri="{FF2B5EF4-FFF2-40B4-BE49-F238E27FC236}">
                      <a16:creationId xmlns:a16="http://schemas.microsoft.com/office/drawing/2014/main" id="{11C0F488-2238-993A-4F58-0584FFC570E4}"/>
                    </a:ext>
                  </a:extLst>
                </p:cNvPr>
                <p:cNvSpPr/>
                <p:nvPr/>
              </p:nvSpPr>
              <p:spPr bwMode="gray">
                <a:xfrm>
                  <a:off x="2637" y="2324"/>
                  <a:ext cx="298" cy="292"/>
                </a:xfrm>
                <a:custGeom>
                  <a:avLst/>
                  <a:gdLst>
                    <a:gd name="T0" fmla="*/ 128 w 424"/>
                    <a:gd name="T1" fmla="*/ 53 h 416"/>
                    <a:gd name="T2" fmla="*/ 122 w 424"/>
                    <a:gd name="T3" fmla="*/ 41 h 416"/>
                    <a:gd name="T4" fmla="*/ 119 w 424"/>
                    <a:gd name="T5" fmla="*/ 36 h 416"/>
                    <a:gd name="T6" fmla="*/ 114 w 424"/>
                    <a:gd name="T7" fmla="*/ 31 h 416"/>
                    <a:gd name="T8" fmla="*/ 114 w 424"/>
                    <a:gd name="T9" fmla="*/ 25 h 416"/>
                    <a:gd name="T10" fmla="*/ 119 w 424"/>
                    <a:gd name="T11" fmla="*/ 19 h 416"/>
                    <a:gd name="T12" fmla="*/ 119 w 424"/>
                    <a:gd name="T13" fmla="*/ 11 h 416"/>
                    <a:gd name="T14" fmla="*/ 119 w 424"/>
                    <a:gd name="T15" fmla="*/ 3 h 416"/>
                    <a:gd name="T16" fmla="*/ 114 w 424"/>
                    <a:gd name="T17" fmla="*/ 0 h 416"/>
                    <a:gd name="T18" fmla="*/ 105 w 424"/>
                    <a:gd name="T19" fmla="*/ 3 h 416"/>
                    <a:gd name="T20" fmla="*/ 100 w 424"/>
                    <a:gd name="T21" fmla="*/ 3 h 416"/>
                    <a:gd name="T22" fmla="*/ 94 w 424"/>
                    <a:gd name="T23" fmla="*/ 3 h 416"/>
                    <a:gd name="T24" fmla="*/ 92 w 424"/>
                    <a:gd name="T25" fmla="*/ 3 h 416"/>
                    <a:gd name="T26" fmla="*/ 84 w 424"/>
                    <a:gd name="T27" fmla="*/ 3 h 416"/>
                    <a:gd name="T28" fmla="*/ 81 w 424"/>
                    <a:gd name="T29" fmla="*/ 6 h 416"/>
                    <a:gd name="T30" fmla="*/ 72 w 424"/>
                    <a:gd name="T31" fmla="*/ 6 h 416"/>
                    <a:gd name="T32" fmla="*/ 70 w 424"/>
                    <a:gd name="T33" fmla="*/ 6 h 416"/>
                    <a:gd name="T34" fmla="*/ 64 w 424"/>
                    <a:gd name="T35" fmla="*/ 8 h 416"/>
                    <a:gd name="T36" fmla="*/ 58 w 424"/>
                    <a:gd name="T37" fmla="*/ 14 h 416"/>
                    <a:gd name="T38" fmla="*/ 56 w 424"/>
                    <a:gd name="T39" fmla="*/ 14 h 416"/>
                    <a:gd name="T40" fmla="*/ 53 w 424"/>
                    <a:gd name="T41" fmla="*/ 17 h 416"/>
                    <a:gd name="T42" fmla="*/ 50 w 424"/>
                    <a:gd name="T43" fmla="*/ 19 h 416"/>
                    <a:gd name="T44" fmla="*/ 53 w 424"/>
                    <a:gd name="T45" fmla="*/ 33 h 416"/>
                    <a:gd name="T46" fmla="*/ 53 w 424"/>
                    <a:gd name="T47" fmla="*/ 36 h 416"/>
                    <a:gd name="T48" fmla="*/ 50 w 424"/>
                    <a:gd name="T49" fmla="*/ 44 h 416"/>
                    <a:gd name="T50" fmla="*/ 44 w 424"/>
                    <a:gd name="T51" fmla="*/ 44 h 416"/>
                    <a:gd name="T52" fmla="*/ 39 w 424"/>
                    <a:gd name="T53" fmla="*/ 44 h 416"/>
                    <a:gd name="T54" fmla="*/ 39 w 424"/>
                    <a:gd name="T55" fmla="*/ 53 h 416"/>
                    <a:gd name="T56" fmla="*/ 33 w 424"/>
                    <a:gd name="T57" fmla="*/ 53 h 416"/>
                    <a:gd name="T58" fmla="*/ 31 w 424"/>
                    <a:gd name="T59" fmla="*/ 55 h 416"/>
                    <a:gd name="T60" fmla="*/ 27 w 424"/>
                    <a:gd name="T61" fmla="*/ 55 h 416"/>
                    <a:gd name="T62" fmla="*/ 25 w 424"/>
                    <a:gd name="T63" fmla="*/ 58 h 416"/>
                    <a:gd name="T64" fmla="*/ 25 w 424"/>
                    <a:gd name="T65" fmla="*/ 61 h 416"/>
                    <a:gd name="T66" fmla="*/ 8 w 424"/>
                    <a:gd name="T67" fmla="*/ 64 h 416"/>
                    <a:gd name="T68" fmla="*/ 0 w 424"/>
                    <a:gd name="T69" fmla="*/ 69 h 416"/>
                    <a:gd name="T70" fmla="*/ 0 w 424"/>
                    <a:gd name="T71" fmla="*/ 75 h 416"/>
                    <a:gd name="T72" fmla="*/ 3 w 424"/>
                    <a:gd name="T73" fmla="*/ 80 h 416"/>
                    <a:gd name="T74" fmla="*/ 31 w 424"/>
                    <a:gd name="T75" fmla="*/ 100 h 416"/>
                    <a:gd name="T76" fmla="*/ 70 w 424"/>
                    <a:gd name="T77" fmla="*/ 130 h 416"/>
                    <a:gd name="T78" fmla="*/ 72 w 424"/>
                    <a:gd name="T79" fmla="*/ 135 h 416"/>
                    <a:gd name="T80" fmla="*/ 77 w 424"/>
                    <a:gd name="T81" fmla="*/ 135 h 416"/>
                    <a:gd name="T82" fmla="*/ 81 w 424"/>
                    <a:gd name="T83" fmla="*/ 135 h 416"/>
                    <a:gd name="T84" fmla="*/ 84 w 424"/>
                    <a:gd name="T85" fmla="*/ 138 h 416"/>
                    <a:gd name="T86" fmla="*/ 84 w 424"/>
                    <a:gd name="T87" fmla="*/ 144 h 416"/>
                    <a:gd name="T88" fmla="*/ 94 w 424"/>
                    <a:gd name="T89" fmla="*/ 141 h 416"/>
                    <a:gd name="T90" fmla="*/ 103 w 424"/>
                    <a:gd name="T91" fmla="*/ 141 h 416"/>
                    <a:gd name="T92" fmla="*/ 147 w 424"/>
                    <a:gd name="T93" fmla="*/ 111 h 416"/>
                    <a:gd name="T94" fmla="*/ 142 w 424"/>
                    <a:gd name="T95" fmla="*/ 100 h 416"/>
                    <a:gd name="T96" fmla="*/ 136 w 424"/>
                    <a:gd name="T97" fmla="*/ 102 h 416"/>
                    <a:gd name="T98" fmla="*/ 131 w 424"/>
                    <a:gd name="T99" fmla="*/ 94 h 416"/>
                    <a:gd name="T100" fmla="*/ 128 w 424"/>
                    <a:gd name="T101" fmla="*/ 86 h 416"/>
                    <a:gd name="T102" fmla="*/ 134 w 424"/>
                    <a:gd name="T103" fmla="*/ 80 h 416"/>
                    <a:gd name="T104" fmla="*/ 134 w 424"/>
                    <a:gd name="T105" fmla="*/ 75 h 416"/>
                    <a:gd name="T106" fmla="*/ 131 w 424"/>
                    <a:gd name="T107" fmla="*/ 69 h 416"/>
                    <a:gd name="T108" fmla="*/ 131 w 424"/>
                    <a:gd name="T109" fmla="*/ 67 h 416"/>
                    <a:gd name="T110" fmla="*/ 128 w 424"/>
                    <a:gd name="T111" fmla="*/ 53 h 41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424"/>
                    <a:gd name="T169" fmla="*/ 0 h 416"/>
                    <a:gd name="T170" fmla="*/ 424 w 424"/>
                    <a:gd name="T171" fmla="*/ 416 h 416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424" h="416">
                      <a:moveTo>
                        <a:pt x="368" y="152"/>
                      </a:moveTo>
                      <a:lnTo>
                        <a:pt x="352" y="120"/>
                      </a:lnTo>
                      <a:lnTo>
                        <a:pt x="344" y="104"/>
                      </a:lnTo>
                      <a:lnTo>
                        <a:pt x="328" y="88"/>
                      </a:lnTo>
                      <a:lnTo>
                        <a:pt x="328" y="72"/>
                      </a:lnTo>
                      <a:lnTo>
                        <a:pt x="344" y="56"/>
                      </a:lnTo>
                      <a:lnTo>
                        <a:pt x="344" y="32"/>
                      </a:lnTo>
                      <a:lnTo>
                        <a:pt x="344" y="8"/>
                      </a:lnTo>
                      <a:lnTo>
                        <a:pt x="328" y="0"/>
                      </a:lnTo>
                      <a:lnTo>
                        <a:pt x="304" y="8"/>
                      </a:lnTo>
                      <a:lnTo>
                        <a:pt x="288" y="8"/>
                      </a:lnTo>
                      <a:lnTo>
                        <a:pt x="272" y="8"/>
                      </a:lnTo>
                      <a:lnTo>
                        <a:pt x="264" y="8"/>
                      </a:lnTo>
                      <a:lnTo>
                        <a:pt x="240" y="8"/>
                      </a:lnTo>
                      <a:lnTo>
                        <a:pt x="232" y="16"/>
                      </a:lnTo>
                      <a:lnTo>
                        <a:pt x="208" y="16"/>
                      </a:lnTo>
                      <a:lnTo>
                        <a:pt x="200" y="16"/>
                      </a:lnTo>
                      <a:lnTo>
                        <a:pt x="184" y="24"/>
                      </a:lnTo>
                      <a:lnTo>
                        <a:pt x="168" y="40"/>
                      </a:lnTo>
                      <a:lnTo>
                        <a:pt x="160" y="40"/>
                      </a:lnTo>
                      <a:lnTo>
                        <a:pt x="152" y="48"/>
                      </a:lnTo>
                      <a:lnTo>
                        <a:pt x="144" y="56"/>
                      </a:lnTo>
                      <a:lnTo>
                        <a:pt x="152" y="96"/>
                      </a:lnTo>
                      <a:lnTo>
                        <a:pt x="152" y="104"/>
                      </a:lnTo>
                      <a:lnTo>
                        <a:pt x="144" y="128"/>
                      </a:lnTo>
                      <a:lnTo>
                        <a:pt x="128" y="128"/>
                      </a:lnTo>
                      <a:lnTo>
                        <a:pt x="112" y="128"/>
                      </a:lnTo>
                      <a:lnTo>
                        <a:pt x="112" y="152"/>
                      </a:lnTo>
                      <a:lnTo>
                        <a:pt x="96" y="152"/>
                      </a:lnTo>
                      <a:lnTo>
                        <a:pt x="88" y="160"/>
                      </a:lnTo>
                      <a:lnTo>
                        <a:pt x="80" y="160"/>
                      </a:lnTo>
                      <a:lnTo>
                        <a:pt x="72" y="168"/>
                      </a:lnTo>
                      <a:lnTo>
                        <a:pt x="72" y="176"/>
                      </a:lnTo>
                      <a:lnTo>
                        <a:pt x="24" y="184"/>
                      </a:lnTo>
                      <a:lnTo>
                        <a:pt x="0" y="200"/>
                      </a:lnTo>
                      <a:lnTo>
                        <a:pt x="0" y="216"/>
                      </a:lnTo>
                      <a:lnTo>
                        <a:pt x="8" y="232"/>
                      </a:lnTo>
                      <a:lnTo>
                        <a:pt x="88" y="288"/>
                      </a:lnTo>
                      <a:lnTo>
                        <a:pt x="200" y="376"/>
                      </a:lnTo>
                      <a:lnTo>
                        <a:pt x="208" y="392"/>
                      </a:lnTo>
                      <a:lnTo>
                        <a:pt x="224" y="392"/>
                      </a:lnTo>
                      <a:lnTo>
                        <a:pt x="232" y="392"/>
                      </a:lnTo>
                      <a:lnTo>
                        <a:pt x="240" y="400"/>
                      </a:lnTo>
                      <a:lnTo>
                        <a:pt x="240" y="416"/>
                      </a:lnTo>
                      <a:lnTo>
                        <a:pt x="272" y="408"/>
                      </a:lnTo>
                      <a:lnTo>
                        <a:pt x="296" y="408"/>
                      </a:lnTo>
                      <a:lnTo>
                        <a:pt x="424" y="320"/>
                      </a:lnTo>
                      <a:lnTo>
                        <a:pt x="408" y="288"/>
                      </a:lnTo>
                      <a:lnTo>
                        <a:pt x="392" y="296"/>
                      </a:lnTo>
                      <a:lnTo>
                        <a:pt x="376" y="272"/>
                      </a:lnTo>
                      <a:lnTo>
                        <a:pt x="368" y="248"/>
                      </a:lnTo>
                      <a:lnTo>
                        <a:pt x="384" y="232"/>
                      </a:lnTo>
                      <a:lnTo>
                        <a:pt x="384" y="216"/>
                      </a:lnTo>
                      <a:lnTo>
                        <a:pt x="376" y="200"/>
                      </a:lnTo>
                      <a:lnTo>
                        <a:pt x="376" y="192"/>
                      </a:lnTo>
                      <a:lnTo>
                        <a:pt x="368" y="152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39" name="Freeform 377">
                  <a:extLst>
                    <a:ext uri="{FF2B5EF4-FFF2-40B4-BE49-F238E27FC236}">
                      <a16:creationId xmlns:a16="http://schemas.microsoft.com/office/drawing/2014/main" id="{433C551D-D7EB-969D-7B62-3941A59D22B1}"/>
                    </a:ext>
                  </a:extLst>
                </p:cNvPr>
                <p:cNvSpPr/>
                <p:nvPr/>
              </p:nvSpPr>
              <p:spPr bwMode="gray">
                <a:xfrm>
                  <a:off x="2868" y="2324"/>
                  <a:ext cx="56" cy="107"/>
                </a:xfrm>
                <a:custGeom>
                  <a:avLst/>
                  <a:gdLst>
                    <a:gd name="T0" fmla="*/ 6 w 80"/>
                    <a:gd name="T1" fmla="*/ 3 h 152"/>
                    <a:gd name="T2" fmla="*/ 6 w 80"/>
                    <a:gd name="T3" fmla="*/ 11 h 152"/>
                    <a:gd name="T4" fmla="*/ 6 w 80"/>
                    <a:gd name="T5" fmla="*/ 19 h 152"/>
                    <a:gd name="T6" fmla="*/ 0 w 80"/>
                    <a:gd name="T7" fmla="*/ 25 h 152"/>
                    <a:gd name="T8" fmla="*/ 0 w 80"/>
                    <a:gd name="T9" fmla="*/ 31 h 152"/>
                    <a:gd name="T10" fmla="*/ 6 w 80"/>
                    <a:gd name="T11" fmla="*/ 36 h 152"/>
                    <a:gd name="T12" fmla="*/ 8 w 80"/>
                    <a:gd name="T13" fmla="*/ 42 h 152"/>
                    <a:gd name="T14" fmla="*/ 14 w 80"/>
                    <a:gd name="T15" fmla="*/ 53 h 152"/>
                    <a:gd name="T16" fmla="*/ 17 w 80"/>
                    <a:gd name="T17" fmla="*/ 53 h 152"/>
                    <a:gd name="T18" fmla="*/ 19 w 80"/>
                    <a:gd name="T19" fmla="*/ 50 h 152"/>
                    <a:gd name="T20" fmla="*/ 22 w 80"/>
                    <a:gd name="T21" fmla="*/ 42 h 152"/>
                    <a:gd name="T22" fmla="*/ 25 w 80"/>
                    <a:gd name="T23" fmla="*/ 42 h 152"/>
                    <a:gd name="T24" fmla="*/ 27 w 80"/>
                    <a:gd name="T25" fmla="*/ 39 h 152"/>
                    <a:gd name="T26" fmla="*/ 27 w 80"/>
                    <a:gd name="T27" fmla="*/ 34 h 152"/>
                    <a:gd name="T28" fmla="*/ 22 w 80"/>
                    <a:gd name="T29" fmla="*/ 31 h 152"/>
                    <a:gd name="T30" fmla="*/ 19 w 80"/>
                    <a:gd name="T31" fmla="*/ 27 h 152"/>
                    <a:gd name="T32" fmla="*/ 19 w 80"/>
                    <a:gd name="T33" fmla="*/ 25 h 152"/>
                    <a:gd name="T34" fmla="*/ 25 w 80"/>
                    <a:gd name="T35" fmla="*/ 19 h 152"/>
                    <a:gd name="T36" fmla="*/ 25 w 80"/>
                    <a:gd name="T37" fmla="*/ 14 h 152"/>
                    <a:gd name="T38" fmla="*/ 22 w 80"/>
                    <a:gd name="T39" fmla="*/ 8 h 152"/>
                    <a:gd name="T40" fmla="*/ 22 w 80"/>
                    <a:gd name="T41" fmla="*/ 6 h 152"/>
                    <a:gd name="T42" fmla="*/ 25 w 80"/>
                    <a:gd name="T43" fmla="*/ 3 h 152"/>
                    <a:gd name="T44" fmla="*/ 25 w 80"/>
                    <a:gd name="T45" fmla="*/ 0 h 152"/>
                    <a:gd name="T46" fmla="*/ 19 w 80"/>
                    <a:gd name="T47" fmla="*/ 0 h 152"/>
                    <a:gd name="T48" fmla="*/ 17 w 80"/>
                    <a:gd name="T49" fmla="*/ 0 h 152"/>
                    <a:gd name="T50" fmla="*/ 14 w 80"/>
                    <a:gd name="T51" fmla="*/ 0 h 152"/>
                    <a:gd name="T52" fmla="*/ 10 w 80"/>
                    <a:gd name="T53" fmla="*/ 3 h 152"/>
                    <a:gd name="T54" fmla="*/ 6 w 80"/>
                    <a:gd name="T55" fmla="*/ 3 h 152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0"/>
                    <a:gd name="T85" fmla="*/ 0 h 152"/>
                    <a:gd name="T86" fmla="*/ 80 w 80"/>
                    <a:gd name="T87" fmla="*/ 152 h 152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0" h="152">
                      <a:moveTo>
                        <a:pt x="16" y="8"/>
                      </a:moveTo>
                      <a:lnTo>
                        <a:pt x="16" y="32"/>
                      </a:lnTo>
                      <a:lnTo>
                        <a:pt x="16" y="56"/>
                      </a:lnTo>
                      <a:lnTo>
                        <a:pt x="0" y="72"/>
                      </a:lnTo>
                      <a:lnTo>
                        <a:pt x="0" y="88"/>
                      </a:lnTo>
                      <a:lnTo>
                        <a:pt x="16" y="104"/>
                      </a:lnTo>
                      <a:lnTo>
                        <a:pt x="24" y="120"/>
                      </a:lnTo>
                      <a:lnTo>
                        <a:pt x="40" y="152"/>
                      </a:lnTo>
                      <a:lnTo>
                        <a:pt x="48" y="152"/>
                      </a:lnTo>
                      <a:lnTo>
                        <a:pt x="56" y="144"/>
                      </a:lnTo>
                      <a:lnTo>
                        <a:pt x="64" y="120"/>
                      </a:lnTo>
                      <a:lnTo>
                        <a:pt x="72" y="120"/>
                      </a:lnTo>
                      <a:lnTo>
                        <a:pt x="80" y="112"/>
                      </a:lnTo>
                      <a:lnTo>
                        <a:pt x="80" y="96"/>
                      </a:lnTo>
                      <a:lnTo>
                        <a:pt x="64" y="88"/>
                      </a:lnTo>
                      <a:lnTo>
                        <a:pt x="56" y="80"/>
                      </a:lnTo>
                      <a:lnTo>
                        <a:pt x="56" y="72"/>
                      </a:lnTo>
                      <a:lnTo>
                        <a:pt x="72" y="56"/>
                      </a:lnTo>
                      <a:lnTo>
                        <a:pt x="72" y="40"/>
                      </a:lnTo>
                      <a:lnTo>
                        <a:pt x="64" y="24"/>
                      </a:lnTo>
                      <a:lnTo>
                        <a:pt x="64" y="16"/>
                      </a:lnTo>
                      <a:lnTo>
                        <a:pt x="72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48" y="0"/>
                      </a:lnTo>
                      <a:lnTo>
                        <a:pt x="40" y="0"/>
                      </a:lnTo>
                      <a:lnTo>
                        <a:pt x="32" y="8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40" name="Freeform 378">
                  <a:extLst>
                    <a:ext uri="{FF2B5EF4-FFF2-40B4-BE49-F238E27FC236}">
                      <a16:creationId xmlns:a16="http://schemas.microsoft.com/office/drawing/2014/main" id="{E314682F-A3EE-E8F7-3B7C-CB13A475AFB5}"/>
                    </a:ext>
                  </a:extLst>
                </p:cNvPr>
                <p:cNvSpPr/>
                <p:nvPr/>
              </p:nvSpPr>
              <p:spPr bwMode="gray">
                <a:xfrm>
                  <a:off x="2592" y="2346"/>
                  <a:ext cx="152" cy="130"/>
                </a:xfrm>
                <a:custGeom>
                  <a:avLst/>
                  <a:gdLst>
                    <a:gd name="T0" fmla="*/ 0 w 216"/>
                    <a:gd name="T1" fmla="*/ 65 h 184"/>
                    <a:gd name="T2" fmla="*/ 6 w 216"/>
                    <a:gd name="T3" fmla="*/ 62 h 184"/>
                    <a:gd name="T4" fmla="*/ 8 w 216"/>
                    <a:gd name="T5" fmla="*/ 59 h 184"/>
                    <a:gd name="T6" fmla="*/ 14 w 216"/>
                    <a:gd name="T7" fmla="*/ 54 h 184"/>
                    <a:gd name="T8" fmla="*/ 17 w 216"/>
                    <a:gd name="T9" fmla="*/ 48 h 184"/>
                    <a:gd name="T10" fmla="*/ 14 w 216"/>
                    <a:gd name="T11" fmla="*/ 40 h 184"/>
                    <a:gd name="T12" fmla="*/ 17 w 216"/>
                    <a:gd name="T13" fmla="*/ 34 h 184"/>
                    <a:gd name="T14" fmla="*/ 19 w 216"/>
                    <a:gd name="T15" fmla="*/ 28 h 184"/>
                    <a:gd name="T16" fmla="*/ 19 w 216"/>
                    <a:gd name="T17" fmla="*/ 25 h 184"/>
                    <a:gd name="T18" fmla="*/ 27 w 216"/>
                    <a:gd name="T19" fmla="*/ 20 h 184"/>
                    <a:gd name="T20" fmla="*/ 31 w 216"/>
                    <a:gd name="T21" fmla="*/ 20 h 184"/>
                    <a:gd name="T22" fmla="*/ 36 w 216"/>
                    <a:gd name="T23" fmla="*/ 17 h 184"/>
                    <a:gd name="T24" fmla="*/ 36 w 216"/>
                    <a:gd name="T25" fmla="*/ 11 h 184"/>
                    <a:gd name="T26" fmla="*/ 42 w 216"/>
                    <a:gd name="T27" fmla="*/ 6 h 184"/>
                    <a:gd name="T28" fmla="*/ 42 w 216"/>
                    <a:gd name="T29" fmla="*/ 3 h 184"/>
                    <a:gd name="T30" fmla="*/ 44 w 216"/>
                    <a:gd name="T31" fmla="*/ 0 h 184"/>
                    <a:gd name="T32" fmla="*/ 48 w 216"/>
                    <a:gd name="T33" fmla="*/ 3 h 184"/>
                    <a:gd name="T34" fmla="*/ 50 w 216"/>
                    <a:gd name="T35" fmla="*/ 6 h 184"/>
                    <a:gd name="T36" fmla="*/ 53 w 216"/>
                    <a:gd name="T37" fmla="*/ 6 h 184"/>
                    <a:gd name="T38" fmla="*/ 58 w 216"/>
                    <a:gd name="T39" fmla="*/ 6 h 184"/>
                    <a:gd name="T40" fmla="*/ 64 w 216"/>
                    <a:gd name="T41" fmla="*/ 6 h 184"/>
                    <a:gd name="T42" fmla="*/ 67 w 216"/>
                    <a:gd name="T43" fmla="*/ 8 h 184"/>
                    <a:gd name="T44" fmla="*/ 72 w 216"/>
                    <a:gd name="T45" fmla="*/ 8 h 184"/>
                    <a:gd name="T46" fmla="*/ 75 w 216"/>
                    <a:gd name="T47" fmla="*/ 23 h 184"/>
                    <a:gd name="T48" fmla="*/ 75 w 216"/>
                    <a:gd name="T49" fmla="*/ 25 h 184"/>
                    <a:gd name="T50" fmla="*/ 72 w 216"/>
                    <a:gd name="T51" fmla="*/ 34 h 184"/>
                    <a:gd name="T52" fmla="*/ 67 w 216"/>
                    <a:gd name="T53" fmla="*/ 34 h 184"/>
                    <a:gd name="T54" fmla="*/ 61 w 216"/>
                    <a:gd name="T55" fmla="*/ 34 h 184"/>
                    <a:gd name="T56" fmla="*/ 61 w 216"/>
                    <a:gd name="T57" fmla="*/ 42 h 184"/>
                    <a:gd name="T58" fmla="*/ 56 w 216"/>
                    <a:gd name="T59" fmla="*/ 42 h 184"/>
                    <a:gd name="T60" fmla="*/ 53 w 216"/>
                    <a:gd name="T61" fmla="*/ 45 h 184"/>
                    <a:gd name="T62" fmla="*/ 50 w 216"/>
                    <a:gd name="T63" fmla="*/ 45 h 184"/>
                    <a:gd name="T64" fmla="*/ 48 w 216"/>
                    <a:gd name="T65" fmla="*/ 48 h 184"/>
                    <a:gd name="T66" fmla="*/ 48 w 216"/>
                    <a:gd name="T67" fmla="*/ 51 h 184"/>
                    <a:gd name="T68" fmla="*/ 31 w 216"/>
                    <a:gd name="T69" fmla="*/ 54 h 184"/>
                    <a:gd name="T70" fmla="*/ 23 w 216"/>
                    <a:gd name="T71" fmla="*/ 59 h 184"/>
                    <a:gd name="T72" fmla="*/ 23 w 216"/>
                    <a:gd name="T73" fmla="*/ 65 h 184"/>
                    <a:gd name="T74" fmla="*/ 0 w 216"/>
                    <a:gd name="T75" fmla="*/ 65 h 184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16"/>
                    <a:gd name="T115" fmla="*/ 0 h 184"/>
                    <a:gd name="T116" fmla="*/ 216 w 216"/>
                    <a:gd name="T117" fmla="*/ 184 h 184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16" h="184">
                      <a:moveTo>
                        <a:pt x="0" y="184"/>
                      </a:moveTo>
                      <a:lnTo>
                        <a:pt x="16" y="176"/>
                      </a:lnTo>
                      <a:lnTo>
                        <a:pt x="24" y="168"/>
                      </a:lnTo>
                      <a:lnTo>
                        <a:pt x="40" y="152"/>
                      </a:lnTo>
                      <a:lnTo>
                        <a:pt x="48" y="136"/>
                      </a:lnTo>
                      <a:lnTo>
                        <a:pt x="40" y="112"/>
                      </a:lnTo>
                      <a:lnTo>
                        <a:pt x="48" y="96"/>
                      </a:lnTo>
                      <a:lnTo>
                        <a:pt x="56" y="80"/>
                      </a:lnTo>
                      <a:lnTo>
                        <a:pt x="56" y="72"/>
                      </a:lnTo>
                      <a:lnTo>
                        <a:pt x="80" y="56"/>
                      </a:lnTo>
                      <a:lnTo>
                        <a:pt x="88" y="56"/>
                      </a:lnTo>
                      <a:lnTo>
                        <a:pt x="104" y="48"/>
                      </a:lnTo>
                      <a:lnTo>
                        <a:pt x="104" y="32"/>
                      </a:lnTo>
                      <a:lnTo>
                        <a:pt x="120" y="16"/>
                      </a:lnTo>
                      <a:lnTo>
                        <a:pt x="120" y="8"/>
                      </a:lnTo>
                      <a:lnTo>
                        <a:pt x="128" y="0"/>
                      </a:lnTo>
                      <a:lnTo>
                        <a:pt x="136" y="8"/>
                      </a:lnTo>
                      <a:lnTo>
                        <a:pt x="144" y="16"/>
                      </a:lnTo>
                      <a:lnTo>
                        <a:pt x="152" y="16"/>
                      </a:lnTo>
                      <a:lnTo>
                        <a:pt x="168" y="16"/>
                      </a:lnTo>
                      <a:lnTo>
                        <a:pt x="184" y="16"/>
                      </a:lnTo>
                      <a:lnTo>
                        <a:pt x="192" y="24"/>
                      </a:lnTo>
                      <a:lnTo>
                        <a:pt x="208" y="24"/>
                      </a:lnTo>
                      <a:lnTo>
                        <a:pt x="216" y="64"/>
                      </a:lnTo>
                      <a:lnTo>
                        <a:pt x="216" y="72"/>
                      </a:lnTo>
                      <a:lnTo>
                        <a:pt x="208" y="96"/>
                      </a:lnTo>
                      <a:lnTo>
                        <a:pt x="192" y="96"/>
                      </a:lnTo>
                      <a:lnTo>
                        <a:pt x="176" y="96"/>
                      </a:lnTo>
                      <a:lnTo>
                        <a:pt x="176" y="120"/>
                      </a:lnTo>
                      <a:lnTo>
                        <a:pt x="160" y="120"/>
                      </a:lnTo>
                      <a:lnTo>
                        <a:pt x="152" y="128"/>
                      </a:lnTo>
                      <a:lnTo>
                        <a:pt x="144" y="128"/>
                      </a:lnTo>
                      <a:lnTo>
                        <a:pt x="136" y="136"/>
                      </a:lnTo>
                      <a:lnTo>
                        <a:pt x="136" y="144"/>
                      </a:lnTo>
                      <a:lnTo>
                        <a:pt x="88" y="152"/>
                      </a:lnTo>
                      <a:lnTo>
                        <a:pt x="64" y="168"/>
                      </a:lnTo>
                      <a:lnTo>
                        <a:pt x="64" y="184"/>
                      </a:lnTo>
                      <a:lnTo>
                        <a:pt x="0" y="184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41" name="Freeform 379">
                  <a:extLst>
                    <a:ext uri="{FF2B5EF4-FFF2-40B4-BE49-F238E27FC236}">
                      <a16:creationId xmlns:a16="http://schemas.microsoft.com/office/drawing/2014/main" id="{A738FB83-77A1-C471-95C9-7E0423F79DC5}"/>
                    </a:ext>
                  </a:extLst>
                </p:cNvPr>
                <p:cNvSpPr/>
                <p:nvPr/>
              </p:nvSpPr>
              <p:spPr bwMode="gray">
                <a:xfrm>
                  <a:off x="3222" y="2346"/>
                  <a:ext cx="28" cy="17"/>
                </a:xfrm>
                <a:custGeom>
                  <a:avLst/>
                  <a:gdLst>
                    <a:gd name="T0" fmla="*/ 10 w 40"/>
                    <a:gd name="T1" fmla="*/ 6 h 24"/>
                    <a:gd name="T2" fmla="*/ 10 w 40"/>
                    <a:gd name="T3" fmla="*/ 3 h 24"/>
                    <a:gd name="T4" fmla="*/ 14 w 40"/>
                    <a:gd name="T5" fmla="*/ 0 h 24"/>
                    <a:gd name="T6" fmla="*/ 10 w 40"/>
                    <a:gd name="T7" fmla="*/ 0 h 24"/>
                    <a:gd name="T8" fmla="*/ 10 w 40"/>
                    <a:gd name="T9" fmla="*/ 3 h 24"/>
                    <a:gd name="T10" fmla="*/ 3 w 40"/>
                    <a:gd name="T11" fmla="*/ 3 h 24"/>
                    <a:gd name="T12" fmla="*/ 0 w 40"/>
                    <a:gd name="T13" fmla="*/ 6 h 24"/>
                    <a:gd name="T14" fmla="*/ 0 w 40"/>
                    <a:gd name="T15" fmla="*/ 9 h 24"/>
                    <a:gd name="T16" fmla="*/ 6 w 40"/>
                    <a:gd name="T17" fmla="*/ 9 h 24"/>
                    <a:gd name="T18" fmla="*/ 10 w 40"/>
                    <a:gd name="T19" fmla="*/ 6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0"/>
                    <a:gd name="T31" fmla="*/ 0 h 24"/>
                    <a:gd name="T32" fmla="*/ 40 w 40"/>
                    <a:gd name="T33" fmla="*/ 24 h 2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0" h="24">
                      <a:moveTo>
                        <a:pt x="32" y="16"/>
                      </a:moveTo>
                      <a:lnTo>
                        <a:pt x="32" y="8"/>
                      </a:ln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16" y="24"/>
                      </a:lnTo>
                      <a:lnTo>
                        <a:pt x="32" y="16"/>
                      </a:lnTo>
                      <a:close/>
                    </a:path>
                  </a:pathLst>
                </a:custGeom>
                <a:grpFill/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42" name="Freeform 380">
                  <a:extLst>
                    <a:ext uri="{FF2B5EF4-FFF2-40B4-BE49-F238E27FC236}">
                      <a16:creationId xmlns:a16="http://schemas.microsoft.com/office/drawing/2014/main" id="{7A4536B1-FFAC-E140-46D6-9C96D04C9EF8}"/>
                    </a:ext>
                  </a:extLst>
                </p:cNvPr>
                <p:cNvSpPr/>
                <p:nvPr/>
              </p:nvSpPr>
              <p:spPr bwMode="gray">
                <a:xfrm>
                  <a:off x="2896" y="2391"/>
                  <a:ext cx="225" cy="208"/>
                </a:xfrm>
                <a:custGeom>
                  <a:avLst/>
                  <a:gdLst>
                    <a:gd name="T0" fmla="*/ 111 w 320"/>
                    <a:gd name="T1" fmla="*/ 86 h 296"/>
                    <a:gd name="T2" fmla="*/ 111 w 320"/>
                    <a:gd name="T3" fmla="*/ 103 h 296"/>
                    <a:gd name="T4" fmla="*/ 105 w 320"/>
                    <a:gd name="T5" fmla="*/ 103 h 296"/>
                    <a:gd name="T6" fmla="*/ 50 w 320"/>
                    <a:gd name="T7" fmla="*/ 75 h 296"/>
                    <a:gd name="T8" fmla="*/ 39 w 320"/>
                    <a:gd name="T9" fmla="*/ 84 h 296"/>
                    <a:gd name="T10" fmla="*/ 19 w 320"/>
                    <a:gd name="T11" fmla="*/ 77 h 296"/>
                    <a:gd name="T12" fmla="*/ 14 w 320"/>
                    <a:gd name="T13" fmla="*/ 67 h 296"/>
                    <a:gd name="T14" fmla="*/ 8 w 320"/>
                    <a:gd name="T15" fmla="*/ 70 h 296"/>
                    <a:gd name="T16" fmla="*/ 3 w 320"/>
                    <a:gd name="T17" fmla="*/ 61 h 296"/>
                    <a:gd name="T18" fmla="*/ 0 w 320"/>
                    <a:gd name="T19" fmla="*/ 53 h 296"/>
                    <a:gd name="T20" fmla="*/ 6 w 320"/>
                    <a:gd name="T21" fmla="*/ 47 h 296"/>
                    <a:gd name="T22" fmla="*/ 6 w 320"/>
                    <a:gd name="T23" fmla="*/ 41 h 296"/>
                    <a:gd name="T24" fmla="*/ 3 w 320"/>
                    <a:gd name="T25" fmla="*/ 36 h 296"/>
                    <a:gd name="T26" fmla="*/ 3 w 320"/>
                    <a:gd name="T27" fmla="*/ 33 h 296"/>
                    <a:gd name="T28" fmla="*/ 0 w 320"/>
                    <a:gd name="T29" fmla="*/ 19 h 296"/>
                    <a:gd name="T30" fmla="*/ 3 w 320"/>
                    <a:gd name="T31" fmla="*/ 19 h 296"/>
                    <a:gd name="T32" fmla="*/ 6 w 320"/>
                    <a:gd name="T33" fmla="*/ 17 h 296"/>
                    <a:gd name="T34" fmla="*/ 8 w 320"/>
                    <a:gd name="T35" fmla="*/ 8 h 296"/>
                    <a:gd name="T36" fmla="*/ 11 w 320"/>
                    <a:gd name="T37" fmla="*/ 8 h 296"/>
                    <a:gd name="T38" fmla="*/ 14 w 320"/>
                    <a:gd name="T39" fmla="*/ 6 h 296"/>
                    <a:gd name="T40" fmla="*/ 14 w 320"/>
                    <a:gd name="T41" fmla="*/ 0 h 296"/>
                    <a:gd name="T42" fmla="*/ 23 w 320"/>
                    <a:gd name="T43" fmla="*/ 3 h 296"/>
                    <a:gd name="T44" fmla="*/ 34 w 320"/>
                    <a:gd name="T45" fmla="*/ 3 h 296"/>
                    <a:gd name="T46" fmla="*/ 36 w 320"/>
                    <a:gd name="T47" fmla="*/ 6 h 296"/>
                    <a:gd name="T48" fmla="*/ 41 w 320"/>
                    <a:gd name="T49" fmla="*/ 6 h 296"/>
                    <a:gd name="T50" fmla="*/ 44 w 320"/>
                    <a:gd name="T51" fmla="*/ 14 h 296"/>
                    <a:gd name="T52" fmla="*/ 58 w 320"/>
                    <a:gd name="T53" fmla="*/ 17 h 296"/>
                    <a:gd name="T54" fmla="*/ 70 w 320"/>
                    <a:gd name="T55" fmla="*/ 25 h 296"/>
                    <a:gd name="T56" fmla="*/ 75 w 320"/>
                    <a:gd name="T57" fmla="*/ 22 h 296"/>
                    <a:gd name="T58" fmla="*/ 78 w 320"/>
                    <a:gd name="T59" fmla="*/ 17 h 296"/>
                    <a:gd name="T60" fmla="*/ 75 w 320"/>
                    <a:gd name="T61" fmla="*/ 14 h 296"/>
                    <a:gd name="T62" fmla="*/ 75 w 320"/>
                    <a:gd name="T63" fmla="*/ 8 h 296"/>
                    <a:gd name="T64" fmla="*/ 86 w 320"/>
                    <a:gd name="T65" fmla="*/ 3 h 296"/>
                    <a:gd name="T66" fmla="*/ 92 w 320"/>
                    <a:gd name="T67" fmla="*/ 3 h 296"/>
                    <a:gd name="T68" fmla="*/ 98 w 320"/>
                    <a:gd name="T69" fmla="*/ 3 h 296"/>
                    <a:gd name="T70" fmla="*/ 98 w 320"/>
                    <a:gd name="T71" fmla="*/ 8 h 296"/>
                    <a:gd name="T72" fmla="*/ 103 w 320"/>
                    <a:gd name="T73" fmla="*/ 8 h 296"/>
                    <a:gd name="T74" fmla="*/ 108 w 320"/>
                    <a:gd name="T75" fmla="*/ 11 h 296"/>
                    <a:gd name="T76" fmla="*/ 111 w 320"/>
                    <a:gd name="T77" fmla="*/ 14 h 296"/>
                    <a:gd name="T78" fmla="*/ 111 w 320"/>
                    <a:gd name="T79" fmla="*/ 19 h 296"/>
                    <a:gd name="T80" fmla="*/ 108 w 320"/>
                    <a:gd name="T81" fmla="*/ 22 h 296"/>
                    <a:gd name="T82" fmla="*/ 111 w 320"/>
                    <a:gd name="T83" fmla="*/ 36 h 296"/>
                    <a:gd name="T84" fmla="*/ 111 w 320"/>
                    <a:gd name="T85" fmla="*/ 70 h 296"/>
                    <a:gd name="T86" fmla="*/ 111 w 320"/>
                    <a:gd name="T87" fmla="*/ 86 h 29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20"/>
                    <a:gd name="T133" fmla="*/ 0 h 296"/>
                    <a:gd name="T134" fmla="*/ 320 w 320"/>
                    <a:gd name="T135" fmla="*/ 296 h 29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20" h="296">
                      <a:moveTo>
                        <a:pt x="320" y="248"/>
                      </a:moveTo>
                      <a:lnTo>
                        <a:pt x="320" y="296"/>
                      </a:lnTo>
                      <a:lnTo>
                        <a:pt x="304" y="296"/>
                      </a:lnTo>
                      <a:lnTo>
                        <a:pt x="144" y="216"/>
                      </a:lnTo>
                      <a:lnTo>
                        <a:pt x="112" y="240"/>
                      </a:lnTo>
                      <a:lnTo>
                        <a:pt x="56" y="224"/>
                      </a:lnTo>
                      <a:lnTo>
                        <a:pt x="40" y="192"/>
                      </a:lnTo>
                      <a:lnTo>
                        <a:pt x="24" y="200"/>
                      </a:lnTo>
                      <a:lnTo>
                        <a:pt x="8" y="176"/>
                      </a:lnTo>
                      <a:lnTo>
                        <a:pt x="0" y="152"/>
                      </a:lnTo>
                      <a:lnTo>
                        <a:pt x="16" y="136"/>
                      </a:lnTo>
                      <a:lnTo>
                        <a:pt x="16" y="120"/>
                      </a:lnTo>
                      <a:lnTo>
                        <a:pt x="8" y="104"/>
                      </a:lnTo>
                      <a:lnTo>
                        <a:pt x="8" y="96"/>
                      </a:lnTo>
                      <a:lnTo>
                        <a:pt x="0" y="56"/>
                      </a:lnTo>
                      <a:lnTo>
                        <a:pt x="8" y="56"/>
                      </a:lnTo>
                      <a:lnTo>
                        <a:pt x="16" y="48"/>
                      </a:lnTo>
                      <a:lnTo>
                        <a:pt x="24" y="24"/>
                      </a:lnTo>
                      <a:lnTo>
                        <a:pt x="32" y="24"/>
                      </a:lnTo>
                      <a:lnTo>
                        <a:pt x="40" y="16"/>
                      </a:lnTo>
                      <a:lnTo>
                        <a:pt x="40" y="0"/>
                      </a:lnTo>
                      <a:lnTo>
                        <a:pt x="64" y="8"/>
                      </a:lnTo>
                      <a:lnTo>
                        <a:pt x="96" y="8"/>
                      </a:lnTo>
                      <a:lnTo>
                        <a:pt x="104" y="16"/>
                      </a:lnTo>
                      <a:lnTo>
                        <a:pt x="120" y="16"/>
                      </a:lnTo>
                      <a:lnTo>
                        <a:pt x="128" y="40"/>
                      </a:lnTo>
                      <a:lnTo>
                        <a:pt x="168" y="48"/>
                      </a:lnTo>
                      <a:lnTo>
                        <a:pt x="200" y="72"/>
                      </a:lnTo>
                      <a:lnTo>
                        <a:pt x="216" y="64"/>
                      </a:lnTo>
                      <a:lnTo>
                        <a:pt x="224" y="48"/>
                      </a:lnTo>
                      <a:lnTo>
                        <a:pt x="216" y="40"/>
                      </a:lnTo>
                      <a:lnTo>
                        <a:pt x="216" y="24"/>
                      </a:lnTo>
                      <a:lnTo>
                        <a:pt x="248" y="8"/>
                      </a:lnTo>
                      <a:lnTo>
                        <a:pt x="264" y="8"/>
                      </a:lnTo>
                      <a:lnTo>
                        <a:pt x="280" y="8"/>
                      </a:lnTo>
                      <a:lnTo>
                        <a:pt x="280" y="24"/>
                      </a:lnTo>
                      <a:lnTo>
                        <a:pt x="296" y="24"/>
                      </a:lnTo>
                      <a:lnTo>
                        <a:pt x="312" y="32"/>
                      </a:lnTo>
                      <a:lnTo>
                        <a:pt x="320" y="40"/>
                      </a:lnTo>
                      <a:lnTo>
                        <a:pt x="320" y="56"/>
                      </a:lnTo>
                      <a:lnTo>
                        <a:pt x="312" y="64"/>
                      </a:lnTo>
                      <a:lnTo>
                        <a:pt x="320" y="104"/>
                      </a:lnTo>
                      <a:lnTo>
                        <a:pt x="320" y="200"/>
                      </a:lnTo>
                      <a:lnTo>
                        <a:pt x="320" y="248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43" name="Freeform 381">
                  <a:extLst>
                    <a:ext uri="{FF2B5EF4-FFF2-40B4-BE49-F238E27FC236}">
                      <a16:creationId xmlns:a16="http://schemas.microsoft.com/office/drawing/2014/main" id="{F4CCDD46-E41E-65D9-E9AD-A7F12C4C732F}"/>
                    </a:ext>
                  </a:extLst>
                </p:cNvPr>
                <p:cNvSpPr/>
                <p:nvPr/>
              </p:nvSpPr>
              <p:spPr bwMode="gray">
                <a:xfrm>
                  <a:off x="2513" y="2487"/>
                  <a:ext cx="186" cy="191"/>
                </a:xfrm>
                <a:custGeom>
                  <a:avLst/>
                  <a:gdLst>
                    <a:gd name="T0" fmla="*/ 65 w 264"/>
                    <a:gd name="T1" fmla="*/ 0 h 272"/>
                    <a:gd name="T2" fmla="*/ 61 w 264"/>
                    <a:gd name="T3" fmla="*/ 11 h 272"/>
                    <a:gd name="T4" fmla="*/ 39 w 264"/>
                    <a:gd name="T5" fmla="*/ 11 h 272"/>
                    <a:gd name="T6" fmla="*/ 39 w 264"/>
                    <a:gd name="T7" fmla="*/ 31 h 272"/>
                    <a:gd name="T8" fmla="*/ 34 w 264"/>
                    <a:gd name="T9" fmla="*/ 31 h 272"/>
                    <a:gd name="T10" fmla="*/ 31 w 264"/>
                    <a:gd name="T11" fmla="*/ 36 h 272"/>
                    <a:gd name="T12" fmla="*/ 31 w 264"/>
                    <a:gd name="T13" fmla="*/ 47 h 272"/>
                    <a:gd name="T14" fmla="*/ 0 w 264"/>
                    <a:gd name="T15" fmla="*/ 47 h 272"/>
                    <a:gd name="T16" fmla="*/ 3 w 264"/>
                    <a:gd name="T17" fmla="*/ 50 h 272"/>
                    <a:gd name="T18" fmla="*/ 6 w 264"/>
                    <a:gd name="T19" fmla="*/ 55 h 272"/>
                    <a:gd name="T20" fmla="*/ 6 w 264"/>
                    <a:gd name="T21" fmla="*/ 61 h 272"/>
                    <a:gd name="T22" fmla="*/ 8 w 264"/>
                    <a:gd name="T23" fmla="*/ 72 h 272"/>
                    <a:gd name="T24" fmla="*/ 8 w 264"/>
                    <a:gd name="T25" fmla="*/ 80 h 272"/>
                    <a:gd name="T26" fmla="*/ 11 w 264"/>
                    <a:gd name="T27" fmla="*/ 77 h 272"/>
                    <a:gd name="T28" fmla="*/ 19 w 264"/>
                    <a:gd name="T29" fmla="*/ 80 h 272"/>
                    <a:gd name="T30" fmla="*/ 25 w 264"/>
                    <a:gd name="T31" fmla="*/ 84 h 272"/>
                    <a:gd name="T32" fmla="*/ 27 w 264"/>
                    <a:gd name="T33" fmla="*/ 86 h 272"/>
                    <a:gd name="T34" fmla="*/ 36 w 264"/>
                    <a:gd name="T35" fmla="*/ 94 h 272"/>
                    <a:gd name="T36" fmla="*/ 39 w 264"/>
                    <a:gd name="T37" fmla="*/ 88 h 272"/>
                    <a:gd name="T38" fmla="*/ 42 w 264"/>
                    <a:gd name="T39" fmla="*/ 88 h 272"/>
                    <a:gd name="T40" fmla="*/ 44 w 264"/>
                    <a:gd name="T41" fmla="*/ 91 h 272"/>
                    <a:gd name="T42" fmla="*/ 48 w 264"/>
                    <a:gd name="T43" fmla="*/ 88 h 272"/>
                    <a:gd name="T44" fmla="*/ 53 w 264"/>
                    <a:gd name="T45" fmla="*/ 88 h 272"/>
                    <a:gd name="T46" fmla="*/ 56 w 264"/>
                    <a:gd name="T47" fmla="*/ 86 h 272"/>
                    <a:gd name="T48" fmla="*/ 58 w 264"/>
                    <a:gd name="T49" fmla="*/ 88 h 272"/>
                    <a:gd name="T50" fmla="*/ 84 w 264"/>
                    <a:gd name="T51" fmla="*/ 88 h 272"/>
                    <a:gd name="T52" fmla="*/ 75 w 264"/>
                    <a:gd name="T53" fmla="*/ 19 h 272"/>
                    <a:gd name="T54" fmla="*/ 92 w 264"/>
                    <a:gd name="T55" fmla="*/ 19 h 272"/>
                    <a:gd name="T56" fmla="*/ 65 w 264"/>
                    <a:gd name="T57" fmla="*/ 0 h 27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64"/>
                    <a:gd name="T88" fmla="*/ 0 h 272"/>
                    <a:gd name="T89" fmla="*/ 264 w 264"/>
                    <a:gd name="T90" fmla="*/ 272 h 272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64" h="272">
                      <a:moveTo>
                        <a:pt x="184" y="0"/>
                      </a:moveTo>
                      <a:lnTo>
                        <a:pt x="176" y="32"/>
                      </a:lnTo>
                      <a:lnTo>
                        <a:pt x="112" y="32"/>
                      </a:lnTo>
                      <a:lnTo>
                        <a:pt x="112" y="88"/>
                      </a:lnTo>
                      <a:lnTo>
                        <a:pt x="96" y="88"/>
                      </a:lnTo>
                      <a:lnTo>
                        <a:pt x="88" y="104"/>
                      </a:lnTo>
                      <a:lnTo>
                        <a:pt x="88" y="136"/>
                      </a:lnTo>
                      <a:lnTo>
                        <a:pt x="0" y="136"/>
                      </a:lnTo>
                      <a:lnTo>
                        <a:pt x="8" y="144"/>
                      </a:lnTo>
                      <a:lnTo>
                        <a:pt x="16" y="160"/>
                      </a:lnTo>
                      <a:lnTo>
                        <a:pt x="16" y="176"/>
                      </a:lnTo>
                      <a:lnTo>
                        <a:pt x="24" y="208"/>
                      </a:lnTo>
                      <a:lnTo>
                        <a:pt x="24" y="232"/>
                      </a:lnTo>
                      <a:lnTo>
                        <a:pt x="32" y="224"/>
                      </a:lnTo>
                      <a:lnTo>
                        <a:pt x="56" y="232"/>
                      </a:lnTo>
                      <a:lnTo>
                        <a:pt x="72" y="240"/>
                      </a:lnTo>
                      <a:lnTo>
                        <a:pt x="80" y="248"/>
                      </a:lnTo>
                      <a:lnTo>
                        <a:pt x="104" y="272"/>
                      </a:lnTo>
                      <a:lnTo>
                        <a:pt x="112" y="256"/>
                      </a:lnTo>
                      <a:lnTo>
                        <a:pt x="120" y="256"/>
                      </a:lnTo>
                      <a:lnTo>
                        <a:pt x="128" y="264"/>
                      </a:lnTo>
                      <a:lnTo>
                        <a:pt x="136" y="256"/>
                      </a:lnTo>
                      <a:lnTo>
                        <a:pt x="152" y="256"/>
                      </a:lnTo>
                      <a:lnTo>
                        <a:pt x="160" y="248"/>
                      </a:lnTo>
                      <a:lnTo>
                        <a:pt x="168" y="256"/>
                      </a:lnTo>
                      <a:lnTo>
                        <a:pt x="240" y="256"/>
                      </a:lnTo>
                      <a:lnTo>
                        <a:pt x="216" y="56"/>
                      </a:lnTo>
                      <a:lnTo>
                        <a:pt x="264" y="56"/>
                      </a:lnTo>
                      <a:lnTo>
                        <a:pt x="184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44" name="Freeform 382">
                  <a:extLst>
                    <a:ext uri="{FF2B5EF4-FFF2-40B4-BE49-F238E27FC236}">
                      <a16:creationId xmlns:a16="http://schemas.microsoft.com/office/drawing/2014/main" id="{80570A8D-DC0E-3D85-64B4-B988096286C3}"/>
                    </a:ext>
                  </a:extLst>
                </p:cNvPr>
                <p:cNvSpPr/>
                <p:nvPr/>
              </p:nvSpPr>
              <p:spPr bwMode="gray">
                <a:xfrm>
                  <a:off x="2513" y="2476"/>
                  <a:ext cx="130" cy="106"/>
                </a:xfrm>
                <a:custGeom>
                  <a:avLst/>
                  <a:gdLst>
                    <a:gd name="T0" fmla="*/ 0 w 184"/>
                    <a:gd name="T1" fmla="*/ 52 h 152"/>
                    <a:gd name="T2" fmla="*/ 31 w 184"/>
                    <a:gd name="T3" fmla="*/ 52 h 152"/>
                    <a:gd name="T4" fmla="*/ 31 w 184"/>
                    <a:gd name="T5" fmla="*/ 41 h 152"/>
                    <a:gd name="T6" fmla="*/ 34 w 184"/>
                    <a:gd name="T7" fmla="*/ 36 h 152"/>
                    <a:gd name="T8" fmla="*/ 40 w 184"/>
                    <a:gd name="T9" fmla="*/ 36 h 152"/>
                    <a:gd name="T10" fmla="*/ 40 w 184"/>
                    <a:gd name="T11" fmla="*/ 16 h 152"/>
                    <a:gd name="T12" fmla="*/ 62 w 184"/>
                    <a:gd name="T13" fmla="*/ 16 h 152"/>
                    <a:gd name="T14" fmla="*/ 65 w 184"/>
                    <a:gd name="T15" fmla="*/ 6 h 152"/>
                    <a:gd name="T16" fmla="*/ 62 w 184"/>
                    <a:gd name="T17" fmla="*/ 0 h 152"/>
                    <a:gd name="T18" fmla="*/ 40 w 184"/>
                    <a:gd name="T19" fmla="*/ 0 h 152"/>
                    <a:gd name="T20" fmla="*/ 34 w 184"/>
                    <a:gd name="T21" fmla="*/ 3 h 152"/>
                    <a:gd name="T22" fmla="*/ 31 w 184"/>
                    <a:gd name="T23" fmla="*/ 3 h 152"/>
                    <a:gd name="T24" fmla="*/ 25 w 184"/>
                    <a:gd name="T25" fmla="*/ 10 h 152"/>
                    <a:gd name="T26" fmla="*/ 25 w 184"/>
                    <a:gd name="T27" fmla="*/ 14 h 152"/>
                    <a:gd name="T28" fmla="*/ 23 w 184"/>
                    <a:gd name="T29" fmla="*/ 14 h 152"/>
                    <a:gd name="T30" fmla="*/ 20 w 184"/>
                    <a:gd name="T31" fmla="*/ 19 h 152"/>
                    <a:gd name="T32" fmla="*/ 17 w 184"/>
                    <a:gd name="T33" fmla="*/ 24 h 152"/>
                    <a:gd name="T34" fmla="*/ 11 w 184"/>
                    <a:gd name="T35" fmla="*/ 30 h 152"/>
                    <a:gd name="T36" fmla="*/ 6 w 184"/>
                    <a:gd name="T37" fmla="*/ 41 h 152"/>
                    <a:gd name="T38" fmla="*/ 0 w 184"/>
                    <a:gd name="T39" fmla="*/ 52 h 15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84"/>
                    <a:gd name="T61" fmla="*/ 0 h 152"/>
                    <a:gd name="T62" fmla="*/ 184 w 184"/>
                    <a:gd name="T63" fmla="*/ 152 h 15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84" h="152">
                      <a:moveTo>
                        <a:pt x="0" y="152"/>
                      </a:moveTo>
                      <a:lnTo>
                        <a:pt x="88" y="152"/>
                      </a:lnTo>
                      <a:lnTo>
                        <a:pt x="88" y="120"/>
                      </a:lnTo>
                      <a:lnTo>
                        <a:pt x="96" y="104"/>
                      </a:lnTo>
                      <a:lnTo>
                        <a:pt x="112" y="104"/>
                      </a:lnTo>
                      <a:lnTo>
                        <a:pt x="112" y="48"/>
                      </a:lnTo>
                      <a:lnTo>
                        <a:pt x="176" y="48"/>
                      </a:lnTo>
                      <a:lnTo>
                        <a:pt x="184" y="16"/>
                      </a:lnTo>
                      <a:lnTo>
                        <a:pt x="176" y="0"/>
                      </a:lnTo>
                      <a:lnTo>
                        <a:pt x="112" y="0"/>
                      </a:lnTo>
                      <a:lnTo>
                        <a:pt x="96" y="8"/>
                      </a:lnTo>
                      <a:lnTo>
                        <a:pt x="88" y="8"/>
                      </a:lnTo>
                      <a:lnTo>
                        <a:pt x="72" y="32"/>
                      </a:lnTo>
                      <a:lnTo>
                        <a:pt x="72" y="40"/>
                      </a:lnTo>
                      <a:lnTo>
                        <a:pt x="64" y="40"/>
                      </a:lnTo>
                      <a:lnTo>
                        <a:pt x="56" y="56"/>
                      </a:lnTo>
                      <a:lnTo>
                        <a:pt x="48" y="72"/>
                      </a:lnTo>
                      <a:lnTo>
                        <a:pt x="32" y="88"/>
                      </a:lnTo>
                      <a:lnTo>
                        <a:pt x="16" y="120"/>
                      </a:lnTo>
                      <a:lnTo>
                        <a:pt x="0" y="152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  <p:sp>
              <p:nvSpPr>
                <p:cNvPr id="1145" name="Freeform 383">
                  <a:extLst>
                    <a:ext uri="{FF2B5EF4-FFF2-40B4-BE49-F238E27FC236}">
                      <a16:creationId xmlns:a16="http://schemas.microsoft.com/office/drawing/2014/main" id="{C2AA5C55-A8E0-D885-E65F-FA127BDC50CB}"/>
                    </a:ext>
                  </a:extLst>
                </p:cNvPr>
                <p:cNvSpPr/>
                <p:nvPr/>
              </p:nvSpPr>
              <p:spPr bwMode="gray">
                <a:xfrm>
                  <a:off x="2592" y="2363"/>
                  <a:ext cx="152" cy="113"/>
                </a:xfrm>
                <a:custGeom>
                  <a:avLst/>
                  <a:gdLst>
                    <a:gd name="T0" fmla="*/ 72 w 216"/>
                    <a:gd name="T1" fmla="*/ 0 h 160"/>
                    <a:gd name="T2" fmla="*/ 75 w 216"/>
                    <a:gd name="T3" fmla="*/ 14 h 160"/>
                    <a:gd name="T4" fmla="*/ 75 w 216"/>
                    <a:gd name="T5" fmla="*/ 17 h 160"/>
                    <a:gd name="T6" fmla="*/ 72 w 216"/>
                    <a:gd name="T7" fmla="*/ 25 h 160"/>
                    <a:gd name="T8" fmla="*/ 67 w 216"/>
                    <a:gd name="T9" fmla="*/ 25 h 160"/>
                    <a:gd name="T10" fmla="*/ 61 w 216"/>
                    <a:gd name="T11" fmla="*/ 25 h 160"/>
                    <a:gd name="T12" fmla="*/ 61 w 216"/>
                    <a:gd name="T13" fmla="*/ 34 h 160"/>
                    <a:gd name="T14" fmla="*/ 56 w 216"/>
                    <a:gd name="T15" fmla="*/ 34 h 160"/>
                    <a:gd name="T16" fmla="*/ 53 w 216"/>
                    <a:gd name="T17" fmla="*/ 37 h 160"/>
                    <a:gd name="T18" fmla="*/ 50 w 216"/>
                    <a:gd name="T19" fmla="*/ 37 h 160"/>
                    <a:gd name="T20" fmla="*/ 48 w 216"/>
                    <a:gd name="T21" fmla="*/ 40 h 160"/>
                    <a:gd name="T22" fmla="*/ 48 w 216"/>
                    <a:gd name="T23" fmla="*/ 42 h 160"/>
                    <a:gd name="T24" fmla="*/ 31 w 216"/>
                    <a:gd name="T25" fmla="*/ 45 h 160"/>
                    <a:gd name="T26" fmla="*/ 23 w 216"/>
                    <a:gd name="T27" fmla="*/ 51 h 160"/>
                    <a:gd name="T28" fmla="*/ 23 w 216"/>
                    <a:gd name="T29" fmla="*/ 57 h 160"/>
                    <a:gd name="T30" fmla="*/ 0 w 216"/>
                    <a:gd name="T31" fmla="*/ 57 h 160"/>
                    <a:gd name="T32" fmla="*/ 72 w 216"/>
                    <a:gd name="T33" fmla="*/ 0 h 16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16"/>
                    <a:gd name="T52" fmla="*/ 0 h 160"/>
                    <a:gd name="T53" fmla="*/ 216 w 216"/>
                    <a:gd name="T54" fmla="*/ 160 h 16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16" h="160">
                      <a:moveTo>
                        <a:pt x="208" y="0"/>
                      </a:moveTo>
                      <a:lnTo>
                        <a:pt x="216" y="40"/>
                      </a:lnTo>
                      <a:lnTo>
                        <a:pt x="216" y="48"/>
                      </a:lnTo>
                      <a:lnTo>
                        <a:pt x="208" y="72"/>
                      </a:lnTo>
                      <a:lnTo>
                        <a:pt x="192" y="72"/>
                      </a:lnTo>
                      <a:lnTo>
                        <a:pt x="176" y="72"/>
                      </a:lnTo>
                      <a:lnTo>
                        <a:pt x="176" y="96"/>
                      </a:lnTo>
                      <a:lnTo>
                        <a:pt x="160" y="96"/>
                      </a:lnTo>
                      <a:lnTo>
                        <a:pt x="152" y="104"/>
                      </a:lnTo>
                      <a:lnTo>
                        <a:pt x="144" y="104"/>
                      </a:lnTo>
                      <a:lnTo>
                        <a:pt x="136" y="112"/>
                      </a:lnTo>
                      <a:lnTo>
                        <a:pt x="136" y="120"/>
                      </a:lnTo>
                      <a:lnTo>
                        <a:pt x="88" y="128"/>
                      </a:lnTo>
                      <a:lnTo>
                        <a:pt x="64" y="144"/>
                      </a:lnTo>
                      <a:lnTo>
                        <a:pt x="64" y="160"/>
                      </a:lnTo>
                      <a:lnTo>
                        <a:pt x="0" y="160"/>
                      </a:lnTo>
                      <a:lnTo>
                        <a:pt x="208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 wrap="square">
                  <a:noAutofit/>
                </a:bodyPr>
                <a:lstStyle/>
                <a:p>
                  <a:pPr marL="0" marR="0" lvl="0" indent="0" algn="l" defTabSz="8159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Hitachi Sans"/>
                    <a:ea typeface="Verdana" panose="020D0603020503020204" pitchFamily="34" charset="0"/>
                    <a:cs typeface="Verdana" panose="020D0603020503020204" pitchFamily="34" charset="0"/>
                  </a:endParaRPr>
                </a:p>
              </p:txBody>
            </p:sp>
          </p:grpSp>
        </p:grpSp>
        <p:grpSp>
          <p:nvGrpSpPr>
            <p:cNvPr id="1001" name="Group 1000">
              <a:extLst>
                <a:ext uri="{FF2B5EF4-FFF2-40B4-BE49-F238E27FC236}">
                  <a16:creationId xmlns:a16="http://schemas.microsoft.com/office/drawing/2014/main" id="{E7DDEF4F-74FA-FB1B-472F-B5175231D17E}"/>
                </a:ext>
              </a:extLst>
            </p:cNvPr>
            <p:cNvGrpSpPr/>
            <p:nvPr/>
          </p:nvGrpSpPr>
          <p:grpSpPr>
            <a:xfrm>
              <a:off x="1549007" y="1762583"/>
              <a:ext cx="5610004" cy="2388566"/>
              <a:chOff x="2175756" y="1977519"/>
              <a:chExt cx="8172003" cy="3479384"/>
            </a:xfrm>
          </p:grpSpPr>
          <p:grpSp>
            <p:nvGrpSpPr>
              <p:cNvPr id="1070" name="Group 1069">
                <a:extLst>
                  <a:ext uri="{FF2B5EF4-FFF2-40B4-BE49-F238E27FC236}">
                    <a16:creationId xmlns:a16="http://schemas.microsoft.com/office/drawing/2014/main" id="{791C4404-F245-13EE-942C-0899CC3E0C60}"/>
                  </a:ext>
                </a:extLst>
              </p:cNvPr>
              <p:cNvGrpSpPr/>
              <p:nvPr/>
            </p:nvGrpSpPr>
            <p:grpSpPr>
              <a:xfrm>
                <a:off x="2561859" y="1977519"/>
                <a:ext cx="7122123" cy="3479384"/>
                <a:chOff x="2260331" y="1631562"/>
                <a:chExt cx="7584503" cy="3705269"/>
              </a:xfrm>
            </p:grpSpPr>
            <p:pic>
              <p:nvPicPr>
                <p:cNvPr id="1102" name="Graphic 54">
                  <a:extLst>
                    <a:ext uri="{FF2B5EF4-FFF2-40B4-BE49-F238E27FC236}">
                      <a16:creationId xmlns:a16="http://schemas.microsoft.com/office/drawing/2014/main" id="{CA9E5662-B0B6-ED42-4224-2FE3B9453231}"/>
                    </a:ext>
                  </a:extLst>
                </p:cNvPr>
                <p:cNvPicPr/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60331" y="2560470"/>
                  <a:ext cx="306052" cy="306052"/>
                </a:xfrm>
                <a:prstGeom prst="rect">
                  <a:avLst/>
                </a:prstGeom>
              </p:spPr>
            </p:pic>
            <p:pic>
              <p:nvPicPr>
                <p:cNvPr id="1103" name="Graphic 54">
                  <a:extLst>
                    <a:ext uri="{FF2B5EF4-FFF2-40B4-BE49-F238E27FC236}">
                      <a16:creationId xmlns:a16="http://schemas.microsoft.com/office/drawing/2014/main" id="{C375F011-BDEC-3A03-398E-AA2346B319A5}"/>
                    </a:ext>
                  </a:extLst>
                </p:cNvPr>
                <p:cNvPicPr/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97137" y="1631562"/>
                  <a:ext cx="306052" cy="306052"/>
                </a:xfrm>
                <a:prstGeom prst="rect">
                  <a:avLst/>
                </a:prstGeom>
              </p:spPr>
            </p:pic>
            <p:pic>
              <p:nvPicPr>
                <p:cNvPr id="1104" name="Graphic 54">
                  <a:extLst>
                    <a:ext uri="{FF2B5EF4-FFF2-40B4-BE49-F238E27FC236}">
                      <a16:creationId xmlns:a16="http://schemas.microsoft.com/office/drawing/2014/main" id="{63C6F998-0490-414F-72BB-9B7B98B819AC}"/>
                    </a:ext>
                  </a:extLst>
                </p:cNvPr>
                <p:cNvPicPr/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620111" y="5030779"/>
                  <a:ext cx="306052" cy="306052"/>
                </a:xfrm>
                <a:prstGeom prst="rect">
                  <a:avLst/>
                </a:prstGeom>
              </p:spPr>
            </p:pic>
            <p:pic>
              <p:nvPicPr>
                <p:cNvPr id="1105" name="Graphic 54">
                  <a:extLst>
                    <a:ext uri="{FF2B5EF4-FFF2-40B4-BE49-F238E27FC236}">
                      <a16:creationId xmlns:a16="http://schemas.microsoft.com/office/drawing/2014/main" id="{93A839CF-87CB-2D36-7EE3-AF7F73595792}"/>
                    </a:ext>
                  </a:extLst>
                </p:cNvPr>
                <p:cNvPicPr/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25793" y="2134577"/>
                  <a:ext cx="306052" cy="306052"/>
                </a:xfrm>
                <a:prstGeom prst="rect">
                  <a:avLst/>
                </a:prstGeom>
              </p:spPr>
            </p:pic>
            <p:pic>
              <p:nvPicPr>
                <p:cNvPr id="1106" name="Graphic 54">
                  <a:extLst>
                    <a:ext uri="{FF2B5EF4-FFF2-40B4-BE49-F238E27FC236}">
                      <a16:creationId xmlns:a16="http://schemas.microsoft.com/office/drawing/2014/main" id="{F00E4788-2D14-8109-F68F-C96A2999424B}"/>
                    </a:ext>
                  </a:extLst>
                </p:cNvPr>
                <p:cNvPicPr/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293150" y="3601609"/>
                  <a:ext cx="306052" cy="306052"/>
                </a:xfrm>
                <a:prstGeom prst="rect">
                  <a:avLst/>
                </a:prstGeom>
              </p:spPr>
            </p:pic>
            <p:pic>
              <p:nvPicPr>
                <p:cNvPr id="1107" name="Graphic 54">
                  <a:extLst>
                    <a:ext uri="{FF2B5EF4-FFF2-40B4-BE49-F238E27FC236}">
                      <a16:creationId xmlns:a16="http://schemas.microsoft.com/office/drawing/2014/main" id="{5D78865A-3E62-253A-C3BE-A8865ABA0F87}"/>
                    </a:ext>
                  </a:extLst>
                </p:cNvPr>
                <p:cNvPicPr/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36302" y="2555665"/>
                  <a:ext cx="306052" cy="306052"/>
                </a:xfrm>
                <a:prstGeom prst="rect">
                  <a:avLst/>
                </a:prstGeom>
              </p:spPr>
            </p:pic>
            <p:pic>
              <p:nvPicPr>
                <p:cNvPr id="1108" name="Graphic 54">
                  <a:extLst>
                    <a:ext uri="{FF2B5EF4-FFF2-40B4-BE49-F238E27FC236}">
                      <a16:creationId xmlns:a16="http://schemas.microsoft.com/office/drawing/2014/main" id="{9C0F4214-A234-F360-C05F-429D6F8865E5}"/>
                    </a:ext>
                  </a:extLst>
                </p:cNvPr>
                <p:cNvPicPr/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767215" y="3075224"/>
                  <a:ext cx="306052" cy="306052"/>
                </a:xfrm>
                <a:prstGeom prst="rect">
                  <a:avLst/>
                </a:prstGeom>
              </p:spPr>
            </p:pic>
            <p:pic>
              <p:nvPicPr>
                <p:cNvPr id="1109" name="Graphic 54">
                  <a:extLst>
                    <a:ext uri="{FF2B5EF4-FFF2-40B4-BE49-F238E27FC236}">
                      <a16:creationId xmlns:a16="http://schemas.microsoft.com/office/drawing/2014/main" id="{6D607B1F-C902-35CA-8B93-37DE7D8681A8}"/>
                    </a:ext>
                  </a:extLst>
                </p:cNvPr>
                <p:cNvPicPr/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538782" y="4820300"/>
                  <a:ext cx="306052" cy="306052"/>
                </a:xfrm>
                <a:prstGeom prst="rect">
                  <a:avLst/>
                </a:prstGeom>
              </p:spPr>
            </p:pic>
          </p:grpSp>
          <p:grpSp>
            <p:nvGrpSpPr>
              <p:cNvPr id="1071" name="Group 1070">
                <a:extLst>
                  <a:ext uri="{FF2B5EF4-FFF2-40B4-BE49-F238E27FC236}">
                    <a16:creationId xmlns:a16="http://schemas.microsoft.com/office/drawing/2014/main" id="{BA9C0823-9E1D-24B5-7552-5BD81696EB38}"/>
                  </a:ext>
                </a:extLst>
              </p:cNvPr>
              <p:cNvGrpSpPr/>
              <p:nvPr/>
            </p:nvGrpSpPr>
            <p:grpSpPr>
              <a:xfrm>
                <a:off x="2175756" y="2626590"/>
                <a:ext cx="7453955" cy="2295198"/>
                <a:chOff x="1849175" y="2322772"/>
                <a:chExt cx="7937895" cy="2444201"/>
              </a:xfrm>
            </p:grpSpPr>
            <p:pic>
              <p:nvPicPr>
                <p:cNvPr id="1095" name="Graphic 37">
                  <a:extLst>
                    <a:ext uri="{FF2B5EF4-FFF2-40B4-BE49-F238E27FC236}">
                      <a16:creationId xmlns:a16="http://schemas.microsoft.com/office/drawing/2014/main" id="{263A2CB4-10DC-F25F-A44F-543D95A6D28C}"/>
                    </a:ext>
                  </a:extLst>
                </p:cNvPr>
                <p:cNvPicPr/>
                <p:nvPr/>
              </p:nvPicPr>
              <p:blipFill>
                <a:blip r:embed="rId11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49175" y="2900370"/>
                  <a:ext cx="296657" cy="296657"/>
                </a:xfrm>
                <a:prstGeom prst="rect">
                  <a:avLst/>
                </a:prstGeom>
              </p:spPr>
            </p:pic>
            <p:pic>
              <p:nvPicPr>
                <p:cNvPr id="1096" name="Graphic 37">
                  <a:extLst>
                    <a:ext uri="{FF2B5EF4-FFF2-40B4-BE49-F238E27FC236}">
                      <a16:creationId xmlns:a16="http://schemas.microsoft.com/office/drawing/2014/main" id="{6FE4F0C8-4BBC-6FAE-4988-897173C24804}"/>
                    </a:ext>
                  </a:extLst>
                </p:cNvPr>
                <p:cNvPicPr/>
                <p:nvPr/>
              </p:nvPicPr>
              <p:blipFill>
                <a:blip r:embed="rId11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825160" y="2879566"/>
                  <a:ext cx="296657" cy="296657"/>
                </a:xfrm>
                <a:prstGeom prst="rect">
                  <a:avLst/>
                </a:prstGeom>
              </p:spPr>
            </p:pic>
            <p:pic>
              <p:nvPicPr>
                <p:cNvPr id="1097" name="Graphic 37">
                  <a:extLst>
                    <a:ext uri="{FF2B5EF4-FFF2-40B4-BE49-F238E27FC236}">
                      <a16:creationId xmlns:a16="http://schemas.microsoft.com/office/drawing/2014/main" id="{89F4496D-655D-B0E3-9D3D-82C025055BC5}"/>
                    </a:ext>
                  </a:extLst>
                </p:cNvPr>
                <p:cNvPicPr/>
                <p:nvPr/>
              </p:nvPicPr>
              <p:blipFill>
                <a:blip r:embed="rId11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97972" y="4470316"/>
                  <a:ext cx="296657" cy="296657"/>
                </a:xfrm>
                <a:prstGeom prst="rect">
                  <a:avLst/>
                </a:prstGeom>
              </p:spPr>
            </p:pic>
            <p:pic>
              <p:nvPicPr>
                <p:cNvPr id="1098" name="Graphic 37">
                  <a:extLst>
                    <a:ext uri="{FF2B5EF4-FFF2-40B4-BE49-F238E27FC236}">
                      <a16:creationId xmlns:a16="http://schemas.microsoft.com/office/drawing/2014/main" id="{35A29BC7-50CA-F4B8-9ACD-933EC6C16725}"/>
                    </a:ext>
                  </a:extLst>
                </p:cNvPr>
                <p:cNvPicPr/>
                <p:nvPr/>
              </p:nvPicPr>
              <p:blipFill>
                <a:blip r:embed="rId11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63876" y="2322772"/>
                  <a:ext cx="296657" cy="296657"/>
                </a:xfrm>
                <a:prstGeom prst="rect">
                  <a:avLst/>
                </a:prstGeom>
              </p:spPr>
            </p:pic>
            <p:pic>
              <p:nvPicPr>
                <p:cNvPr id="1099" name="Graphic 37">
                  <a:extLst>
                    <a:ext uri="{FF2B5EF4-FFF2-40B4-BE49-F238E27FC236}">
                      <a16:creationId xmlns:a16="http://schemas.microsoft.com/office/drawing/2014/main" id="{D323FC5E-4EC6-9491-CC06-31D4DA0F5855}"/>
                    </a:ext>
                  </a:extLst>
                </p:cNvPr>
                <p:cNvPicPr/>
                <p:nvPr/>
              </p:nvPicPr>
              <p:blipFill>
                <a:blip r:embed="rId11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42131" y="3652062"/>
                  <a:ext cx="296657" cy="296657"/>
                </a:xfrm>
                <a:prstGeom prst="rect">
                  <a:avLst/>
                </a:prstGeom>
              </p:spPr>
            </p:pic>
            <p:pic>
              <p:nvPicPr>
                <p:cNvPr id="1100" name="Graphic 37">
                  <a:extLst>
                    <a:ext uri="{FF2B5EF4-FFF2-40B4-BE49-F238E27FC236}">
                      <a16:creationId xmlns:a16="http://schemas.microsoft.com/office/drawing/2014/main" id="{2A462843-F4D2-6D2A-F84E-EC9EE1F720F3}"/>
                    </a:ext>
                  </a:extLst>
                </p:cNvPr>
                <p:cNvPicPr/>
                <p:nvPr/>
              </p:nvPicPr>
              <p:blipFill>
                <a:blip r:embed="rId11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03606" y="3261152"/>
                  <a:ext cx="296657" cy="296657"/>
                </a:xfrm>
                <a:prstGeom prst="rect">
                  <a:avLst/>
                </a:prstGeom>
              </p:spPr>
            </p:pic>
            <p:pic>
              <p:nvPicPr>
                <p:cNvPr id="1101" name="Graphic 37">
                  <a:extLst>
                    <a:ext uri="{FF2B5EF4-FFF2-40B4-BE49-F238E27FC236}">
                      <a16:creationId xmlns:a16="http://schemas.microsoft.com/office/drawing/2014/main" id="{CA62DABB-D4DD-89BA-867E-DB03D79CC3DF}"/>
                    </a:ext>
                  </a:extLst>
                </p:cNvPr>
                <p:cNvPicPr/>
                <p:nvPr/>
              </p:nvPicPr>
              <p:blipFill>
                <a:blip r:embed="rId11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90413" y="2679218"/>
                  <a:ext cx="296657" cy="296657"/>
                </a:xfrm>
                <a:prstGeom prst="rect">
                  <a:avLst/>
                </a:prstGeom>
              </p:spPr>
            </p:pic>
          </p:grpSp>
          <p:cxnSp>
            <p:nvCxnSpPr>
              <p:cNvPr id="1072" name="Straight Connector 1071">
                <a:extLst>
                  <a:ext uri="{FF2B5EF4-FFF2-40B4-BE49-F238E27FC236}">
                    <a16:creationId xmlns:a16="http://schemas.microsoft.com/office/drawing/2014/main" id="{46025D68-18FC-3E17-EA95-666AEF0ED982}"/>
                  </a:ext>
                </a:extLst>
              </p:cNvPr>
              <p:cNvCxnSpPr/>
              <p:nvPr/>
            </p:nvCxnSpPr>
            <p:spPr>
              <a:xfrm>
                <a:off x="2363709" y="3453855"/>
                <a:ext cx="370566" cy="300743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73" name="Straight Connector 1072">
                <a:extLst>
                  <a:ext uri="{FF2B5EF4-FFF2-40B4-BE49-F238E27FC236}">
                    <a16:creationId xmlns:a16="http://schemas.microsoft.com/office/drawing/2014/main" id="{28498E0D-A0B2-E7B0-D5D9-CCD86642A7D5}"/>
                  </a:ext>
                </a:extLst>
              </p:cNvPr>
              <p:cNvCxnSpPr/>
              <p:nvPr/>
            </p:nvCxnSpPr>
            <p:spPr>
              <a:xfrm flipH="1">
                <a:off x="2455519" y="3123432"/>
                <a:ext cx="222946" cy="162439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74" name="Straight Connector 1073">
                <a:extLst>
                  <a:ext uri="{FF2B5EF4-FFF2-40B4-BE49-F238E27FC236}">
                    <a16:creationId xmlns:a16="http://schemas.microsoft.com/office/drawing/2014/main" id="{7F56509B-F5A2-092C-2DAA-DCF4FD72130F}"/>
                  </a:ext>
                </a:extLst>
              </p:cNvPr>
              <p:cNvCxnSpPr/>
              <p:nvPr/>
            </p:nvCxnSpPr>
            <p:spPr>
              <a:xfrm>
                <a:off x="2762246" y="3102525"/>
                <a:ext cx="312331" cy="91561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75" name="Straight Connector 1074">
                <a:extLst>
                  <a:ext uri="{FF2B5EF4-FFF2-40B4-BE49-F238E27FC236}">
                    <a16:creationId xmlns:a16="http://schemas.microsoft.com/office/drawing/2014/main" id="{1D1FC723-6626-5C5C-DF84-4DA58D9ACA18}"/>
                  </a:ext>
                </a:extLst>
              </p:cNvPr>
              <p:cNvCxnSpPr/>
              <p:nvPr/>
            </p:nvCxnSpPr>
            <p:spPr>
              <a:xfrm flipH="1">
                <a:off x="3256639" y="2252993"/>
                <a:ext cx="1516621" cy="920078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76" name="Straight Connector 1075">
                <a:extLst>
                  <a:ext uri="{FF2B5EF4-FFF2-40B4-BE49-F238E27FC236}">
                    <a16:creationId xmlns:a16="http://schemas.microsoft.com/office/drawing/2014/main" id="{F5437545-93E0-FF41-05FE-B8D8F74B5992}"/>
                  </a:ext>
                </a:extLst>
              </p:cNvPr>
              <p:cNvCxnSpPr/>
              <p:nvPr/>
            </p:nvCxnSpPr>
            <p:spPr>
              <a:xfrm>
                <a:off x="4861019" y="2253022"/>
                <a:ext cx="785677" cy="251938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77" name="Straight Connector 1076">
                <a:extLst>
                  <a:ext uri="{FF2B5EF4-FFF2-40B4-BE49-F238E27FC236}">
                    <a16:creationId xmlns:a16="http://schemas.microsoft.com/office/drawing/2014/main" id="{08B3CF1A-9712-1A4F-11D8-856100A10C90}"/>
                  </a:ext>
                </a:extLst>
              </p:cNvPr>
              <p:cNvCxnSpPr/>
              <p:nvPr/>
            </p:nvCxnSpPr>
            <p:spPr>
              <a:xfrm>
                <a:off x="6058857" y="3016665"/>
                <a:ext cx="1167125" cy="608199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78" name="Straight Connector 1077">
                <a:extLst>
                  <a:ext uri="{FF2B5EF4-FFF2-40B4-BE49-F238E27FC236}">
                    <a16:creationId xmlns:a16="http://schemas.microsoft.com/office/drawing/2014/main" id="{D8D07FDF-760F-95CF-B059-F1C48BECCABD}"/>
                  </a:ext>
                </a:extLst>
              </p:cNvPr>
              <p:cNvCxnSpPr/>
              <p:nvPr/>
            </p:nvCxnSpPr>
            <p:spPr>
              <a:xfrm>
                <a:off x="6074820" y="3055204"/>
                <a:ext cx="214189" cy="897920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79" name="Straight Connector 1078">
                <a:extLst>
                  <a:ext uri="{FF2B5EF4-FFF2-40B4-BE49-F238E27FC236}">
                    <a16:creationId xmlns:a16="http://schemas.microsoft.com/office/drawing/2014/main" id="{C6659A30-0DE3-942C-7C42-D9A8B50A20B4}"/>
                  </a:ext>
                </a:extLst>
              </p:cNvPr>
              <p:cNvCxnSpPr/>
              <p:nvPr/>
            </p:nvCxnSpPr>
            <p:spPr>
              <a:xfrm flipH="1">
                <a:off x="5647821" y="3155650"/>
                <a:ext cx="372160" cy="785133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80" name="Straight Connector 1079">
                <a:extLst>
                  <a:ext uri="{FF2B5EF4-FFF2-40B4-BE49-F238E27FC236}">
                    <a16:creationId xmlns:a16="http://schemas.microsoft.com/office/drawing/2014/main" id="{F197AA97-3A9B-C2C0-288C-CD740F41D520}"/>
                  </a:ext>
                </a:extLst>
              </p:cNvPr>
              <p:cNvCxnSpPr/>
              <p:nvPr/>
            </p:nvCxnSpPr>
            <p:spPr>
              <a:xfrm flipV="1">
                <a:off x="6399847" y="3772649"/>
                <a:ext cx="836516" cy="255398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81" name="Straight Connector 1080">
                <a:extLst>
                  <a:ext uri="{FF2B5EF4-FFF2-40B4-BE49-F238E27FC236}">
                    <a16:creationId xmlns:a16="http://schemas.microsoft.com/office/drawing/2014/main" id="{0F24456A-6589-5325-B0DD-9C6F23F10E48}"/>
                  </a:ext>
                </a:extLst>
              </p:cNvPr>
              <p:cNvCxnSpPr/>
              <p:nvPr/>
            </p:nvCxnSpPr>
            <p:spPr>
              <a:xfrm>
                <a:off x="6309422" y="4151215"/>
                <a:ext cx="276273" cy="986735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82" name="Straight Connector 1081">
                <a:extLst>
                  <a:ext uri="{FF2B5EF4-FFF2-40B4-BE49-F238E27FC236}">
                    <a16:creationId xmlns:a16="http://schemas.microsoft.com/office/drawing/2014/main" id="{BF8F5E68-3713-B612-5D87-24B92FCF61E0}"/>
                  </a:ext>
                </a:extLst>
              </p:cNvPr>
              <p:cNvCxnSpPr/>
              <p:nvPr/>
            </p:nvCxnSpPr>
            <p:spPr>
              <a:xfrm flipV="1">
                <a:off x="7522088" y="3639857"/>
                <a:ext cx="425616" cy="86775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83" name="Straight Connector 1082">
                <a:extLst>
                  <a:ext uri="{FF2B5EF4-FFF2-40B4-BE49-F238E27FC236}">
                    <a16:creationId xmlns:a16="http://schemas.microsoft.com/office/drawing/2014/main" id="{44F10F33-5EE3-518B-BB15-BC3A73949619}"/>
                  </a:ext>
                </a:extLst>
              </p:cNvPr>
              <p:cNvCxnSpPr/>
              <p:nvPr/>
            </p:nvCxnSpPr>
            <p:spPr>
              <a:xfrm flipV="1">
                <a:off x="8241966" y="3497592"/>
                <a:ext cx="477897" cy="142942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84" name="Straight Connector 1083">
                <a:extLst>
                  <a:ext uri="{FF2B5EF4-FFF2-40B4-BE49-F238E27FC236}">
                    <a16:creationId xmlns:a16="http://schemas.microsoft.com/office/drawing/2014/main" id="{64F693E5-3BC0-9FC4-2301-2D6C3C62E13A}"/>
                  </a:ext>
                </a:extLst>
              </p:cNvPr>
              <p:cNvCxnSpPr/>
              <p:nvPr/>
            </p:nvCxnSpPr>
            <p:spPr>
              <a:xfrm flipH="1" flipV="1">
                <a:off x="7961447" y="3097022"/>
                <a:ext cx="67859" cy="387207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85" name="Straight Connector 1084">
                <a:extLst>
                  <a:ext uri="{FF2B5EF4-FFF2-40B4-BE49-F238E27FC236}">
                    <a16:creationId xmlns:a16="http://schemas.microsoft.com/office/drawing/2014/main" id="{7937B8F9-425E-4CD6-4853-BA6344861918}"/>
                  </a:ext>
                </a:extLst>
              </p:cNvPr>
              <p:cNvCxnSpPr/>
              <p:nvPr/>
            </p:nvCxnSpPr>
            <p:spPr>
              <a:xfrm flipH="1" flipV="1">
                <a:off x="7973436" y="3094342"/>
                <a:ext cx="720669" cy="253092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86" name="Straight Connector 1085">
                <a:extLst>
                  <a:ext uri="{FF2B5EF4-FFF2-40B4-BE49-F238E27FC236}">
                    <a16:creationId xmlns:a16="http://schemas.microsoft.com/office/drawing/2014/main" id="{189CC2BD-1BBA-FD1D-37CF-05083B7A9DFE}"/>
                  </a:ext>
                </a:extLst>
              </p:cNvPr>
              <p:cNvCxnSpPr/>
              <p:nvPr/>
            </p:nvCxnSpPr>
            <p:spPr>
              <a:xfrm flipV="1">
                <a:off x="8937355" y="3145042"/>
                <a:ext cx="391482" cy="251966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87" name="Straight Connector 1086">
                <a:extLst>
                  <a:ext uri="{FF2B5EF4-FFF2-40B4-BE49-F238E27FC236}">
                    <a16:creationId xmlns:a16="http://schemas.microsoft.com/office/drawing/2014/main" id="{13F04040-ED54-7A20-16F2-E963C49DF4FA}"/>
                  </a:ext>
                </a:extLst>
              </p:cNvPr>
              <p:cNvCxnSpPr/>
              <p:nvPr/>
            </p:nvCxnSpPr>
            <p:spPr>
              <a:xfrm flipH="1" flipV="1">
                <a:off x="6621462" y="2876681"/>
                <a:ext cx="1316010" cy="214592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88" name="Straight Connector 1087">
                <a:extLst>
                  <a:ext uri="{FF2B5EF4-FFF2-40B4-BE49-F238E27FC236}">
                    <a16:creationId xmlns:a16="http://schemas.microsoft.com/office/drawing/2014/main" id="{09E01D90-2D17-3778-72E2-7CADBC85A8FF}"/>
                  </a:ext>
                </a:extLst>
              </p:cNvPr>
              <p:cNvCxnSpPr/>
              <p:nvPr/>
            </p:nvCxnSpPr>
            <p:spPr>
              <a:xfrm flipH="1" flipV="1">
                <a:off x="9454479" y="3249283"/>
                <a:ext cx="74500" cy="1681182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89" name="Straight Connector 1088">
                <a:extLst>
                  <a:ext uri="{FF2B5EF4-FFF2-40B4-BE49-F238E27FC236}">
                    <a16:creationId xmlns:a16="http://schemas.microsoft.com/office/drawing/2014/main" id="{C5B63CE9-A726-FAD8-82A2-052F1F885BD9}"/>
                  </a:ext>
                </a:extLst>
              </p:cNvPr>
              <p:cNvCxnSpPr/>
              <p:nvPr/>
            </p:nvCxnSpPr>
            <p:spPr>
              <a:xfrm flipH="1" flipV="1">
                <a:off x="9712903" y="5118353"/>
                <a:ext cx="297045" cy="90715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90" name="Straight Connector 1089">
                <a:extLst>
                  <a:ext uri="{FF2B5EF4-FFF2-40B4-BE49-F238E27FC236}">
                    <a16:creationId xmlns:a16="http://schemas.microsoft.com/office/drawing/2014/main" id="{6C68E565-4DD6-13E6-311F-365EA2508CFB}"/>
                  </a:ext>
                </a:extLst>
              </p:cNvPr>
              <p:cNvCxnSpPr/>
              <p:nvPr/>
            </p:nvCxnSpPr>
            <p:spPr>
              <a:xfrm>
                <a:off x="2991547" y="3916714"/>
                <a:ext cx="1322309" cy="776860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91" name="Straight Connector 1090">
                <a:extLst>
                  <a:ext uri="{FF2B5EF4-FFF2-40B4-BE49-F238E27FC236}">
                    <a16:creationId xmlns:a16="http://schemas.microsoft.com/office/drawing/2014/main" id="{695F0684-76F9-BE5E-24C0-4C38452F7262}"/>
                  </a:ext>
                </a:extLst>
              </p:cNvPr>
              <p:cNvCxnSpPr/>
              <p:nvPr/>
            </p:nvCxnSpPr>
            <p:spPr>
              <a:xfrm flipV="1">
                <a:off x="4074080" y="4883765"/>
                <a:ext cx="239775" cy="294666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pic>
            <p:nvPicPr>
              <p:cNvPr id="1092" name="Graphic 1091">
                <a:extLst>
                  <a:ext uri="{FF2B5EF4-FFF2-40B4-BE49-F238E27FC236}">
                    <a16:creationId xmlns:a16="http://schemas.microsoft.com/office/drawing/2014/main" id="{C62203EA-A411-BD59-1DDC-F74B00C8BC46}"/>
                  </a:ext>
                </a:extLst>
              </p:cNvPr>
              <p:cNvPicPr/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680083" y="3640060"/>
                <a:ext cx="293727" cy="262521"/>
              </a:xfrm>
              <a:prstGeom prst="rect">
                <a:avLst/>
              </a:prstGeom>
            </p:spPr>
          </p:pic>
          <p:pic>
            <p:nvPicPr>
              <p:cNvPr id="1093" name="Graphic 1092">
                <a:extLst>
                  <a:ext uri="{FF2B5EF4-FFF2-40B4-BE49-F238E27FC236}">
                    <a16:creationId xmlns:a16="http://schemas.microsoft.com/office/drawing/2014/main" id="{C8A433C9-B413-5227-D031-DBE9A0499FF9}"/>
                  </a:ext>
                </a:extLst>
              </p:cNvPr>
              <p:cNvPicPr/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280176" y="3524598"/>
                <a:ext cx="293727" cy="262521"/>
              </a:xfrm>
              <a:prstGeom prst="rect">
                <a:avLst/>
              </a:prstGeom>
            </p:spPr>
          </p:pic>
          <p:pic>
            <p:nvPicPr>
              <p:cNvPr id="1094" name="Graphic 1093">
                <a:extLst>
                  <a:ext uri="{FF2B5EF4-FFF2-40B4-BE49-F238E27FC236}">
                    <a16:creationId xmlns:a16="http://schemas.microsoft.com/office/drawing/2014/main" id="{156BE65A-482B-D94A-BB1A-0A86F52197AE}"/>
                  </a:ext>
                </a:extLst>
              </p:cNvPr>
              <p:cNvPicPr/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10054032" y="5022444"/>
                <a:ext cx="293727" cy="262521"/>
              </a:xfrm>
              <a:prstGeom prst="rect">
                <a:avLst/>
              </a:prstGeom>
            </p:spPr>
          </p:pic>
        </p:grpSp>
        <p:grpSp>
          <p:nvGrpSpPr>
            <p:cNvPr id="1002" name="Group 1001">
              <a:extLst>
                <a:ext uri="{FF2B5EF4-FFF2-40B4-BE49-F238E27FC236}">
                  <a16:creationId xmlns:a16="http://schemas.microsoft.com/office/drawing/2014/main" id="{0EC986FE-6EDF-AA45-26AC-343CF4B8DA87}"/>
                </a:ext>
              </a:extLst>
            </p:cNvPr>
            <p:cNvGrpSpPr/>
            <p:nvPr/>
          </p:nvGrpSpPr>
          <p:grpSpPr>
            <a:xfrm>
              <a:off x="1743010" y="1868256"/>
              <a:ext cx="5941473" cy="2414768"/>
              <a:chOff x="2492126" y="2208099"/>
              <a:chExt cx="8654865" cy="3517541"/>
            </a:xfrm>
          </p:grpSpPr>
          <p:cxnSp>
            <p:nvCxnSpPr>
              <p:cNvPr id="1015" name="Straight Connector 1014">
                <a:extLst>
                  <a:ext uri="{FF2B5EF4-FFF2-40B4-BE49-F238E27FC236}">
                    <a16:creationId xmlns:a16="http://schemas.microsoft.com/office/drawing/2014/main" id="{8A4B8602-40BF-D7CA-10C6-80C96255CB4D}"/>
                  </a:ext>
                </a:extLst>
              </p:cNvPr>
              <p:cNvCxnSpPr/>
              <p:nvPr/>
            </p:nvCxnSpPr>
            <p:spPr>
              <a:xfrm flipH="1">
                <a:off x="2925440" y="3445174"/>
                <a:ext cx="227788" cy="319776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16" name="Straight Connector 1015">
                <a:extLst>
                  <a:ext uri="{FF2B5EF4-FFF2-40B4-BE49-F238E27FC236}">
                    <a16:creationId xmlns:a16="http://schemas.microsoft.com/office/drawing/2014/main" id="{71F2BCD7-319D-93D6-F934-B6CE3FE3135A}"/>
                  </a:ext>
                </a:extLst>
              </p:cNvPr>
              <p:cNvCxnSpPr>
                <a:endCxn id="1068" idx="1"/>
              </p:cNvCxnSpPr>
              <p:nvPr/>
            </p:nvCxnSpPr>
            <p:spPr>
              <a:xfrm>
                <a:off x="5896250" y="2748880"/>
                <a:ext cx="157493" cy="360194"/>
              </a:xfrm>
              <a:prstGeom prst="line">
                <a:avLst/>
              </a:prstGeom>
              <a:noFill/>
              <a:ln w="9525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</p:cxnSp>
          <p:pic>
            <p:nvPicPr>
              <p:cNvPr id="1017" name="Graphic 1016">
                <a:extLst>
                  <a:ext uri="{FF2B5EF4-FFF2-40B4-BE49-F238E27FC236}">
                    <a16:creationId xmlns:a16="http://schemas.microsoft.com/office/drawing/2014/main" id="{E3C11211-A42C-B40E-5AD0-2FBD6A8E7CCC}"/>
                  </a:ext>
                </a:extLst>
              </p:cNvPr>
              <p:cNvPicPr/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513538" y="5062079"/>
                <a:ext cx="293727" cy="262521"/>
              </a:xfrm>
              <a:prstGeom prst="rect">
                <a:avLst/>
              </a:prstGeom>
            </p:spPr>
          </p:pic>
          <p:sp>
            <p:nvSpPr>
              <p:cNvPr id="1018" name="Oval 1017">
                <a:extLst>
                  <a:ext uri="{FF2B5EF4-FFF2-40B4-BE49-F238E27FC236}">
                    <a16:creationId xmlns:a16="http://schemas.microsoft.com/office/drawing/2014/main" id="{15789437-36F7-6ABB-B5AC-7D1ED3F453C0}"/>
                  </a:ext>
                </a:extLst>
              </p:cNvPr>
              <p:cNvSpPr/>
              <p:nvPr/>
            </p:nvSpPr>
            <p:spPr>
              <a:xfrm>
                <a:off x="2492126" y="3487232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19" name="Oval 1018">
                <a:extLst>
                  <a:ext uri="{FF2B5EF4-FFF2-40B4-BE49-F238E27FC236}">
                    <a16:creationId xmlns:a16="http://schemas.microsoft.com/office/drawing/2014/main" id="{71CACB26-31D1-1F86-0D61-D17CDB803B29}"/>
                  </a:ext>
                </a:extLst>
              </p:cNvPr>
              <p:cNvSpPr/>
              <p:nvPr/>
            </p:nvSpPr>
            <p:spPr>
              <a:xfrm>
                <a:off x="3029347" y="3415249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20" name="Oval 1019">
                <a:extLst>
                  <a:ext uri="{FF2B5EF4-FFF2-40B4-BE49-F238E27FC236}">
                    <a16:creationId xmlns:a16="http://schemas.microsoft.com/office/drawing/2014/main" id="{4C44B1E3-26EB-13C9-CC95-8CAF9AC4C70B}"/>
                  </a:ext>
                </a:extLst>
              </p:cNvPr>
              <p:cNvSpPr/>
              <p:nvPr/>
            </p:nvSpPr>
            <p:spPr>
              <a:xfrm>
                <a:off x="3116984" y="3675332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21" name="Oval 1020">
                <a:extLst>
                  <a:ext uri="{FF2B5EF4-FFF2-40B4-BE49-F238E27FC236}">
                    <a16:creationId xmlns:a16="http://schemas.microsoft.com/office/drawing/2014/main" id="{4569199D-917C-391F-82D0-0048CA89A014}"/>
                  </a:ext>
                </a:extLst>
              </p:cNvPr>
              <p:cNvSpPr/>
              <p:nvPr/>
            </p:nvSpPr>
            <p:spPr>
              <a:xfrm>
                <a:off x="3465455" y="3523266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22" name="Oval 1021">
                <a:extLst>
                  <a:ext uri="{FF2B5EF4-FFF2-40B4-BE49-F238E27FC236}">
                    <a16:creationId xmlns:a16="http://schemas.microsoft.com/office/drawing/2014/main" id="{41ADEABB-8D1D-EEBD-283E-E3BC2CBC62C6}"/>
                  </a:ext>
                </a:extLst>
              </p:cNvPr>
              <p:cNvSpPr/>
              <p:nvPr/>
            </p:nvSpPr>
            <p:spPr>
              <a:xfrm>
                <a:off x="3431739" y="3427242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23" name="Oval 1022">
                <a:extLst>
                  <a:ext uri="{FF2B5EF4-FFF2-40B4-BE49-F238E27FC236}">
                    <a16:creationId xmlns:a16="http://schemas.microsoft.com/office/drawing/2014/main" id="{8CD064EE-16C9-0FE3-9677-180118DFA180}"/>
                  </a:ext>
                </a:extLst>
              </p:cNvPr>
              <p:cNvSpPr/>
              <p:nvPr/>
            </p:nvSpPr>
            <p:spPr>
              <a:xfrm>
                <a:off x="3433154" y="3254727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24" name="Oval 1023">
                <a:extLst>
                  <a:ext uri="{FF2B5EF4-FFF2-40B4-BE49-F238E27FC236}">
                    <a16:creationId xmlns:a16="http://schemas.microsoft.com/office/drawing/2014/main" id="{1C542F1B-5DEB-A661-76A2-8F9A4A38BCB3}"/>
                  </a:ext>
                </a:extLst>
              </p:cNvPr>
              <p:cNvSpPr/>
              <p:nvPr/>
            </p:nvSpPr>
            <p:spPr>
              <a:xfrm>
                <a:off x="3704904" y="3137668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25" name="Oval 1024">
                <a:extLst>
                  <a:ext uri="{FF2B5EF4-FFF2-40B4-BE49-F238E27FC236}">
                    <a16:creationId xmlns:a16="http://schemas.microsoft.com/office/drawing/2014/main" id="{E0180842-024F-ADDC-B094-56BEE7DCE0BF}"/>
                  </a:ext>
                </a:extLst>
              </p:cNvPr>
              <p:cNvSpPr/>
              <p:nvPr/>
            </p:nvSpPr>
            <p:spPr>
              <a:xfrm>
                <a:off x="3774490" y="3076700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26" name="Oval 1025">
                <a:extLst>
                  <a:ext uri="{FF2B5EF4-FFF2-40B4-BE49-F238E27FC236}">
                    <a16:creationId xmlns:a16="http://schemas.microsoft.com/office/drawing/2014/main" id="{5F920F0C-5626-041B-5154-C6CFBCDE6EF1}"/>
                  </a:ext>
                </a:extLst>
              </p:cNvPr>
              <p:cNvSpPr/>
              <p:nvPr/>
            </p:nvSpPr>
            <p:spPr>
              <a:xfrm>
                <a:off x="3528279" y="4383993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27" name="Oval 1026">
                <a:extLst>
                  <a:ext uri="{FF2B5EF4-FFF2-40B4-BE49-F238E27FC236}">
                    <a16:creationId xmlns:a16="http://schemas.microsoft.com/office/drawing/2014/main" id="{BEA3EE12-2EEA-6E0B-1175-517E19A669A7}"/>
                  </a:ext>
                </a:extLst>
              </p:cNvPr>
              <p:cNvSpPr/>
              <p:nvPr/>
            </p:nvSpPr>
            <p:spPr>
              <a:xfrm>
                <a:off x="4439924" y="5214062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28" name="Oval 1027">
                <a:extLst>
                  <a:ext uri="{FF2B5EF4-FFF2-40B4-BE49-F238E27FC236}">
                    <a16:creationId xmlns:a16="http://schemas.microsoft.com/office/drawing/2014/main" id="{C010DB97-A760-3AAE-179B-F555221D8CBE}"/>
                  </a:ext>
                </a:extLst>
              </p:cNvPr>
              <p:cNvSpPr/>
              <p:nvPr/>
            </p:nvSpPr>
            <p:spPr>
              <a:xfrm>
                <a:off x="4336253" y="5340631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29" name="Oval 1028">
                <a:extLst>
                  <a:ext uri="{FF2B5EF4-FFF2-40B4-BE49-F238E27FC236}">
                    <a16:creationId xmlns:a16="http://schemas.microsoft.com/office/drawing/2014/main" id="{932155D4-2C32-BDDC-5127-10680203F987}"/>
                  </a:ext>
                </a:extLst>
              </p:cNvPr>
              <p:cNvSpPr/>
              <p:nvPr/>
            </p:nvSpPr>
            <p:spPr>
              <a:xfrm>
                <a:off x="4042835" y="5557433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30" name="Oval 1029">
                <a:extLst>
                  <a:ext uri="{FF2B5EF4-FFF2-40B4-BE49-F238E27FC236}">
                    <a16:creationId xmlns:a16="http://schemas.microsoft.com/office/drawing/2014/main" id="{B521D919-F1FC-2E1D-4C15-AF58ACADE4D4}"/>
                  </a:ext>
                </a:extLst>
              </p:cNvPr>
              <p:cNvSpPr/>
              <p:nvPr/>
            </p:nvSpPr>
            <p:spPr>
              <a:xfrm>
                <a:off x="5583961" y="3343657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31" name="Oval 1030">
                <a:extLst>
                  <a:ext uri="{FF2B5EF4-FFF2-40B4-BE49-F238E27FC236}">
                    <a16:creationId xmlns:a16="http://schemas.microsoft.com/office/drawing/2014/main" id="{269AF69F-C7B6-E98C-950D-C41B362D9288}"/>
                  </a:ext>
                </a:extLst>
              </p:cNvPr>
              <p:cNvSpPr/>
              <p:nvPr/>
            </p:nvSpPr>
            <p:spPr>
              <a:xfrm>
                <a:off x="5711981" y="3471682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32" name="Oval 1031">
                <a:extLst>
                  <a:ext uri="{FF2B5EF4-FFF2-40B4-BE49-F238E27FC236}">
                    <a16:creationId xmlns:a16="http://schemas.microsoft.com/office/drawing/2014/main" id="{77F7139F-8B17-12A6-C947-34C0D952A18D}"/>
                  </a:ext>
                </a:extLst>
              </p:cNvPr>
              <p:cNvSpPr/>
              <p:nvPr/>
            </p:nvSpPr>
            <p:spPr>
              <a:xfrm>
                <a:off x="5843874" y="3321700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33" name="Oval 1032">
                <a:extLst>
                  <a:ext uri="{FF2B5EF4-FFF2-40B4-BE49-F238E27FC236}">
                    <a16:creationId xmlns:a16="http://schemas.microsoft.com/office/drawing/2014/main" id="{ED34725A-373E-538B-238B-3CDF7F200706}"/>
                  </a:ext>
                </a:extLst>
              </p:cNvPr>
              <p:cNvSpPr/>
              <p:nvPr/>
            </p:nvSpPr>
            <p:spPr>
              <a:xfrm>
                <a:off x="5738533" y="3278914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34" name="Oval 1033">
                <a:extLst>
                  <a:ext uri="{FF2B5EF4-FFF2-40B4-BE49-F238E27FC236}">
                    <a16:creationId xmlns:a16="http://schemas.microsoft.com/office/drawing/2014/main" id="{AB314C25-22BB-DF2E-C75F-2931D836744A}"/>
                  </a:ext>
                </a:extLst>
              </p:cNvPr>
              <p:cNvSpPr/>
              <p:nvPr/>
            </p:nvSpPr>
            <p:spPr>
              <a:xfrm>
                <a:off x="6124556" y="2512922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35" name="Oval 1034">
                <a:extLst>
                  <a:ext uri="{FF2B5EF4-FFF2-40B4-BE49-F238E27FC236}">
                    <a16:creationId xmlns:a16="http://schemas.microsoft.com/office/drawing/2014/main" id="{C87F2C5E-779D-2858-8C73-3B002B9ACF6E}"/>
                  </a:ext>
                </a:extLst>
              </p:cNvPr>
              <p:cNvSpPr/>
              <p:nvPr/>
            </p:nvSpPr>
            <p:spPr>
              <a:xfrm>
                <a:off x="6308274" y="2462051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D52AA532-38AF-5C0B-F53A-6BB1EEA8D6CF}"/>
                  </a:ext>
                </a:extLst>
              </p:cNvPr>
              <p:cNvSpPr/>
              <p:nvPr/>
            </p:nvSpPr>
            <p:spPr>
              <a:xfrm>
                <a:off x="6473206" y="2208099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37" name="Oval 1036">
                <a:extLst>
                  <a:ext uri="{FF2B5EF4-FFF2-40B4-BE49-F238E27FC236}">
                    <a16:creationId xmlns:a16="http://schemas.microsoft.com/office/drawing/2014/main" id="{57CF490E-F5C0-93F0-C787-C3CA6B7BFD44}"/>
                  </a:ext>
                </a:extLst>
              </p:cNvPr>
              <p:cNvSpPr/>
              <p:nvPr/>
            </p:nvSpPr>
            <p:spPr>
              <a:xfrm>
                <a:off x="6554293" y="2305556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38" name="Oval 1037">
                <a:extLst>
                  <a:ext uri="{FF2B5EF4-FFF2-40B4-BE49-F238E27FC236}">
                    <a16:creationId xmlns:a16="http://schemas.microsoft.com/office/drawing/2014/main" id="{951DCFC0-B011-3C8A-3D20-8EE3CA6FA32F}"/>
                  </a:ext>
                </a:extLst>
              </p:cNvPr>
              <p:cNvSpPr/>
              <p:nvPr/>
            </p:nvSpPr>
            <p:spPr>
              <a:xfrm>
                <a:off x="6212178" y="2705574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39" name="Oval 1038">
                <a:extLst>
                  <a:ext uri="{FF2B5EF4-FFF2-40B4-BE49-F238E27FC236}">
                    <a16:creationId xmlns:a16="http://schemas.microsoft.com/office/drawing/2014/main" id="{4606988E-A2E2-9A9F-9562-D9949DF1611D}"/>
                  </a:ext>
                </a:extLst>
              </p:cNvPr>
              <p:cNvSpPr/>
              <p:nvPr/>
            </p:nvSpPr>
            <p:spPr>
              <a:xfrm>
                <a:off x="6298527" y="2684105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40" name="Oval 1039">
                <a:extLst>
                  <a:ext uri="{FF2B5EF4-FFF2-40B4-BE49-F238E27FC236}">
                    <a16:creationId xmlns:a16="http://schemas.microsoft.com/office/drawing/2014/main" id="{0000B81B-E81A-2545-E306-56757F01AC4C}"/>
                  </a:ext>
                </a:extLst>
              </p:cNvPr>
              <p:cNvSpPr/>
              <p:nvPr/>
            </p:nvSpPr>
            <p:spPr>
              <a:xfrm>
                <a:off x="6583235" y="3281620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41" name="Oval 1040">
                <a:extLst>
                  <a:ext uri="{FF2B5EF4-FFF2-40B4-BE49-F238E27FC236}">
                    <a16:creationId xmlns:a16="http://schemas.microsoft.com/office/drawing/2014/main" id="{3B9E72E6-668F-B67E-60DD-328490AA71DF}"/>
                  </a:ext>
                </a:extLst>
              </p:cNvPr>
              <p:cNvSpPr/>
              <p:nvPr/>
            </p:nvSpPr>
            <p:spPr>
              <a:xfrm>
                <a:off x="6735534" y="3336457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42" name="Oval 1041">
                <a:extLst>
                  <a:ext uri="{FF2B5EF4-FFF2-40B4-BE49-F238E27FC236}">
                    <a16:creationId xmlns:a16="http://schemas.microsoft.com/office/drawing/2014/main" id="{B090F930-0AC4-9F42-E0A3-AFD1A3B6E3ED}"/>
                  </a:ext>
                </a:extLst>
              </p:cNvPr>
              <p:cNvSpPr/>
              <p:nvPr/>
            </p:nvSpPr>
            <p:spPr>
              <a:xfrm>
                <a:off x="6742963" y="3715074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43" name="Oval 1042">
                <a:extLst>
                  <a:ext uri="{FF2B5EF4-FFF2-40B4-BE49-F238E27FC236}">
                    <a16:creationId xmlns:a16="http://schemas.microsoft.com/office/drawing/2014/main" id="{4161E8BA-5633-0428-9829-D1F6D7D60731}"/>
                  </a:ext>
                </a:extLst>
              </p:cNvPr>
              <p:cNvSpPr/>
              <p:nvPr/>
            </p:nvSpPr>
            <p:spPr>
              <a:xfrm>
                <a:off x="5981792" y="2985087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44" name="Oval 1043">
                <a:extLst>
                  <a:ext uri="{FF2B5EF4-FFF2-40B4-BE49-F238E27FC236}">
                    <a16:creationId xmlns:a16="http://schemas.microsoft.com/office/drawing/2014/main" id="{D9EE4E40-B3ED-7215-E484-E74E0FC6AE8B}"/>
                  </a:ext>
                </a:extLst>
              </p:cNvPr>
              <p:cNvSpPr/>
              <p:nvPr/>
            </p:nvSpPr>
            <p:spPr>
              <a:xfrm>
                <a:off x="6186046" y="3169389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45" name="Oval 1044">
                <a:extLst>
                  <a:ext uri="{FF2B5EF4-FFF2-40B4-BE49-F238E27FC236}">
                    <a16:creationId xmlns:a16="http://schemas.microsoft.com/office/drawing/2014/main" id="{C54EB88B-A0B8-DCC0-30F2-60EC5022D021}"/>
                  </a:ext>
                </a:extLst>
              </p:cNvPr>
              <p:cNvSpPr/>
              <p:nvPr/>
            </p:nvSpPr>
            <p:spPr>
              <a:xfrm>
                <a:off x="6304039" y="2968852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46" name="Oval 1045">
                <a:extLst>
                  <a:ext uri="{FF2B5EF4-FFF2-40B4-BE49-F238E27FC236}">
                    <a16:creationId xmlns:a16="http://schemas.microsoft.com/office/drawing/2014/main" id="{E8B8A4FD-5048-E2D1-43D9-52FDFA469C6B}"/>
                  </a:ext>
                </a:extLst>
              </p:cNvPr>
              <p:cNvSpPr/>
              <p:nvPr/>
            </p:nvSpPr>
            <p:spPr>
              <a:xfrm>
                <a:off x="6156435" y="3036607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47" name="Oval 1046">
                <a:extLst>
                  <a:ext uri="{FF2B5EF4-FFF2-40B4-BE49-F238E27FC236}">
                    <a16:creationId xmlns:a16="http://schemas.microsoft.com/office/drawing/2014/main" id="{C275DE4D-8854-E75C-1802-B22708266CB8}"/>
                  </a:ext>
                </a:extLst>
              </p:cNvPr>
              <p:cNvSpPr/>
              <p:nvPr/>
            </p:nvSpPr>
            <p:spPr>
              <a:xfrm rot="1233083">
                <a:off x="6101945" y="2971950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48" name="Oval 1047">
                <a:extLst>
                  <a:ext uri="{FF2B5EF4-FFF2-40B4-BE49-F238E27FC236}">
                    <a16:creationId xmlns:a16="http://schemas.microsoft.com/office/drawing/2014/main" id="{258642E5-4506-C503-3FC4-1A5A6B2651F4}"/>
                  </a:ext>
                </a:extLst>
              </p:cNvPr>
              <p:cNvSpPr/>
              <p:nvPr/>
            </p:nvSpPr>
            <p:spPr>
              <a:xfrm>
                <a:off x="6097895" y="2891223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49" name="Oval 1048">
                <a:extLst>
                  <a:ext uri="{FF2B5EF4-FFF2-40B4-BE49-F238E27FC236}">
                    <a16:creationId xmlns:a16="http://schemas.microsoft.com/office/drawing/2014/main" id="{CF119CB9-21D8-36BD-3C47-93EA5A137B0B}"/>
                  </a:ext>
                </a:extLst>
              </p:cNvPr>
              <p:cNvSpPr/>
              <p:nvPr/>
            </p:nvSpPr>
            <p:spPr>
              <a:xfrm>
                <a:off x="5992972" y="3123388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50" name="Oval 1049">
                <a:extLst>
                  <a:ext uri="{FF2B5EF4-FFF2-40B4-BE49-F238E27FC236}">
                    <a16:creationId xmlns:a16="http://schemas.microsoft.com/office/drawing/2014/main" id="{27A6C07B-4839-B3E9-F609-22C0D2182574}"/>
                  </a:ext>
                </a:extLst>
              </p:cNvPr>
              <p:cNvSpPr/>
              <p:nvPr/>
            </p:nvSpPr>
            <p:spPr>
              <a:xfrm>
                <a:off x="8149336" y="4264169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51" name="Oval 1050">
                <a:extLst>
                  <a:ext uri="{FF2B5EF4-FFF2-40B4-BE49-F238E27FC236}">
                    <a16:creationId xmlns:a16="http://schemas.microsoft.com/office/drawing/2014/main" id="{FD49A386-526F-50E0-1272-240A15489F61}"/>
                  </a:ext>
                </a:extLst>
              </p:cNvPr>
              <p:cNvSpPr/>
              <p:nvPr/>
            </p:nvSpPr>
            <p:spPr>
              <a:xfrm>
                <a:off x="8123355" y="4166189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52" name="Oval 1051">
                <a:extLst>
                  <a:ext uri="{FF2B5EF4-FFF2-40B4-BE49-F238E27FC236}">
                    <a16:creationId xmlns:a16="http://schemas.microsoft.com/office/drawing/2014/main" id="{21879C55-23BE-93B4-DC0A-5D205522A66E}"/>
                  </a:ext>
                </a:extLst>
              </p:cNvPr>
              <p:cNvSpPr/>
              <p:nvPr/>
            </p:nvSpPr>
            <p:spPr>
              <a:xfrm>
                <a:off x="8025206" y="3920199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53" name="Oval 1052">
                <a:extLst>
                  <a:ext uri="{FF2B5EF4-FFF2-40B4-BE49-F238E27FC236}">
                    <a16:creationId xmlns:a16="http://schemas.microsoft.com/office/drawing/2014/main" id="{55A43F8C-8D8C-83C0-FF51-CE68F750D541}"/>
                  </a:ext>
                </a:extLst>
              </p:cNvPr>
              <p:cNvSpPr/>
              <p:nvPr/>
            </p:nvSpPr>
            <p:spPr>
              <a:xfrm>
                <a:off x="8786888" y="4111613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54" name="Oval 1053">
                <a:extLst>
                  <a:ext uri="{FF2B5EF4-FFF2-40B4-BE49-F238E27FC236}">
                    <a16:creationId xmlns:a16="http://schemas.microsoft.com/office/drawing/2014/main" id="{7B5E730F-771B-7438-0B04-5E0EC0A04616}"/>
                  </a:ext>
                </a:extLst>
              </p:cNvPr>
              <p:cNvSpPr/>
              <p:nvPr/>
            </p:nvSpPr>
            <p:spPr>
              <a:xfrm>
                <a:off x="8992278" y="3947160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55" name="Oval 1054">
                <a:extLst>
                  <a:ext uri="{FF2B5EF4-FFF2-40B4-BE49-F238E27FC236}">
                    <a16:creationId xmlns:a16="http://schemas.microsoft.com/office/drawing/2014/main" id="{88692E99-9BF6-B8AF-B456-66D4B95D3EF9}"/>
                  </a:ext>
                </a:extLst>
              </p:cNvPr>
              <p:cNvSpPr/>
              <p:nvPr/>
            </p:nvSpPr>
            <p:spPr>
              <a:xfrm>
                <a:off x="9048855" y="3645921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56" name="Oval 1055">
                <a:extLst>
                  <a:ext uri="{FF2B5EF4-FFF2-40B4-BE49-F238E27FC236}">
                    <a16:creationId xmlns:a16="http://schemas.microsoft.com/office/drawing/2014/main" id="{AA49A60C-812A-0B55-36ED-316D0D330BA6}"/>
                  </a:ext>
                </a:extLst>
              </p:cNvPr>
              <p:cNvSpPr/>
              <p:nvPr/>
            </p:nvSpPr>
            <p:spPr>
              <a:xfrm>
                <a:off x="9112811" y="3490460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57" name="Oval 1056">
                <a:extLst>
                  <a:ext uri="{FF2B5EF4-FFF2-40B4-BE49-F238E27FC236}">
                    <a16:creationId xmlns:a16="http://schemas.microsoft.com/office/drawing/2014/main" id="{556358DD-C449-CE21-58B5-E7C656353A53}"/>
                  </a:ext>
                </a:extLst>
              </p:cNvPr>
              <p:cNvSpPr/>
              <p:nvPr/>
            </p:nvSpPr>
            <p:spPr>
              <a:xfrm>
                <a:off x="9308188" y="3335355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58" name="Oval 1057">
                <a:extLst>
                  <a:ext uri="{FF2B5EF4-FFF2-40B4-BE49-F238E27FC236}">
                    <a16:creationId xmlns:a16="http://schemas.microsoft.com/office/drawing/2014/main" id="{CF15D44B-DA01-0AC4-341C-CF4FFF4366FD}"/>
                  </a:ext>
                </a:extLst>
              </p:cNvPr>
              <p:cNvSpPr/>
              <p:nvPr/>
            </p:nvSpPr>
            <p:spPr>
              <a:xfrm>
                <a:off x="9412275" y="3351044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59" name="Oval 1058">
                <a:extLst>
                  <a:ext uri="{FF2B5EF4-FFF2-40B4-BE49-F238E27FC236}">
                    <a16:creationId xmlns:a16="http://schemas.microsoft.com/office/drawing/2014/main" id="{12701275-0148-881C-45E1-F9CF290A0CD2}"/>
                  </a:ext>
                </a:extLst>
              </p:cNvPr>
              <p:cNvSpPr/>
              <p:nvPr/>
            </p:nvSpPr>
            <p:spPr>
              <a:xfrm>
                <a:off x="9362599" y="3577489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60" name="Oval 1059">
                <a:extLst>
                  <a:ext uri="{FF2B5EF4-FFF2-40B4-BE49-F238E27FC236}">
                    <a16:creationId xmlns:a16="http://schemas.microsoft.com/office/drawing/2014/main" id="{2261B275-1533-0459-3002-8B91D10BF168}"/>
                  </a:ext>
                </a:extLst>
              </p:cNvPr>
              <p:cNvSpPr/>
              <p:nvPr/>
            </p:nvSpPr>
            <p:spPr>
              <a:xfrm>
                <a:off x="9469180" y="3668062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61" name="Oval 1060">
                <a:extLst>
                  <a:ext uri="{FF2B5EF4-FFF2-40B4-BE49-F238E27FC236}">
                    <a16:creationId xmlns:a16="http://schemas.microsoft.com/office/drawing/2014/main" id="{33398B59-91E1-54EB-C07B-79A0788DF0FE}"/>
                  </a:ext>
                </a:extLst>
              </p:cNvPr>
              <p:cNvSpPr/>
              <p:nvPr/>
            </p:nvSpPr>
            <p:spPr>
              <a:xfrm>
                <a:off x="9393687" y="3840710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62" name="Oval 1061">
                <a:extLst>
                  <a:ext uri="{FF2B5EF4-FFF2-40B4-BE49-F238E27FC236}">
                    <a16:creationId xmlns:a16="http://schemas.microsoft.com/office/drawing/2014/main" id="{F3B1F63C-7950-6E28-5825-03C81190AEF6}"/>
                  </a:ext>
                </a:extLst>
              </p:cNvPr>
              <p:cNvSpPr/>
              <p:nvPr/>
            </p:nvSpPr>
            <p:spPr>
              <a:xfrm>
                <a:off x="9260496" y="3923089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63" name="Oval 1062">
                <a:extLst>
                  <a:ext uri="{FF2B5EF4-FFF2-40B4-BE49-F238E27FC236}">
                    <a16:creationId xmlns:a16="http://schemas.microsoft.com/office/drawing/2014/main" id="{AA6BE325-DFAD-EA32-AD8F-B906719375E7}"/>
                  </a:ext>
                </a:extLst>
              </p:cNvPr>
              <p:cNvSpPr/>
              <p:nvPr/>
            </p:nvSpPr>
            <p:spPr>
              <a:xfrm>
                <a:off x="9690752" y="3512631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64" name="Oval 1063">
                <a:extLst>
                  <a:ext uri="{FF2B5EF4-FFF2-40B4-BE49-F238E27FC236}">
                    <a16:creationId xmlns:a16="http://schemas.microsoft.com/office/drawing/2014/main" id="{ACDE42CC-ACBA-BB29-238D-A3863C355469}"/>
                  </a:ext>
                </a:extLst>
              </p:cNvPr>
              <p:cNvSpPr/>
              <p:nvPr/>
            </p:nvSpPr>
            <p:spPr>
              <a:xfrm>
                <a:off x="10084884" y="3509259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65" name="Oval 1064">
                <a:extLst>
                  <a:ext uri="{FF2B5EF4-FFF2-40B4-BE49-F238E27FC236}">
                    <a16:creationId xmlns:a16="http://schemas.microsoft.com/office/drawing/2014/main" id="{2E9BF186-BA2F-38D5-4130-772C3AB86B3E}"/>
                  </a:ext>
                </a:extLst>
              </p:cNvPr>
              <p:cNvSpPr/>
              <p:nvPr/>
            </p:nvSpPr>
            <p:spPr>
              <a:xfrm>
                <a:off x="9057287" y="4732092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66" name="Oval 1065">
                <a:extLst>
                  <a:ext uri="{FF2B5EF4-FFF2-40B4-BE49-F238E27FC236}">
                    <a16:creationId xmlns:a16="http://schemas.microsoft.com/office/drawing/2014/main" id="{99CE810D-F05E-C20A-A2DC-DA9A8E2E4221}"/>
                  </a:ext>
                </a:extLst>
              </p:cNvPr>
              <p:cNvSpPr/>
              <p:nvPr/>
            </p:nvSpPr>
            <p:spPr>
              <a:xfrm>
                <a:off x="9311154" y="5409702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67" name="Oval 1066">
                <a:extLst>
                  <a:ext uri="{FF2B5EF4-FFF2-40B4-BE49-F238E27FC236}">
                    <a16:creationId xmlns:a16="http://schemas.microsoft.com/office/drawing/2014/main" id="{868AD401-F549-4161-A3FD-501113C197FC}"/>
                  </a:ext>
                </a:extLst>
              </p:cNvPr>
              <p:cNvSpPr/>
              <p:nvPr/>
            </p:nvSpPr>
            <p:spPr>
              <a:xfrm>
                <a:off x="10193621" y="5653640"/>
                <a:ext cx="72000" cy="72000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68" name="Oval 1067">
                <a:extLst>
                  <a:ext uri="{FF2B5EF4-FFF2-40B4-BE49-F238E27FC236}">
                    <a16:creationId xmlns:a16="http://schemas.microsoft.com/office/drawing/2014/main" id="{09463E77-A23C-ECEC-2391-7DB7E43F6816}"/>
                  </a:ext>
                </a:extLst>
              </p:cNvPr>
              <p:cNvSpPr/>
              <p:nvPr/>
            </p:nvSpPr>
            <p:spPr>
              <a:xfrm>
                <a:off x="6029993" y="3085324"/>
                <a:ext cx="162175" cy="162175"/>
              </a:xfrm>
              <a:prstGeom prst="ellipse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sp>
            <p:nvSpPr>
              <p:cNvPr id="1069" name="Oval 1068">
                <a:extLst>
                  <a:ext uri="{FF2B5EF4-FFF2-40B4-BE49-F238E27FC236}">
                    <a16:creationId xmlns:a16="http://schemas.microsoft.com/office/drawing/2014/main" id="{309B0C07-66ED-904C-7BE3-51745AF63BDF}"/>
                  </a:ext>
                </a:extLst>
              </p:cNvPr>
              <p:cNvSpPr/>
              <p:nvPr/>
            </p:nvSpPr>
            <p:spPr>
              <a:xfrm>
                <a:off x="11074990" y="5649232"/>
                <a:ext cx="72001" cy="7200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0026"/>
                </a:solidFill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PH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</p:grpSp>
        <p:pic>
          <p:nvPicPr>
            <p:cNvPr id="1003" name="Graphic 54">
              <a:extLst>
                <a:ext uri="{FF2B5EF4-FFF2-40B4-BE49-F238E27FC236}">
                  <a16:creationId xmlns:a16="http://schemas.microsoft.com/office/drawing/2014/main" id="{4D38C61C-4659-AFC6-5ACE-CB3D2B054A68}"/>
                </a:ext>
              </a:extLst>
            </p:cNvPr>
            <p:cNvPicPr/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777090" y="2623570"/>
              <a:ext cx="197293" cy="197293"/>
            </a:xfrm>
            <a:prstGeom prst="rect">
              <a:avLst/>
            </a:prstGeom>
          </p:spPr>
        </p:pic>
        <p:cxnSp>
          <p:nvCxnSpPr>
            <p:cNvPr id="1004" name="Straight Connector 1003">
              <a:extLst>
                <a:ext uri="{FF2B5EF4-FFF2-40B4-BE49-F238E27FC236}">
                  <a16:creationId xmlns:a16="http://schemas.microsoft.com/office/drawing/2014/main" id="{90EEAA64-3AD1-8742-00E0-62A563C7C2AF}"/>
                </a:ext>
              </a:extLst>
            </p:cNvPr>
            <p:cNvCxnSpPr/>
            <p:nvPr/>
          </p:nvCxnSpPr>
          <p:spPr>
            <a:xfrm>
              <a:off x="6669113" y="2581794"/>
              <a:ext cx="150795" cy="85977"/>
            </a:xfrm>
            <a:prstGeom prst="line">
              <a:avLst/>
            </a:prstGeom>
            <a:noFill/>
            <a:ln w="9525" cap="flat" cmpd="sng" algn="ctr">
              <a:solidFill>
                <a:srgbClr val="FF0026"/>
              </a:solidFill>
              <a:prstDash val="solid"/>
              <a:miter lim="800000"/>
            </a:ln>
            <a:effectLst/>
          </p:spPr>
        </p:cxnSp>
        <p:cxnSp>
          <p:nvCxnSpPr>
            <p:cNvPr id="1005" name="Straight Connector 1004">
              <a:extLst>
                <a:ext uri="{FF2B5EF4-FFF2-40B4-BE49-F238E27FC236}">
                  <a16:creationId xmlns:a16="http://schemas.microsoft.com/office/drawing/2014/main" id="{9BA5BC93-A78F-69F2-E724-7DBC858F5E23}"/>
                </a:ext>
              </a:extLst>
            </p:cNvPr>
            <p:cNvCxnSpPr>
              <a:stCxn id="1335" idx="23"/>
            </p:cNvCxnSpPr>
            <p:nvPr/>
          </p:nvCxnSpPr>
          <p:spPr>
            <a:xfrm flipH="1">
              <a:off x="4265769" y="2347264"/>
              <a:ext cx="141711" cy="131945"/>
            </a:xfrm>
            <a:prstGeom prst="line">
              <a:avLst/>
            </a:prstGeom>
            <a:noFill/>
            <a:ln w="9525" cap="flat" cmpd="sng" algn="ctr">
              <a:solidFill>
                <a:srgbClr val="FF0026"/>
              </a:solidFill>
              <a:prstDash val="solid"/>
              <a:miter lim="800000"/>
            </a:ln>
            <a:effectLst/>
          </p:spPr>
        </p:cxnSp>
        <p:grpSp>
          <p:nvGrpSpPr>
            <p:cNvPr id="1006" name="Group 1005">
              <a:extLst>
                <a:ext uri="{FF2B5EF4-FFF2-40B4-BE49-F238E27FC236}">
                  <a16:creationId xmlns:a16="http://schemas.microsoft.com/office/drawing/2014/main" id="{E5AFBE2A-70DC-B70A-6057-B7C31197EE72}"/>
                </a:ext>
              </a:extLst>
            </p:cNvPr>
            <p:cNvGrpSpPr/>
            <p:nvPr/>
          </p:nvGrpSpPr>
          <p:grpSpPr>
            <a:xfrm>
              <a:off x="3730053" y="3792874"/>
              <a:ext cx="266921" cy="373297"/>
              <a:chOff x="3006209" y="3574563"/>
              <a:chExt cx="233743" cy="326897"/>
            </a:xfrm>
          </p:grpSpPr>
          <p:sp>
            <p:nvSpPr>
              <p:cNvPr id="1013" name="Freeform: Shape 2084">
                <a:extLst>
                  <a:ext uri="{FF2B5EF4-FFF2-40B4-BE49-F238E27FC236}">
                    <a16:creationId xmlns:a16="http://schemas.microsoft.com/office/drawing/2014/main" id="{32CD0704-6ED9-3655-B2BF-5782F0A6EE65}"/>
                  </a:ext>
                </a:extLst>
              </p:cNvPr>
              <p:cNvSpPr/>
              <p:nvPr/>
            </p:nvSpPr>
            <p:spPr>
              <a:xfrm>
                <a:off x="3006209" y="3574563"/>
                <a:ext cx="233743" cy="326897"/>
              </a:xfrm>
              <a:custGeom>
                <a:avLst/>
                <a:gdLst>
                  <a:gd name="connsiteX0" fmla="*/ 233182 w 233743"/>
                  <a:gd name="connsiteY0" fmla="*/ 116467 h 326897"/>
                  <a:gd name="connsiteX1" fmla="*/ 116311 w 233743"/>
                  <a:gd name="connsiteY1" fmla="*/ 326493 h 326897"/>
                  <a:gd name="connsiteX2" fmla="*/ -561 w 233743"/>
                  <a:gd name="connsiteY2" fmla="*/ 116467 h 326897"/>
                  <a:gd name="connsiteX3" fmla="*/ 116311 w 233743"/>
                  <a:gd name="connsiteY3" fmla="*/ -405 h 326897"/>
                  <a:gd name="connsiteX4" fmla="*/ 233182 w 233743"/>
                  <a:gd name="connsiteY4" fmla="*/ 116467 h 326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3743" h="326897">
                    <a:moveTo>
                      <a:pt x="233182" y="116467"/>
                    </a:moveTo>
                    <a:cubicBezTo>
                      <a:pt x="233182" y="180951"/>
                      <a:pt x="116311" y="326493"/>
                      <a:pt x="116311" y="326493"/>
                    </a:cubicBezTo>
                    <a:cubicBezTo>
                      <a:pt x="116311" y="326493"/>
                      <a:pt x="-561" y="180951"/>
                      <a:pt x="-561" y="116467"/>
                    </a:cubicBezTo>
                    <a:cubicBezTo>
                      <a:pt x="-561" y="51916"/>
                      <a:pt x="51760" y="-405"/>
                      <a:pt x="116311" y="-405"/>
                    </a:cubicBezTo>
                    <a:cubicBezTo>
                      <a:pt x="180862" y="-405"/>
                      <a:pt x="233182" y="51916"/>
                      <a:pt x="233182" y="116467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9525" cap="flat">
                <a:solidFill>
                  <a:srgbClr val="B3B3B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endParaRPr>
              </a:p>
            </p:txBody>
          </p:sp>
          <p:pic>
            <p:nvPicPr>
              <p:cNvPr id="1014" name="Picture 2">
                <a:extLst>
                  <a:ext uri="{FF2B5EF4-FFF2-40B4-BE49-F238E27FC236}">
                    <a16:creationId xmlns:a16="http://schemas.microsoft.com/office/drawing/2014/main" id="{920D6291-9C55-3977-6050-4622EE8E7681}"/>
                  </a:ext>
                </a:extLst>
              </p:cNvPr>
              <p:cNvPicPr/>
              <p:nvPr/>
            </p:nvPicPr>
            <p:blipFill rotWithShape="1"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" t="1" r="2157" b="2157"/>
              <a:stretch/>
            </p:blipFill>
            <p:spPr bwMode="auto">
              <a:xfrm>
                <a:off x="3042891" y="3612483"/>
                <a:ext cx="160378" cy="160378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07" name="TextBox 1006">
              <a:extLst>
                <a:ext uri="{FF2B5EF4-FFF2-40B4-BE49-F238E27FC236}">
                  <a16:creationId xmlns:a16="http://schemas.microsoft.com/office/drawing/2014/main" id="{825D3B35-72EB-94B0-78C2-8E9DF2AC0E7B}"/>
                </a:ext>
              </a:extLst>
            </p:cNvPr>
            <p:cNvSpPr txBox="1"/>
            <p:nvPr/>
          </p:nvSpPr>
          <p:spPr>
            <a:xfrm>
              <a:off x="3799302" y="4315237"/>
              <a:ext cx="1573350" cy="37329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200" b="0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Sede centrale a</a:t>
              </a:r>
              <a:b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</a:br>
              <a:r>
                <a:rPr kumimoji="0" lang="it-IT" sz="14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Zurigo, Svizzera</a:t>
              </a:r>
            </a:p>
          </p:txBody>
        </p:sp>
        <p:cxnSp>
          <p:nvCxnSpPr>
            <p:cNvPr id="1008" name="Connector: Elbow 2079">
              <a:extLst>
                <a:ext uri="{FF2B5EF4-FFF2-40B4-BE49-F238E27FC236}">
                  <a16:creationId xmlns:a16="http://schemas.microsoft.com/office/drawing/2014/main" id="{2889F3B3-7AAD-9BB0-02B4-E054D59811A0}"/>
                </a:ext>
              </a:extLst>
            </p:cNvPr>
            <p:cNvCxnSpPr>
              <a:stCxn id="1013" idx="1"/>
            </p:cNvCxnSpPr>
            <p:nvPr/>
          </p:nvCxnSpPr>
          <p:spPr>
            <a:xfrm flipV="1">
              <a:off x="3862873" y="2581794"/>
              <a:ext cx="375540" cy="1583916"/>
            </a:xfrm>
            <a:prstGeom prst="bentConnector2">
              <a:avLst/>
            </a:prstGeom>
            <a:noFill/>
            <a:ln w="12700" cap="flat" cmpd="sng" algn="ctr">
              <a:solidFill>
                <a:srgbClr val="737373"/>
              </a:solidFill>
              <a:prstDash val="solid"/>
              <a:miter lim="800000"/>
            </a:ln>
            <a:effectLst/>
          </p:spPr>
        </p:cxnSp>
        <p:grpSp>
          <p:nvGrpSpPr>
            <p:cNvPr id="1009" name="Group 1008">
              <a:extLst>
                <a:ext uri="{FF2B5EF4-FFF2-40B4-BE49-F238E27FC236}">
                  <a16:creationId xmlns:a16="http://schemas.microsoft.com/office/drawing/2014/main" id="{8FD95528-EBD3-3A13-82EF-E39CC0883B17}"/>
                </a:ext>
              </a:extLst>
            </p:cNvPr>
            <p:cNvGrpSpPr/>
            <p:nvPr/>
          </p:nvGrpSpPr>
          <p:grpSpPr>
            <a:xfrm>
              <a:off x="469330" y="4006732"/>
              <a:ext cx="2103432" cy="561932"/>
              <a:chOff x="269742" y="4340941"/>
              <a:chExt cx="2254512" cy="602294"/>
            </a:xfrm>
          </p:grpSpPr>
          <p:sp>
            <p:nvSpPr>
              <p:cNvPr id="1010" name="object 123">
                <a:extLst>
                  <a:ext uri="{FF2B5EF4-FFF2-40B4-BE49-F238E27FC236}">
                    <a16:creationId xmlns:a16="http://schemas.microsoft.com/office/drawing/2014/main" id="{DD827678-9C0D-AE33-6E68-1B2D3616B5BA}"/>
                  </a:ext>
                </a:extLst>
              </p:cNvPr>
              <p:cNvSpPr txBox="1"/>
              <p:nvPr/>
            </p:nvSpPr>
            <p:spPr>
              <a:xfrm>
                <a:off x="492470" y="4340941"/>
                <a:ext cx="2031784" cy="602294"/>
              </a:xfrm>
              <a:prstGeom prst="rect">
                <a:avLst/>
              </a:prstGeom>
            </p:spPr>
            <p:txBody>
              <a:bodyPr vert="horz" wrap="square" lIns="0" tIns="10397" rIns="0" bIns="0" rtlCol="0">
                <a:spAutoFit/>
              </a:bodyPr>
              <a:lstStyle/>
              <a:p>
                <a:pPr marL="7701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82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000" b="0" i="0" u="none" strike="noStrike" kern="0" cap="none" spc="55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it-IT" sz="1000" b="0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Siti di produzione</a:t>
                </a:r>
                <a:r>
                  <a:rPr kumimoji="0" lang="it-IT" sz="1000" b="0" i="0" u="none" strike="noStrike" kern="0" cap="none" spc="52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it-IT" sz="1000" b="0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Posizione approssimativa</a:t>
                </a:r>
                <a:r>
                  <a:rPr kumimoji="0" lang="it-IT" sz="1000" b="0" i="0" u="none" strike="noStrike" kern="0" cap="none" spc="58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 </a:t>
                </a:r>
              </a:p>
              <a:p>
                <a:pPr marL="10782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67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000" b="0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Paesi</a:t>
                </a:r>
                <a:r>
                  <a:rPr kumimoji="0" lang="it-IT" sz="1000" b="0" i="0" u="none" strike="noStrike" kern="0" cap="none" spc="36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it-IT" sz="1000" b="0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di</a:t>
                </a:r>
                <a:r>
                  <a:rPr kumimoji="0" lang="it-IT" sz="1000" b="0" i="0" u="none" strike="noStrike" kern="0" cap="none" spc="36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it-IT" sz="1000" b="0" i="0" u="none" strike="noStrike" kern="0" cap="none" spc="-6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operazione</a:t>
                </a:r>
              </a:p>
            </p:txBody>
          </p:sp>
          <p:pic>
            <p:nvPicPr>
              <p:cNvPr id="1011" name="object 124">
                <a:extLst>
                  <a:ext uri="{FF2B5EF4-FFF2-40B4-BE49-F238E27FC236}">
                    <a16:creationId xmlns:a16="http://schemas.microsoft.com/office/drawing/2014/main" id="{A46E38D8-0BD2-C61F-FA88-5BFB80F12B19}"/>
                  </a:ext>
                </a:extLst>
              </p:cNvPr>
              <p:cNvPicPr/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8016" y="4781165"/>
                <a:ext cx="126546" cy="129378"/>
              </a:xfrm>
              <a:prstGeom prst="rect">
                <a:avLst/>
              </a:prstGeom>
            </p:spPr>
          </p:pic>
          <p:pic>
            <p:nvPicPr>
              <p:cNvPr id="1012" name="object 125">
                <a:extLst>
                  <a:ext uri="{FF2B5EF4-FFF2-40B4-BE49-F238E27FC236}">
                    <a16:creationId xmlns:a16="http://schemas.microsoft.com/office/drawing/2014/main" id="{0860168A-1723-B3EE-A0BF-5EA7CF8CA3B9}"/>
                  </a:ext>
                </a:extLst>
              </p:cNvPr>
              <p:cNvPicPr/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9742" y="4379912"/>
                <a:ext cx="141252" cy="144084"/>
              </a:xfrm>
              <a:prstGeom prst="rect">
                <a:avLst/>
              </a:prstGeom>
            </p:spPr>
          </p:pic>
        </p:grpSp>
      </p:grpSp>
      <p:grpSp>
        <p:nvGrpSpPr>
          <p:cNvPr id="1519" name="Group 1518">
            <a:extLst>
              <a:ext uri="{FF2B5EF4-FFF2-40B4-BE49-F238E27FC236}">
                <a16:creationId xmlns:a16="http://schemas.microsoft.com/office/drawing/2014/main" id="{D282A0F0-51B3-0943-ACAE-A70235243C0A}"/>
              </a:ext>
            </a:extLst>
          </p:cNvPr>
          <p:cNvGrpSpPr/>
          <p:nvPr/>
        </p:nvGrpSpPr>
        <p:grpSpPr>
          <a:xfrm>
            <a:off x="469899" y="4960638"/>
            <a:ext cx="11248871" cy="1246825"/>
            <a:chOff x="263525" y="4978975"/>
            <a:chExt cx="11666853" cy="1293155"/>
          </a:xfrm>
        </p:grpSpPr>
        <p:sp>
          <p:nvSpPr>
            <p:cNvPr id="1508" name="Content Placeholder 3">
              <a:extLst>
                <a:ext uri="{FF2B5EF4-FFF2-40B4-BE49-F238E27FC236}">
                  <a16:creationId xmlns:a16="http://schemas.microsoft.com/office/drawing/2014/main" id="{84BB9E5C-0922-64B8-30C9-2E637D5587A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488906" y="5473808"/>
              <a:ext cx="2193206" cy="670347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Verdana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195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srgbClr val="D2D2D2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■ </a:t>
              </a: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Servizi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srgbClr val="B3B3B3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■</a:t>
              </a: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srgbClr val="D2D2D2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 </a:t>
              </a: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Software e automazion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srgbClr val="747474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■ </a:t>
              </a: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Sistemi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srgbClr val="FF0026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■</a:t>
              </a: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 Prodotti</a:t>
              </a:r>
            </a:p>
          </p:txBody>
        </p:sp>
        <p:sp>
          <p:nvSpPr>
            <p:cNvPr id="1509" name="Rectangle 1508">
              <a:extLst>
                <a:ext uri="{FF2B5EF4-FFF2-40B4-BE49-F238E27FC236}">
                  <a16:creationId xmlns:a16="http://schemas.microsoft.com/office/drawing/2014/main" id="{8B7A184B-EE8E-8CFB-7555-75524C376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3341" y="4978975"/>
              <a:ext cx="3807220" cy="269300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it-IT" sz="1200" b="1" i="0" u="none" strike="noStrike" kern="1200" cap="none" spc="0" normalizeH="0" baseline="0">
                  <a:ln>
                    <a:noFill/>
                  </a:ln>
                  <a:solidFill>
                    <a:srgbClr val="FA000F"/>
                  </a:solidFill>
                  <a:effectLst/>
                  <a:uLnTx/>
                  <a:uFillTx/>
                  <a:latin typeface="Hitachi Sans"/>
                  <a:ea typeface="HGPｺﾞｼｯｸE" pitchFamily="50" charset="-128"/>
                  <a:cs typeface="+mn-cs"/>
                </a:rPr>
                <a:t>Offerta</a:t>
              </a:r>
            </a:p>
          </p:txBody>
        </p:sp>
        <p:sp>
          <p:nvSpPr>
            <p:cNvPr id="1510" name="Rectangle 1509">
              <a:extLst>
                <a:ext uri="{FF2B5EF4-FFF2-40B4-BE49-F238E27FC236}">
                  <a16:creationId xmlns:a16="http://schemas.microsoft.com/office/drawing/2014/main" id="{A1078EAC-D1BC-9F39-47E4-45845A90A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3158" y="4978975"/>
              <a:ext cx="3807220" cy="269300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it-IT" sz="1200" b="1" i="0" u="none" strike="noStrike" kern="1200" cap="none" spc="0" normalizeH="0" baseline="0">
                  <a:ln>
                    <a:noFill/>
                  </a:ln>
                  <a:solidFill>
                    <a:srgbClr val="FA000F"/>
                  </a:solidFill>
                  <a:effectLst/>
                  <a:uLnTx/>
                  <a:uFillTx/>
                  <a:latin typeface="Hitachi Sans"/>
                  <a:ea typeface="HGPｺﾞｼｯｸE" pitchFamily="50" charset="-128"/>
                  <a:cs typeface="+mn-cs"/>
                </a:rPr>
                <a:t>Geografie</a:t>
              </a:r>
            </a:p>
          </p:txBody>
        </p:sp>
        <p:sp>
          <p:nvSpPr>
            <p:cNvPr id="1511" name="Content Placeholder 3">
              <a:extLst>
                <a:ext uri="{FF2B5EF4-FFF2-40B4-BE49-F238E27FC236}">
                  <a16:creationId xmlns:a16="http://schemas.microsoft.com/office/drawing/2014/main" id="{3019836E-F514-E0ED-AA6C-B2AF62A958C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418724" y="5557602"/>
              <a:ext cx="2193206" cy="50276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Verdana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195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srgbClr val="D2D2D2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■ </a:t>
              </a: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Asia, Medio Oriente e Africa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srgbClr val="747474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■ </a:t>
              </a: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Americh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srgbClr val="FF0026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■</a:t>
              </a:r>
              <a:r>
                <a:rPr kumimoji="0" lang="it-IT" sz="1050" b="0" i="0" u="none" strike="noStrike" kern="120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 Europa</a:t>
              </a:r>
            </a:p>
          </p:txBody>
        </p:sp>
        <p:grpSp>
          <p:nvGrpSpPr>
            <p:cNvPr id="1512" name="Group 1511">
              <a:extLst>
                <a:ext uri="{FF2B5EF4-FFF2-40B4-BE49-F238E27FC236}">
                  <a16:creationId xmlns:a16="http://schemas.microsoft.com/office/drawing/2014/main" id="{7A7DADED-632C-A6FE-C04C-A24A3917B53B}"/>
                </a:ext>
              </a:extLst>
            </p:cNvPr>
            <p:cNvGrpSpPr>
              <a:grpSpLocks/>
            </p:cNvGrpSpPr>
            <p:nvPr/>
          </p:nvGrpSpPr>
          <p:grpSpPr>
            <a:xfrm>
              <a:off x="573663" y="5284702"/>
              <a:ext cx="3186945" cy="877317"/>
              <a:chOff x="263524" y="1373504"/>
              <a:chExt cx="3186945" cy="877317"/>
            </a:xfrm>
          </p:grpSpPr>
          <p:graphicFrame>
            <p:nvGraphicFramePr>
              <p:cNvPr id="1513" name="Chart 84">
                <a:extLst>
                  <a:ext uri="{FF2B5EF4-FFF2-40B4-BE49-F238E27FC236}">
                    <a16:creationId xmlns:a16="http://schemas.microsoft.com/office/drawing/2014/main" id="{DA399095-CC18-05B7-7C01-669E77F4D82E}"/>
                  </a:ext>
                </a:extLst>
              </p:cNvPr>
              <p:cNvGraphicFramePr>
                <a:graphicFrameLocks/>
              </p:cNvGraphicFramePr>
              <p:nvPr>
                <p:custDataLst>
                  <p:tags r:id="rId6"/>
                </p:custDataLst>
              </p:nvPr>
            </p:nvGraphicFramePr>
            <p:xfrm>
              <a:off x="263524" y="1373504"/>
              <a:ext cx="877315" cy="87731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8"/>
              </a:graphicData>
            </a:graphic>
          </p:graphicFrame>
          <p:sp>
            <p:nvSpPr>
              <p:cNvPr id="1514" name="Content Placeholder 3">
                <a:extLst>
                  <a:ext uri="{FF2B5EF4-FFF2-40B4-BE49-F238E27FC236}">
                    <a16:creationId xmlns:a16="http://schemas.microsoft.com/office/drawing/2014/main" id="{4B31CE34-F5E7-E048-329A-B0A66A8D8E6C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257263" y="1646402"/>
                <a:ext cx="2193206" cy="502760"/>
              </a:xfrm>
              <a:prstGeom prst="rect">
                <a:avLst/>
              </a:prstGeom>
            </p:spPr>
            <p:txBody>
              <a:bodyPr wrap="square" lIns="0" tIns="0" rIns="0" bIns="0" anchor="ctr">
                <a:sp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None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Verdana" panose="020D0603020503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195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36195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36195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050" b="0" i="0" u="none" strike="noStrike" kern="1200" cap="none" spc="0" normalizeH="0" baseline="0" dirty="0">
                    <a:ln>
                      <a:noFill/>
                    </a:ln>
                    <a:solidFill>
                      <a:srgbClr val="D2D2D2"/>
                    </a:solidFill>
                    <a:effectLst/>
                    <a:uLnTx/>
                    <a:uFillTx/>
                    <a:latin typeface="Hitachi Sans"/>
                    <a:ea typeface="+mn-ea"/>
                    <a:cs typeface="+mn-cs"/>
                  </a:rPr>
                  <a:t>■ </a:t>
                </a:r>
                <a:r>
                  <a:rPr kumimoji="0" lang="it-IT" sz="105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+mn-cs"/>
                  </a:rPr>
                  <a:t>Trasporti e infrastruttur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050" b="0" i="0" u="none" strike="noStrike" kern="1200" cap="none" spc="0" normalizeH="0" baseline="0" dirty="0">
                    <a:ln>
                      <a:noFill/>
                    </a:ln>
                    <a:solidFill>
                      <a:srgbClr val="747474"/>
                    </a:solidFill>
                    <a:effectLst/>
                    <a:uLnTx/>
                    <a:uFillTx/>
                    <a:latin typeface="Hitachi Sans"/>
                    <a:ea typeface="+mn-ea"/>
                    <a:cs typeface="+mn-cs"/>
                  </a:rPr>
                  <a:t>■ </a:t>
                </a:r>
                <a:r>
                  <a:rPr kumimoji="0" lang="it-IT" sz="105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+mn-cs"/>
                  </a:rPr>
                  <a:t>Industria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050" b="0" i="0" u="none" strike="noStrike" kern="1200" cap="none" spc="0" normalizeH="0" baseline="0" dirty="0">
                    <a:ln>
                      <a:noFill/>
                    </a:ln>
                    <a:solidFill>
                      <a:srgbClr val="FF0026"/>
                    </a:solidFill>
                    <a:effectLst/>
                    <a:uLnTx/>
                    <a:uFillTx/>
                    <a:latin typeface="Hitachi Sans"/>
                    <a:ea typeface="+mn-ea"/>
                    <a:cs typeface="+mn-cs"/>
                  </a:rPr>
                  <a:t>■</a:t>
                </a:r>
                <a:r>
                  <a:rPr kumimoji="0" lang="it-IT" sz="105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+mn-cs"/>
                  </a:rPr>
                  <a:t> Utility</a:t>
                </a:r>
              </a:p>
            </p:txBody>
          </p:sp>
        </p:grpSp>
        <p:sp>
          <p:nvSpPr>
            <p:cNvPr id="1515" name="Rectangle 1514">
              <a:extLst>
                <a:ext uri="{FF2B5EF4-FFF2-40B4-BE49-F238E27FC236}">
                  <a16:creationId xmlns:a16="http://schemas.microsoft.com/office/drawing/2014/main" id="{2DC4BCD2-12E9-70AF-639D-AE454D55B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25" y="4978975"/>
              <a:ext cx="3807220" cy="269300"/>
            </a:xfrm>
            <a:prstGeom prst="rect">
              <a:avLst/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rtlCol="0" anchor="ctr" anchorCtr="0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it-IT" sz="1200" b="1" i="0" u="none" strike="noStrike" kern="1200" cap="none" spc="0" normalizeH="0" baseline="0">
                  <a:ln>
                    <a:noFill/>
                  </a:ln>
                  <a:solidFill>
                    <a:srgbClr val="FA000F"/>
                  </a:solidFill>
                  <a:effectLst/>
                  <a:uLnTx/>
                  <a:uFillTx/>
                  <a:latin typeface="Hitachi Sans"/>
                  <a:ea typeface="HGPｺﾞｼｯｸE" pitchFamily="50" charset="-128"/>
                  <a:cs typeface="+mn-cs"/>
                </a:rPr>
                <a:t>Clienti</a:t>
              </a:r>
            </a:p>
          </p:txBody>
        </p:sp>
        <p:graphicFrame>
          <p:nvGraphicFramePr>
            <p:cNvPr id="1516" name="Chart 84">
              <a:extLst>
                <a:ext uri="{FF2B5EF4-FFF2-40B4-BE49-F238E27FC236}">
                  <a16:creationId xmlns:a16="http://schemas.microsoft.com/office/drawing/2014/main" id="{52065944-DC55-E2DD-BC92-655A1FE05448}"/>
                </a:ext>
              </a:extLst>
            </p:cNvPr>
            <p:cNvGraphicFramePr>
              <a:graphicFrameLocks/>
            </p:cNvGraphicFramePr>
            <p:nvPr>
              <p:custDataLst>
                <p:tags r:id="rId3"/>
              </p:custDataLst>
            </p:nvPr>
          </p:nvGraphicFramePr>
          <p:xfrm>
            <a:off x="591335" y="5375476"/>
            <a:ext cx="877315" cy="8773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graphicFrame>
          <p:nvGraphicFramePr>
            <p:cNvPr id="1517" name="Chart 1516">
              <a:extLst>
                <a:ext uri="{FF2B5EF4-FFF2-40B4-BE49-F238E27FC236}">
                  <a16:creationId xmlns:a16="http://schemas.microsoft.com/office/drawing/2014/main" id="{11F8C4BB-3CDA-FC29-42FF-C984D2D010F1}"/>
                </a:ext>
              </a:extLst>
            </p:cNvPr>
            <p:cNvGraphicFramePr>
              <a:graphicFrameLocks/>
            </p:cNvGraphicFramePr>
            <p:nvPr>
              <p:custDataLst>
                <p:tags r:id="rId4"/>
              </p:custDataLst>
            </p:nvPr>
          </p:nvGraphicFramePr>
          <p:xfrm>
            <a:off x="4472483" y="5394813"/>
            <a:ext cx="877315" cy="8773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0"/>
            </a:graphicData>
          </a:graphic>
        </p:graphicFrame>
        <p:graphicFrame>
          <p:nvGraphicFramePr>
            <p:cNvPr id="1518" name="Chart 98">
              <a:extLst>
                <a:ext uri="{FF2B5EF4-FFF2-40B4-BE49-F238E27FC236}">
                  <a16:creationId xmlns:a16="http://schemas.microsoft.com/office/drawing/2014/main" id="{11A59693-D59A-B578-8CBD-EF5C74EA4333}"/>
                </a:ext>
              </a:extLst>
            </p:cNvPr>
            <p:cNvGraphicFramePr>
              <a:graphicFrameLocks/>
            </p:cNvGraphicFramePr>
            <p:nvPr>
              <p:custDataLst>
                <p:tags r:id="rId5"/>
              </p:custDataLst>
            </p:nvPr>
          </p:nvGraphicFramePr>
          <p:xfrm>
            <a:off x="8431032" y="5392119"/>
            <a:ext cx="877317" cy="8773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1"/>
            </a:graphicData>
          </a:graphic>
        </p:graphicFrame>
      </p:grpSp>
      <p:sp>
        <p:nvSpPr>
          <p:cNvPr id="1495" name="Rectangle 1494">
            <a:extLst>
              <a:ext uri="{FF2B5EF4-FFF2-40B4-BE49-F238E27FC236}">
                <a16:creationId xmlns:a16="http://schemas.microsoft.com/office/drawing/2014/main" id="{8EBBDB1A-9786-1A92-13B5-F2F733C5E073}"/>
              </a:ext>
            </a:extLst>
          </p:cNvPr>
          <p:cNvSpPr>
            <a:spLocks/>
          </p:cNvSpPr>
          <p:nvPr/>
        </p:nvSpPr>
        <p:spPr bwMode="auto">
          <a:xfrm>
            <a:off x="8091979" y="2689341"/>
            <a:ext cx="3626791" cy="36388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2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Arial" panose="020B0604020202020204" pitchFamily="34" charset="0"/>
              </a:rPr>
              <a:t>~</a:t>
            </a:r>
            <a:r>
              <a:rPr kumimoji="0" lang="it-IT" sz="12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Arial" panose="020B0604020202020204" pitchFamily="34" charset="0"/>
              </a:rPr>
              <a:t>13 miliardi di $ 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Arial" panose="020B0604020202020204" pitchFamily="34" charset="0"/>
              </a:rPr>
              <a:t>USD di volumi d'affari</a:t>
            </a:r>
          </a:p>
        </p:txBody>
      </p:sp>
      <p:grpSp>
        <p:nvGrpSpPr>
          <p:cNvPr id="1496" name="Group 1495">
            <a:extLst>
              <a:ext uri="{FF2B5EF4-FFF2-40B4-BE49-F238E27FC236}">
                <a16:creationId xmlns:a16="http://schemas.microsoft.com/office/drawing/2014/main" id="{23E24060-3697-4257-4C61-2D57D439C246}"/>
              </a:ext>
            </a:extLst>
          </p:cNvPr>
          <p:cNvGrpSpPr>
            <a:grpSpLocks/>
          </p:cNvGrpSpPr>
          <p:nvPr/>
        </p:nvGrpSpPr>
        <p:grpSpPr>
          <a:xfrm>
            <a:off x="8083515" y="698500"/>
            <a:ext cx="3638590" cy="1894719"/>
            <a:chOff x="8692213" y="961785"/>
            <a:chExt cx="3238166" cy="2110177"/>
          </a:xfrm>
        </p:grpSpPr>
        <p:grpSp>
          <p:nvGrpSpPr>
            <p:cNvPr id="1497" name="Group 1496">
              <a:extLst>
                <a:ext uri="{FF2B5EF4-FFF2-40B4-BE49-F238E27FC236}">
                  <a16:creationId xmlns:a16="http://schemas.microsoft.com/office/drawing/2014/main" id="{0A3D2D47-760F-C70E-0603-CBDE197CEEF8}"/>
                </a:ext>
              </a:extLst>
            </p:cNvPr>
            <p:cNvGrpSpPr>
              <a:grpSpLocks/>
            </p:cNvGrpSpPr>
            <p:nvPr/>
          </p:nvGrpSpPr>
          <p:grpSpPr>
            <a:xfrm>
              <a:off x="8699749" y="1667123"/>
              <a:ext cx="3230630" cy="717670"/>
              <a:chOff x="8699749" y="1795787"/>
              <a:chExt cx="3230630" cy="746171"/>
            </a:xfrm>
          </p:grpSpPr>
          <p:sp>
            <p:nvSpPr>
              <p:cNvPr id="1504" name="Content Placeholder 8">
                <a:extLst>
                  <a:ext uri="{FF2B5EF4-FFF2-40B4-BE49-F238E27FC236}">
                    <a16:creationId xmlns:a16="http://schemas.microsoft.com/office/drawing/2014/main" id="{FEDCA7C7-6959-44E0-241A-99F805AB1047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699749" y="1795787"/>
                <a:ext cx="1572219" cy="746170"/>
              </a:xfrm>
              <a:prstGeom prst="rect">
                <a:avLst/>
              </a:prstGeom>
              <a:solidFill>
                <a:schemeClr val="accent6"/>
              </a:solidFill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8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600" b="1" i="0" u="none" strike="noStrike" kern="120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HGPｺﾞｼｯｸE" pitchFamily="50" charset="-128"/>
                    <a:cs typeface="Arial" panose="020B0604020202020204" pitchFamily="34" charset="0"/>
                  </a:rPr>
                  <a:t>60</a:t>
                </a:r>
                <a:b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HGPｺﾞｼｯｸE" pitchFamily="50" charset="-128"/>
                    <a:cs typeface="Arial" panose="020B0604020202020204" pitchFamily="34" charset="0"/>
                  </a:rPr>
                </a:br>
                <a:r>
                  <a:rPr kumimoji="0" lang="it-IT" sz="1200" b="0" i="0" u="none" strike="noStrike" kern="120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HGPｺﾞｼｯｸE" pitchFamily="50" charset="-128"/>
                    <a:cs typeface="Arial" panose="020B0604020202020204" pitchFamily="34" charset="0"/>
                  </a:rPr>
                  <a:t>countries</a:t>
                </a:r>
              </a:p>
            </p:txBody>
          </p:sp>
          <p:sp>
            <p:nvSpPr>
              <p:cNvPr id="1505" name="Text Placeholder 9">
                <a:extLst>
                  <a:ext uri="{FF2B5EF4-FFF2-40B4-BE49-F238E27FC236}">
                    <a16:creationId xmlns:a16="http://schemas.microsoft.com/office/drawing/2014/main" id="{6EF37F41-2763-7C35-D395-14367112FE94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0354859" y="1795788"/>
                <a:ext cx="1575520" cy="746170"/>
              </a:xfrm>
              <a:prstGeom prst="rect">
                <a:avLst/>
              </a:prstGeom>
              <a:solidFill>
                <a:schemeClr val="accent6"/>
              </a:solidFill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Verdana" panose="020D0603020503020204" pitchFamily="34" charset="0"/>
                  <a:buNone/>
                  <a:defRPr sz="16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600" b="1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250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200" b="0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anni di eredità combinati</a:t>
                </a:r>
              </a:p>
            </p:txBody>
          </p:sp>
        </p:grpSp>
        <p:grpSp>
          <p:nvGrpSpPr>
            <p:cNvPr id="1498" name="Group 1497">
              <a:extLst>
                <a:ext uri="{FF2B5EF4-FFF2-40B4-BE49-F238E27FC236}">
                  <a16:creationId xmlns:a16="http://schemas.microsoft.com/office/drawing/2014/main" id="{F83FF9D7-01D8-083B-831F-9DB9C9255579}"/>
                </a:ext>
              </a:extLst>
            </p:cNvPr>
            <p:cNvGrpSpPr>
              <a:grpSpLocks/>
            </p:cNvGrpSpPr>
            <p:nvPr/>
          </p:nvGrpSpPr>
          <p:grpSpPr>
            <a:xfrm>
              <a:off x="8699748" y="2475646"/>
              <a:ext cx="3230631" cy="596316"/>
              <a:chOff x="8699748" y="2725111"/>
              <a:chExt cx="3230631" cy="746169"/>
            </a:xfrm>
          </p:grpSpPr>
          <p:sp>
            <p:nvSpPr>
              <p:cNvPr id="1502" name="Text Placeholder 9">
                <a:extLst>
                  <a:ext uri="{FF2B5EF4-FFF2-40B4-BE49-F238E27FC236}">
                    <a16:creationId xmlns:a16="http://schemas.microsoft.com/office/drawing/2014/main" id="{DC9342B3-9CB9-B4C5-6BE7-B7D4B53F8AB0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699748" y="2725111"/>
                <a:ext cx="1556242" cy="746169"/>
              </a:xfrm>
              <a:prstGeom prst="rect">
                <a:avLst/>
              </a:prstGeom>
              <a:solidFill>
                <a:schemeClr val="accent6"/>
              </a:solidFill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Verdana" panose="020D0603020503020204" pitchFamily="34" charset="0"/>
                  <a:buNone/>
                  <a:defRPr sz="16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600" b="1" i="0" u="none" strike="noStrike" kern="120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1,800+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200" b="0" i="0" u="none" strike="noStrike" kern="120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HGPｺﾞｼｯｸE" pitchFamily="50" charset="-128"/>
                    <a:cs typeface="Arial" panose="020B0604020202020204" pitchFamily="34" charset="0"/>
                  </a:rPr>
                  <a:t>ingegneri di campo</a:t>
                </a:r>
              </a:p>
            </p:txBody>
          </p:sp>
          <p:sp>
            <p:nvSpPr>
              <p:cNvPr id="1503" name="Text Placeholder 9">
                <a:extLst>
                  <a:ext uri="{FF2B5EF4-FFF2-40B4-BE49-F238E27FC236}">
                    <a16:creationId xmlns:a16="http://schemas.microsoft.com/office/drawing/2014/main" id="{CD68BCB3-9252-1BB4-9C78-61699A710708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0354859" y="2727264"/>
                <a:ext cx="1575520" cy="744015"/>
              </a:xfrm>
              <a:prstGeom prst="rect">
                <a:avLst/>
              </a:prstGeom>
              <a:solidFill>
                <a:schemeClr val="accent6"/>
              </a:solidFill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Verdana" panose="020D0603020503020204" pitchFamily="34" charset="0"/>
                  <a:buNone/>
                  <a:defRPr sz="16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914400" rtl="0" eaLnBrk="1" latinLnBrk="0" hangingPunct="1">
                  <a:lnSpc>
                    <a:spcPct val="100000"/>
                  </a:lnSpc>
                  <a:spcBef>
                    <a:spcPts val="10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600" b="1" i="0" u="none" strike="noStrike" kern="120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2,600+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200" b="0" i="0" u="none" strike="noStrike" kern="120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HGPｺﾞｼｯｸE" pitchFamily="50" charset="-128"/>
                    <a:cs typeface="Arial" panose="020B0604020202020204" pitchFamily="34" charset="0"/>
                  </a:rPr>
                  <a:t>Esperti di R&amp;S</a:t>
                </a:r>
              </a:p>
            </p:txBody>
          </p:sp>
        </p:grpSp>
        <p:grpSp>
          <p:nvGrpSpPr>
            <p:cNvPr id="1499" name="Group 1498">
              <a:extLst>
                <a:ext uri="{FF2B5EF4-FFF2-40B4-BE49-F238E27FC236}">
                  <a16:creationId xmlns:a16="http://schemas.microsoft.com/office/drawing/2014/main" id="{FC9C90C8-085C-CC42-C6E1-53BC732F3746}"/>
                </a:ext>
              </a:extLst>
            </p:cNvPr>
            <p:cNvGrpSpPr>
              <a:grpSpLocks/>
            </p:cNvGrpSpPr>
            <p:nvPr/>
          </p:nvGrpSpPr>
          <p:grpSpPr>
            <a:xfrm>
              <a:off x="8692213" y="961785"/>
              <a:ext cx="3233785" cy="596317"/>
              <a:chOff x="8692213" y="953835"/>
              <a:chExt cx="3233785" cy="487982"/>
            </a:xfrm>
          </p:grpSpPr>
          <p:sp>
            <p:nvSpPr>
              <p:cNvPr id="1500" name="TextBox 1499">
                <a:extLst>
                  <a:ext uri="{FF2B5EF4-FFF2-40B4-BE49-F238E27FC236}">
                    <a16:creationId xmlns:a16="http://schemas.microsoft.com/office/drawing/2014/main" id="{1ED661E8-967D-A89F-8205-3896B517792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692213" y="953835"/>
                <a:ext cx="1579755" cy="487982"/>
              </a:xfrm>
              <a:prstGeom prst="rect">
                <a:avLst/>
              </a:prstGeom>
              <a:solidFill>
                <a:srgbClr val="FF0026"/>
              </a:solidFill>
            </p:spPr>
            <p:txBody>
              <a:bodyPr vert="horz" wrap="square" lIns="91440" tIns="91440" rIns="91440" bIns="91440" rtlCol="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~</a:t>
                </a:r>
                <a:r>
                  <a:rPr kumimoji="0" lang="it-IT" sz="1600" b="1" i="0" u="none" strike="noStrike" kern="120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45.000 </a:t>
                </a:r>
                <a:r>
                  <a:rPr kumimoji="0" lang="it-IT" sz="16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it-IT" sz="1200" b="0" i="0" u="none" strike="noStrike" kern="120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itachi Sans"/>
                    <a:ea typeface="+mn-ea"/>
                    <a:cs typeface="Arial" panose="020B0604020202020204" pitchFamily="34" charset="0"/>
                  </a:rPr>
                  <a:t>dipendenti</a:t>
                </a:r>
              </a:p>
            </p:txBody>
          </p:sp>
          <p:sp>
            <p:nvSpPr>
              <p:cNvPr id="1501" name="Content Placeholder 8">
                <a:extLst>
                  <a:ext uri="{FF2B5EF4-FFF2-40B4-BE49-F238E27FC236}">
                    <a16:creationId xmlns:a16="http://schemas.microsoft.com/office/drawing/2014/main" id="{FC1A4BD1-C04D-1F2B-1DCC-FA45DA536E2D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0353779" y="957633"/>
                <a:ext cx="1572219" cy="481913"/>
              </a:xfrm>
              <a:prstGeom prst="rect">
                <a:avLst/>
              </a:prstGeom>
              <a:solidFill>
                <a:schemeClr val="accent6"/>
              </a:solidFill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8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600" b="1" i="0" u="none" strike="noStrike" kern="120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HGPｺﾞｼｯｸE" pitchFamily="50" charset="-128"/>
                    <a:cs typeface="Arial" panose="020B0604020202020204" pitchFamily="34" charset="0"/>
                  </a:rPr>
                  <a:t>150</a:t>
                </a:r>
                <a:b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HGPｺﾞｼｯｸE" pitchFamily="50" charset="-128"/>
                    <a:cs typeface="Arial" panose="020B0604020202020204" pitchFamily="34" charset="0"/>
                  </a:rPr>
                </a:br>
                <a:r>
                  <a:rPr kumimoji="0" lang="it-IT" sz="1200" b="0" i="0" u="none" strike="noStrike" kern="120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HGPｺﾞｼｯｸE" pitchFamily="50" charset="-128"/>
                    <a:cs typeface="Arial" panose="020B0604020202020204" pitchFamily="34" charset="0"/>
                  </a:rPr>
                  <a:t>nationalities</a:t>
                </a:r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9D5BEF2-E17B-95F8-70FB-348BDF33B5DC}"/>
              </a:ext>
            </a:extLst>
          </p:cNvPr>
          <p:cNvGrpSpPr/>
          <p:nvPr/>
        </p:nvGrpSpPr>
        <p:grpSpPr>
          <a:xfrm>
            <a:off x="8121772" y="3186684"/>
            <a:ext cx="3595408" cy="1583916"/>
            <a:chOff x="8121772" y="3186684"/>
            <a:chExt cx="3595408" cy="158391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5774EAF-F845-0E51-AC4B-C09EA10CB860}"/>
                </a:ext>
              </a:extLst>
            </p:cNvPr>
            <p:cNvSpPr/>
            <p:nvPr/>
          </p:nvSpPr>
          <p:spPr>
            <a:xfrm>
              <a:off x="8121772" y="3186684"/>
              <a:ext cx="3595408" cy="1583916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endParaRPr>
            </a:p>
          </p:txBody>
        </p:sp>
        <p:sp>
          <p:nvSpPr>
            <p:cNvPr id="1490" name="Content Placeholder 8">
              <a:extLst>
                <a:ext uri="{FF2B5EF4-FFF2-40B4-BE49-F238E27FC236}">
                  <a16:creationId xmlns:a16="http://schemas.microsoft.com/office/drawing/2014/main" id="{7DB52920-4900-B356-B932-2FCC18C87955}"/>
                </a:ext>
              </a:extLst>
            </p:cNvPr>
            <p:cNvSpPr txBox="1">
              <a:spLocks/>
            </p:cNvSpPr>
            <p:nvPr/>
          </p:nvSpPr>
          <p:spPr bwMode="gray">
            <a:xfrm rot="16200000">
              <a:off x="7488091" y="3820366"/>
              <a:ext cx="1583915" cy="31655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2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Unità aziendali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AA3B97A-82F7-0AEA-3310-BA250D0A1561}"/>
                </a:ext>
              </a:extLst>
            </p:cNvPr>
            <p:cNvGrpSpPr/>
            <p:nvPr/>
          </p:nvGrpSpPr>
          <p:grpSpPr>
            <a:xfrm>
              <a:off x="8497956" y="3279912"/>
              <a:ext cx="3125857" cy="1408621"/>
              <a:chOff x="8438325" y="3186685"/>
              <a:chExt cx="3280445" cy="1583935"/>
            </a:xfrm>
          </p:grpSpPr>
          <p:sp>
            <p:nvSpPr>
              <p:cNvPr id="1491" name="Content Placeholder 8">
                <a:extLst>
                  <a:ext uri="{FF2B5EF4-FFF2-40B4-BE49-F238E27FC236}">
                    <a16:creationId xmlns:a16="http://schemas.microsoft.com/office/drawing/2014/main" id="{FF497CD9-9B17-65A6-B3B3-DCBE4DCDDEC5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438325" y="3186685"/>
                <a:ext cx="3280445" cy="25965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8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200" b="1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+mn-cs"/>
                  </a:rPr>
                  <a:t>Automazione della griglia</a:t>
                </a:r>
              </a:p>
            </p:txBody>
          </p:sp>
          <p:sp>
            <p:nvSpPr>
              <p:cNvPr id="1492" name="Content Placeholder 8">
                <a:extLst>
                  <a:ext uri="{FF2B5EF4-FFF2-40B4-BE49-F238E27FC236}">
                    <a16:creationId xmlns:a16="http://schemas.microsoft.com/office/drawing/2014/main" id="{DF59362C-928B-A463-E47B-D42BAD261A54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438325" y="3510075"/>
                <a:ext cx="3280445" cy="25965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8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200" b="1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+mn-cs"/>
                  </a:rPr>
                  <a:t>Integrazione della griglia</a:t>
                </a:r>
              </a:p>
            </p:txBody>
          </p:sp>
          <p:sp>
            <p:nvSpPr>
              <p:cNvPr id="1493" name="Content Placeholder 8">
                <a:extLst>
                  <a:ext uri="{FF2B5EF4-FFF2-40B4-BE49-F238E27FC236}">
                    <a16:creationId xmlns:a16="http://schemas.microsoft.com/office/drawing/2014/main" id="{A272B4D0-9A59-39A6-95B9-38258E10820C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438325" y="3833465"/>
                <a:ext cx="3280445" cy="29037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8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200" b="1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+mn-cs"/>
                  </a:rPr>
                  <a:t>Prodotti ad alta tensione</a:t>
                </a:r>
              </a:p>
            </p:txBody>
          </p:sp>
          <p:sp>
            <p:nvSpPr>
              <p:cNvPr id="1494" name="Content Placeholder 8">
                <a:extLst>
                  <a:ext uri="{FF2B5EF4-FFF2-40B4-BE49-F238E27FC236}">
                    <a16:creationId xmlns:a16="http://schemas.microsoft.com/office/drawing/2014/main" id="{3D641C1A-E132-1E46-D979-41CB7391DCF8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438325" y="4510968"/>
                <a:ext cx="3280445" cy="25965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8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200" b="1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+mn-cs"/>
                  </a:rPr>
                  <a:t>Trasformatori</a:t>
                </a:r>
              </a:p>
            </p:txBody>
          </p:sp>
          <p:sp>
            <p:nvSpPr>
              <p:cNvPr id="1520" name="Content Placeholder 8">
                <a:extLst>
                  <a:ext uri="{FF2B5EF4-FFF2-40B4-BE49-F238E27FC236}">
                    <a16:creationId xmlns:a16="http://schemas.microsoft.com/office/drawing/2014/main" id="{E6F0E08A-613F-FF56-5424-65314F1894FA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438325" y="4187577"/>
                <a:ext cx="3280445" cy="25965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8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sz="1200" b="1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Hitachi Sans"/>
                    <a:ea typeface="+mn-ea"/>
                    <a:cs typeface="+mn-cs"/>
                  </a:rPr>
                  <a:t>Servizio</a:t>
                </a:r>
              </a:p>
            </p:txBody>
          </p:sp>
        </p:grpSp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8105239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AF0C44-2DD0-6CB2-44EA-07AD16705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CC30D0C-4B9C-00E6-D1F0-7D245DAE7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Hitachi Energy   |   Company Present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AB8D8F-1572-46DB-3133-2D5157A9A2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F4BC05-462B-4F19-BE6B-A1043C81AA78}" type="slidenum">
              <a:rPr kumimoji="0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sz="800" b="1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2DB480E-D9D2-7D6B-A101-5CAA620CD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4" y="403200"/>
            <a:ext cx="9863736" cy="304699"/>
          </a:xfrm>
        </p:spPr>
        <p:txBody>
          <a:bodyPr/>
          <a:lstStyle/>
          <a:p>
            <a:pPr rtl="0"/>
            <a:r>
              <a:rPr lang="it-IT" dirty="0"/>
              <a:t>Hitachi Energy – </a:t>
            </a:r>
            <a:r>
              <a:rPr lang="it-IT" b="0" i="0" dirty="0">
                <a:solidFill>
                  <a:srgbClr val="000000"/>
                </a:solidFill>
                <a:effectLst/>
                <a:latin typeface="Segoe UI Web (West European)"/>
              </a:rPr>
              <a:t>Leader tecnologico globale in tutte le business unit</a:t>
            </a:r>
            <a:endParaRPr lang="it-IT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51C04F9-BBFA-5B98-65D3-D6F42C93B673}"/>
              </a:ext>
            </a:extLst>
          </p:cNvPr>
          <p:cNvGrpSpPr/>
          <p:nvPr/>
        </p:nvGrpSpPr>
        <p:grpSpPr>
          <a:xfrm>
            <a:off x="1614403" y="3594405"/>
            <a:ext cx="781993" cy="781993"/>
            <a:chOff x="1747528" y="4522711"/>
            <a:chExt cx="1005840" cy="1005840"/>
          </a:xfrm>
        </p:grpSpPr>
        <p:graphicFrame>
          <p:nvGraphicFramePr>
            <p:cNvPr id="69" name="Chart 54">
              <a:extLst>
                <a:ext uri="{FF2B5EF4-FFF2-40B4-BE49-F238E27FC236}">
                  <a16:creationId xmlns:a16="http://schemas.microsoft.com/office/drawing/2014/main" id="{F975B187-BAFF-B223-A9F4-F16E9050B74B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7"/>
              </p:custDataLst>
            </p:nvPr>
          </p:nvGraphicFramePr>
          <p:xfrm>
            <a:off x="1747528" y="4522711"/>
            <a:ext cx="1005840" cy="10058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70" name="TextBox 79">
              <a:extLst>
                <a:ext uri="{FF2B5EF4-FFF2-40B4-BE49-F238E27FC236}">
                  <a16:creationId xmlns:a16="http://schemas.microsoft.com/office/drawing/2014/main" id="{8431C393-F950-96E0-6CC8-A05FEC324DDA}"/>
                </a:ext>
              </a:extLst>
            </p:cNvPr>
            <p:cNvSpPr txBox="1"/>
            <p:nvPr/>
          </p:nvSpPr>
          <p:spPr>
            <a:xfrm>
              <a:off x="2106477" y="4887442"/>
              <a:ext cx="227625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>
                  <a:ln>
                    <a:noFill/>
                  </a:ln>
                  <a:solidFill>
                    <a:srgbClr val="FF0026"/>
                  </a:solidFill>
                  <a:effectLst/>
                  <a:uLnTx/>
                  <a:uFillTx/>
                  <a:latin typeface="Hitachi Sans"/>
                  <a:ea typeface="Yu Gothic UI"/>
                  <a:cs typeface="+mn-cs"/>
                </a:rPr>
                <a:t>#2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5CB59E6-0D47-D399-0B0E-BC97A4FAEE33}"/>
              </a:ext>
            </a:extLst>
          </p:cNvPr>
          <p:cNvGrpSpPr/>
          <p:nvPr/>
        </p:nvGrpSpPr>
        <p:grpSpPr>
          <a:xfrm>
            <a:off x="3818972" y="3603633"/>
            <a:ext cx="781993" cy="781993"/>
            <a:chOff x="4583159" y="4552869"/>
            <a:chExt cx="1005840" cy="1005840"/>
          </a:xfrm>
        </p:grpSpPr>
        <p:graphicFrame>
          <p:nvGraphicFramePr>
            <p:cNvPr id="67" name="Chart 55">
              <a:extLst>
                <a:ext uri="{FF2B5EF4-FFF2-40B4-BE49-F238E27FC236}">
                  <a16:creationId xmlns:a16="http://schemas.microsoft.com/office/drawing/2014/main" id="{0B56BCA9-CD23-7646-D285-09B9D9576280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6"/>
              </p:custDataLst>
            </p:nvPr>
          </p:nvGraphicFramePr>
          <p:xfrm>
            <a:off x="4583159" y="4552869"/>
            <a:ext cx="1005840" cy="10058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68" name="TextBox 80">
              <a:extLst>
                <a:ext uri="{FF2B5EF4-FFF2-40B4-BE49-F238E27FC236}">
                  <a16:creationId xmlns:a16="http://schemas.microsoft.com/office/drawing/2014/main" id="{231384D5-F1ED-393B-E9B9-A9E44F29AB78}"/>
                </a:ext>
              </a:extLst>
            </p:cNvPr>
            <p:cNvSpPr txBox="1"/>
            <p:nvPr/>
          </p:nvSpPr>
          <p:spPr>
            <a:xfrm>
              <a:off x="4942109" y="4902521"/>
              <a:ext cx="227625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>
                  <a:ln>
                    <a:noFill/>
                  </a:ln>
                  <a:solidFill>
                    <a:srgbClr val="FF0026"/>
                  </a:solidFill>
                  <a:effectLst/>
                  <a:uLnTx/>
                  <a:uFillTx/>
                  <a:latin typeface="Hitachi Sans"/>
                  <a:ea typeface="Yu Gothic UI"/>
                  <a:cs typeface="+mn-cs"/>
                </a:rPr>
                <a:t>#2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1CDA091-CC21-E908-37A4-D7F2FA151D77}"/>
              </a:ext>
            </a:extLst>
          </p:cNvPr>
          <p:cNvGrpSpPr/>
          <p:nvPr/>
        </p:nvGrpSpPr>
        <p:grpSpPr>
          <a:xfrm>
            <a:off x="6184478" y="3596649"/>
            <a:ext cx="781993" cy="781993"/>
            <a:chOff x="7625795" y="4537790"/>
            <a:chExt cx="1005840" cy="1005840"/>
          </a:xfrm>
        </p:grpSpPr>
        <p:graphicFrame>
          <p:nvGraphicFramePr>
            <p:cNvPr id="63" name="Chart 56">
              <a:extLst>
                <a:ext uri="{FF2B5EF4-FFF2-40B4-BE49-F238E27FC236}">
                  <a16:creationId xmlns:a16="http://schemas.microsoft.com/office/drawing/2014/main" id="{E23BBA26-C581-46AD-802B-F9263C672BB0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5"/>
              </p:custDataLst>
            </p:nvPr>
          </p:nvGraphicFramePr>
          <p:xfrm>
            <a:off x="7625795" y="4537790"/>
            <a:ext cx="1005840" cy="10058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64" name="TextBox 82">
              <a:extLst>
                <a:ext uri="{FF2B5EF4-FFF2-40B4-BE49-F238E27FC236}">
                  <a16:creationId xmlns:a16="http://schemas.microsoft.com/office/drawing/2014/main" id="{0A8A4457-ED88-9EF6-7E33-BF82DB32B352}"/>
                </a:ext>
              </a:extLst>
            </p:cNvPr>
            <p:cNvSpPr txBox="1"/>
            <p:nvPr/>
          </p:nvSpPr>
          <p:spPr>
            <a:xfrm>
              <a:off x="7999823" y="4902521"/>
              <a:ext cx="227625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>
                  <a:ln>
                    <a:noFill/>
                  </a:ln>
                  <a:solidFill>
                    <a:srgbClr val="FF0026"/>
                  </a:solidFill>
                  <a:effectLst/>
                  <a:uLnTx/>
                  <a:uFillTx/>
                  <a:latin typeface="Hitachi Sans"/>
                  <a:ea typeface="Yu Gothic UI"/>
                  <a:cs typeface="+mn-cs"/>
                </a:rPr>
                <a:t>#1</a:t>
              </a:r>
            </a:p>
          </p:txBody>
        </p:sp>
      </p:grpSp>
      <p:sp>
        <p:nvSpPr>
          <p:cNvPr id="53" name="TextBox 50">
            <a:extLst>
              <a:ext uri="{FF2B5EF4-FFF2-40B4-BE49-F238E27FC236}">
                <a16:creationId xmlns:a16="http://schemas.microsoft.com/office/drawing/2014/main" id="{6EFB733E-8BA6-5024-AA8C-ED06AE91F2F1}"/>
              </a:ext>
            </a:extLst>
          </p:cNvPr>
          <p:cNvSpPr txBox="1"/>
          <p:nvPr/>
        </p:nvSpPr>
        <p:spPr>
          <a:xfrm>
            <a:off x="6184468" y="4410679"/>
            <a:ext cx="751808" cy="1261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900" b="1" i="0" u="none" strike="noStrike" kern="1200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Market share</a:t>
            </a:r>
          </a:p>
        </p:txBody>
      </p:sp>
      <p:sp>
        <p:nvSpPr>
          <p:cNvPr id="54" name="TextBox 51">
            <a:extLst>
              <a:ext uri="{FF2B5EF4-FFF2-40B4-BE49-F238E27FC236}">
                <a16:creationId xmlns:a16="http://schemas.microsoft.com/office/drawing/2014/main" id="{8FF72DC6-F666-0D5C-65F9-50C585A3AD2B}"/>
              </a:ext>
            </a:extLst>
          </p:cNvPr>
          <p:cNvSpPr txBox="1"/>
          <p:nvPr/>
        </p:nvSpPr>
        <p:spPr>
          <a:xfrm>
            <a:off x="5334808" y="4410679"/>
            <a:ext cx="557845" cy="1261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900" b="1" i="0" u="none" strike="noStrike" kern="1200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Revenues</a:t>
            </a:r>
          </a:p>
        </p:txBody>
      </p:sp>
      <p:sp>
        <p:nvSpPr>
          <p:cNvPr id="55" name="TextBox 50">
            <a:extLst>
              <a:ext uri="{FF2B5EF4-FFF2-40B4-BE49-F238E27FC236}">
                <a16:creationId xmlns:a16="http://schemas.microsoft.com/office/drawing/2014/main" id="{EB3B8B7A-E6E9-D175-F15A-80B4EF3BAED6}"/>
              </a:ext>
            </a:extLst>
          </p:cNvPr>
          <p:cNvSpPr txBox="1"/>
          <p:nvPr/>
        </p:nvSpPr>
        <p:spPr>
          <a:xfrm>
            <a:off x="3807099" y="4410679"/>
            <a:ext cx="835165" cy="1261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900" b="1" i="0" u="none" strike="noStrike" kern="1200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Market share</a:t>
            </a:r>
            <a:r>
              <a:rPr kumimoji="1" lang="it-IT" sz="900" b="1" i="0" u="none" strike="noStrike" kern="1200" cap="none" spc="0" normalizeH="0" baseline="3000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4</a:t>
            </a:r>
            <a:r>
              <a:rPr kumimoji="1" lang="it-IT" sz="900" b="1" i="0" u="none" strike="noStrike" kern="1200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 </a:t>
            </a:r>
          </a:p>
        </p:txBody>
      </p:sp>
      <p:sp>
        <p:nvSpPr>
          <p:cNvPr id="56" name="TextBox 51">
            <a:extLst>
              <a:ext uri="{FF2B5EF4-FFF2-40B4-BE49-F238E27FC236}">
                <a16:creationId xmlns:a16="http://schemas.microsoft.com/office/drawing/2014/main" id="{74DA7E6F-FB8F-7D2D-B399-89013D2489B0}"/>
              </a:ext>
            </a:extLst>
          </p:cNvPr>
          <p:cNvSpPr txBox="1"/>
          <p:nvPr/>
        </p:nvSpPr>
        <p:spPr>
          <a:xfrm>
            <a:off x="2999118" y="4410679"/>
            <a:ext cx="557845" cy="1261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900" b="1" i="0" u="none" strike="noStrike" kern="1200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Revenues</a:t>
            </a:r>
          </a:p>
        </p:txBody>
      </p:sp>
      <p:sp>
        <p:nvSpPr>
          <p:cNvPr id="57" name="TextBox 50">
            <a:extLst>
              <a:ext uri="{FF2B5EF4-FFF2-40B4-BE49-F238E27FC236}">
                <a16:creationId xmlns:a16="http://schemas.microsoft.com/office/drawing/2014/main" id="{49D62365-E59A-7559-795B-0466717D2640}"/>
              </a:ext>
            </a:extLst>
          </p:cNvPr>
          <p:cNvSpPr txBox="1"/>
          <p:nvPr/>
        </p:nvSpPr>
        <p:spPr>
          <a:xfrm>
            <a:off x="1655395" y="4410679"/>
            <a:ext cx="751808" cy="1261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900" b="1" i="0" u="none" strike="noStrike" kern="1200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Market share</a:t>
            </a:r>
          </a:p>
        </p:txBody>
      </p:sp>
      <p:sp>
        <p:nvSpPr>
          <p:cNvPr id="58" name="TextBox 51">
            <a:extLst>
              <a:ext uri="{FF2B5EF4-FFF2-40B4-BE49-F238E27FC236}">
                <a16:creationId xmlns:a16="http://schemas.microsoft.com/office/drawing/2014/main" id="{BAA3B679-9F09-D139-7E20-EE7E3D7789BF}"/>
              </a:ext>
            </a:extLst>
          </p:cNvPr>
          <p:cNvSpPr txBox="1"/>
          <p:nvPr/>
        </p:nvSpPr>
        <p:spPr>
          <a:xfrm>
            <a:off x="788617" y="4410679"/>
            <a:ext cx="557845" cy="1261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900" b="1" i="0" u="none" strike="noStrike" kern="1200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Revenues</a:t>
            </a:r>
          </a:p>
        </p:txBody>
      </p:sp>
      <p:graphicFrame>
        <p:nvGraphicFramePr>
          <p:cNvPr id="59" name="Chart 46">
            <a:extLst>
              <a:ext uri="{FF2B5EF4-FFF2-40B4-BE49-F238E27FC236}">
                <a16:creationId xmlns:a16="http://schemas.microsoft.com/office/drawing/2014/main" id="{0520D9DE-676D-26A0-7B01-BA222B6E1E6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66226894"/>
              </p:ext>
            </p:extLst>
          </p:nvPr>
        </p:nvGraphicFramePr>
        <p:xfrm>
          <a:off x="689075" y="3556490"/>
          <a:ext cx="781993" cy="781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60" name="Chart 46">
            <a:extLst>
              <a:ext uri="{FF2B5EF4-FFF2-40B4-BE49-F238E27FC236}">
                <a16:creationId xmlns:a16="http://schemas.microsoft.com/office/drawing/2014/main" id="{7AF44EEC-63A1-76C3-74BB-EFE554529AA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63643699"/>
              </p:ext>
            </p:extLst>
          </p:nvPr>
        </p:nvGraphicFramePr>
        <p:xfrm>
          <a:off x="2896323" y="3556490"/>
          <a:ext cx="781993" cy="781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61" name="Chart 46">
            <a:extLst>
              <a:ext uri="{FF2B5EF4-FFF2-40B4-BE49-F238E27FC236}">
                <a16:creationId xmlns:a16="http://schemas.microsoft.com/office/drawing/2014/main" id="{26560B9B-2AF3-1A5E-34E7-095C0B0446A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61997162"/>
              </p:ext>
            </p:extLst>
          </p:nvPr>
        </p:nvGraphicFramePr>
        <p:xfrm>
          <a:off x="5219877" y="3556490"/>
          <a:ext cx="781993" cy="781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C8F83E3A-361F-B647-774E-1CF237AB2FF1}"/>
              </a:ext>
            </a:extLst>
          </p:cNvPr>
          <p:cNvSpPr txBox="1">
            <a:spLocks/>
          </p:cNvSpPr>
          <p:nvPr/>
        </p:nvSpPr>
        <p:spPr>
          <a:xfrm>
            <a:off x="0" y="5622820"/>
            <a:ext cx="12192000" cy="539974"/>
          </a:xfrm>
          <a:prstGeom prst="rect">
            <a:avLst/>
          </a:prstGeom>
          <a:gradFill>
            <a:gsLst>
              <a:gs pos="100000">
                <a:schemeClr val="bg2"/>
              </a:gs>
              <a:gs pos="0">
                <a:schemeClr val="accent1"/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Promuovere l'innovazione, le tecnologie e le soluzioni all'avanguardi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mantenendo e modernizzando al contempo la più grande base installata del mondo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590E6F3-CC14-CE08-6AC2-A2BEE62B661C}"/>
              </a:ext>
            </a:extLst>
          </p:cNvPr>
          <p:cNvCxnSpPr/>
          <p:nvPr/>
        </p:nvCxnSpPr>
        <p:spPr>
          <a:xfrm>
            <a:off x="2672627" y="1153831"/>
            <a:ext cx="0" cy="4313114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56882F1-C438-B27D-1D8D-6A34C151C394}"/>
              </a:ext>
            </a:extLst>
          </p:cNvPr>
          <p:cNvCxnSpPr/>
          <p:nvPr/>
        </p:nvCxnSpPr>
        <p:spPr>
          <a:xfrm>
            <a:off x="4954577" y="1153831"/>
            <a:ext cx="0" cy="4313114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4" name="Picture Placeholder 50">
            <a:extLst>
              <a:ext uri="{FF2B5EF4-FFF2-40B4-BE49-F238E27FC236}">
                <a16:creationId xmlns:a16="http://schemas.microsoft.com/office/drawing/2014/main" id="{BD00C92B-BB34-C970-7E16-EBD48484859A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2438" y="1160830"/>
            <a:ext cx="2134988" cy="1536822"/>
          </a:xfrm>
          <a:prstGeom prst="rect">
            <a:avLst/>
          </a:prstGeom>
        </p:spPr>
      </p:pic>
      <p:pic>
        <p:nvPicPr>
          <p:cNvPr id="75" name="Picture Placeholder 50">
            <a:extLst>
              <a:ext uri="{FF2B5EF4-FFF2-40B4-BE49-F238E27FC236}">
                <a16:creationId xmlns:a16="http://schemas.microsoft.com/office/drawing/2014/main" id="{7142535F-9B15-10D0-E05A-C9809A402459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18958" y="1160830"/>
            <a:ext cx="2134988" cy="1536822"/>
          </a:xfrm>
          <a:prstGeom prst="rect">
            <a:avLst/>
          </a:prstGeom>
        </p:spPr>
      </p:pic>
      <p:pic>
        <p:nvPicPr>
          <p:cNvPr id="76" name="Picture Placeholder 50">
            <a:extLst>
              <a:ext uri="{FF2B5EF4-FFF2-40B4-BE49-F238E27FC236}">
                <a16:creationId xmlns:a16="http://schemas.microsoft.com/office/drawing/2014/main" id="{6963613D-6349-A266-798A-2609AEB47DB6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45698" y="1153831"/>
            <a:ext cx="2134988" cy="1543821"/>
          </a:xfrm>
          <a:prstGeom prst="rect">
            <a:avLst/>
          </a:prstGeom>
        </p:spPr>
      </p:pic>
      <p:sp>
        <p:nvSpPr>
          <p:cNvPr id="78" name="TextBox 63">
            <a:extLst>
              <a:ext uri="{FF2B5EF4-FFF2-40B4-BE49-F238E27FC236}">
                <a16:creationId xmlns:a16="http://schemas.microsoft.com/office/drawing/2014/main" id="{1951188F-9824-12B4-EEE8-453B1A676D9F}"/>
              </a:ext>
            </a:extLst>
          </p:cNvPr>
          <p:cNvSpPr txBox="1"/>
          <p:nvPr/>
        </p:nvSpPr>
        <p:spPr>
          <a:xfrm>
            <a:off x="469928" y="1829562"/>
            <a:ext cx="2137498" cy="872278"/>
          </a:xfrm>
          <a:prstGeom prst="rect">
            <a:avLst/>
          </a:prstGeom>
          <a:gradFill flip="none" rotWithShape="1">
            <a:gsLst>
              <a:gs pos="34000">
                <a:schemeClr val="tx1">
                  <a:alpha val="71277"/>
                </a:schemeClr>
              </a:gs>
              <a:gs pos="100000">
                <a:schemeClr val="tx1">
                  <a:lumMod val="0"/>
                  <a:lumOff val="100000"/>
                  <a:alpha val="0"/>
                </a:schemeClr>
              </a:gs>
            </a:gsLst>
            <a:lin ang="16200000" scaled="1"/>
            <a:tileRect/>
          </a:gradFill>
        </p:spPr>
        <p:txBody>
          <a:bodyPr wrap="square" lIns="144000" bIns="144000" anchor="b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Grid Automation</a:t>
            </a:r>
          </a:p>
        </p:txBody>
      </p:sp>
      <p:sp>
        <p:nvSpPr>
          <p:cNvPr id="79" name="TextBox 63">
            <a:extLst>
              <a:ext uri="{FF2B5EF4-FFF2-40B4-BE49-F238E27FC236}">
                <a16:creationId xmlns:a16="http://schemas.microsoft.com/office/drawing/2014/main" id="{81B29297-F110-29C8-B5F4-DB9AA648B25B}"/>
              </a:ext>
            </a:extLst>
          </p:cNvPr>
          <p:cNvSpPr txBox="1"/>
          <p:nvPr/>
        </p:nvSpPr>
        <p:spPr>
          <a:xfrm>
            <a:off x="2734895" y="1829562"/>
            <a:ext cx="2148302" cy="872278"/>
          </a:xfrm>
          <a:prstGeom prst="rect">
            <a:avLst/>
          </a:prstGeom>
          <a:gradFill flip="none" rotWithShape="1">
            <a:gsLst>
              <a:gs pos="34000">
                <a:schemeClr val="tx1">
                  <a:alpha val="71277"/>
                </a:schemeClr>
              </a:gs>
              <a:gs pos="100000">
                <a:schemeClr val="tx1">
                  <a:lumMod val="0"/>
                  <a:lumOff val="100000"/>
                  <a:alpha val="0"/>
                </a:schemeClr>
              </a:gs>
            </a:gsLst>
            <a:lin ang="16200000" scaled="1"/>
            <a:tileRect/>
          </a:gradFill>
        </p:spPr>
        <p:txBody>
          <a:bodyPr wrap="square" lIns="144000" bIns="144000" anchor="b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Grid Integration</a:t>
            </a:r>
          </a:p>
        </p:txBody>
      </p:sp>
      <p:sp>
        <p:nvSpPr>
          <p:cNvPr id="80" name="TextBox 63">
            <a:extLst>
              <a:ext uri="{FF2B5EF4-FFF2-40B4-BE49-F238E27FC236}">
                <a16:creationId xmlns:a16="http://schemas.microsoft.com/office/drawing/2014/main" id="{83D0C646-5641-80E7-0DEE-8D43C881C6EC}"/>
              </a:ext>
            </a:extLst>
          </p:cNvPr>
          <p:cNvSpPr txBox="1"/>
          <p:nvPr/>
        </p:nvSpPr>
        <p:spPr>
          <a:xfrm>
            <a:off x="5017366" y="1829562"/>
            <a:ext cx="2148302" cy="872278"/>
          </a:xfrm>
          <a:prstGeom prst="rect">
            <a:avLst/>
          </a:prstGeom>
          <a:gradFill flip="none" rotWithShape="1">
            <a:gsLst>
              <a:gs pos="34000">
                <a:schemeClr val="tx1">
                  <a:alpha val="71277"/>
                </a:schemeClr>
              </a:gs>
              <a:gs pos="100000">
                <a:schemeClr val="tx1">
                  <a:lumMod val="0"/>
                  <a:lumOff val="100000"/>
                  <a:alpha val="0"/>
                </a:schemeClr>
              </a:gs>
            </a:gsLst>
            <a:lin ang="16200000" scaled="1"/>
            <a:tileRect/>
          </a:gradFill>
        </p:spPr>
        <p:txBody>
          <a:bodyPr wrap="square" lIns="144000" bIns="144000" anchor="b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High Voltage Products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447BEB3-BCB0-9931-E2D7-8A32999568F0}"/>
              </a:ext>
            </a:extLst>
          </p:cNvPr>
          <p:cNvGrpSpPr/>
          <p:nvPr/>
        </p:nvGrpSpPr>
        <p:grpSpPr>
          <a:xfrm>
            <a:off x="10720733" y="3603633"/>
            <a:ext cx="781993" cy="781993"/>
            <a:chOff x="10491171" y="4552869"/>
            <a:chExt cx="1005840" cy="1005840"/>
          </a:xfrm>
        </p:grpSpPr>
        <p:graphicFrame>
          <p:nvGraphicFramePr>
            <p:cNvPr id="65" name="Chart 57">
              <a:extLst>
                <a:ext uri="{FF2B5EF4-FFF2-40B4-BE49-F238E27FC236}">
                  <a16:creationId xmlns:a16="http://schemas.microsoft.com/office/drawing/2014/main" id="{84F9A9D9-78D6-C5B0-D301-D3104919FFDC}"/>
                </a:ext>
              </a:extLst>
            </p:cNvPr>
            <p:cNvGraphicFramePr>
              <a:graphicFrameLocks/>
            </p:cNvGraphicFramePr>
            <p:nvPr>
              <p:custDataLst>
                <p:tags r:id="rId4"/>
              </p:custDataLst>
            </p:nvPr>
          </p:nvGraphicFramePr>
          <p:xfrm>
            <a:off x="10491171" y="4552869"/>
            <a:ext cx="1005840" cy="10058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sp>
          <p:nvSpPr>
            <p:cNvPr id="66" name="TextBox 81">
              <a:extLst>
                <a:ext uri="{FF2B5EF4-FFF2-40B4-BE49-F238E27FC236}">
                  <a16:creationId xmlns:a16="http://schemas.microsoft.com/office/drawing/2014/main" id="{9F20B53E-606C-05FB-9FE8-B26B7EEF7C17}"/>
                </a:ext>
              </a:extLst>
            </p:cNvPr>
            <p:cNvSpPr txBox="1"/>
            <p:nvPr/>
          </p:nvSpPr>
          <p:spPr>
            <a:xfrm>
              <a:off x="10864055" y="4902521"/>
              <a:ext cx="227625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>
                  <a:ln>
                    <a:noFill/>
                  </a:ln>
                  <a:solidFill>
                    <a:srgbClr val="FF0026"/>
                  </a:solidFill>
                  <a:effectLst/>
                  <a:uLnTx/>
                  <a:uFillTx/>
                  <a:latin typeface="Hitachi Sans"/>
                  <a:ea typeface="Yu Gothic UI"/>
                  <a:cs typeface="+mn-cs"/>
                </a:rPr>
                <a:t>#1</a:t>
              </a: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33388D52-EF27-A60E-9D08-74B0F47D03AE}"/>
              </a:ext>
            </a:extLst>
          </p:cNvPr>
          <p:cNvSpPr txBox="1"/>
          <p:nvPr/>
        </p:nvSpPr>
        <p:spPr>
          <a:xfrm>
            <a:off x="10735824" y="4410679"/>
            <a:ext cx="751808" cy="1261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900" b="1" i="0" u="none" strike="noStrike" kern="1200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Market sha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507E40F-59BA-C0BF-7FFC-6DD2981FDB46}"/>
              </a:ext>
            </a:extLst>
          </p:cNvPr>
          <p:cNvSpPr txBox="1"/>
          <p:nvPr/>
        </p:nvSpPr>
        <p:spPr>
          <a:xfrm>
            <a:off x="9921261" y="4410679"/>
            <a:ext cx="557845" cy="1261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900" b="1" i="0" u="none" strike="noStrike" kern="1200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Revenues</a:t>
            </a:r>
          </a:p>
        </p:txBody>
      </p:sp>
      <p:graphicFrame>
        <p:nvGraphicFramePr>
          <p:cNvPr id="62" name="Chart 46">
            <a:extLst>
              <a:ext uri="{FF2B5EF4-FFF2-40B4-BE49-F238E27FC236}">
                <a16:creationId xmlns:a16="http://schemas.microsoft.com/office/drawing/2014/main" id="{0CED2B9E-EFD9-3C00-3D01-B82942133C0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27986294"/>
              </p:ext>
            </p:extLst>
          </p:nvPr>
        </p:nvGraphicFramePr>
        <p:xfrm>
          <a:off x="9809189" y="3556490"/>
          <a:ext cx="781993" cy="781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772675A-771B-F916-1EAF-5EF8CCE6F134}"/>
              </a:ext>
            </a:extLst>
          </p:cNvPr>
          <p:cNvCxnSpPr/>
          <p:nvPr/>
        </p:nvCxnSpPr>
        <p:spPr>
          <a:xfrm>
            <a:off x="9542408" y="1153831"/>
            <a:ext cx="0" cy="4313114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7" name="Picture Placeholder 50">
            <a:extLst>
              <a:ext uri="{FF2B5EF4-FFF2-40B4-BE49-F238E27FC236}">
                <a16:creationId xmlns:a16="http://schemas.microsoft.com/office/drawing/2014/main" id="{D577DEF1-4B1C-4359-C519-B863140B8C28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00778" y="1160830"/>
            <a:ext cx="2111793" cy="1533998"/>
          </a:xfrm>
          <a:prstGeom prst="rect">
            <a:avLst/>
          </a:prstGeom>
        </p:spPr>
      </p:pic>
      <p:sp>
        <p:nvSpPr>
          <p:cNvPr id="81" name="TextBox 63">
            <a:extLst>
              <a:ext uri="{FF2B5EF4-FFF2-40B4-BE49-F238E27FC236}">
                <a16:creationId xmlns:a16="http://schemas.microsoft.com/office/drawing/2014/main" id="{51016674-F8E9-529D-C414-38F49F6C1EED}"/>
              </a:ext>
            </a:extLst>
          </p:cNvPr>
          <p:cNvSpPr txBox="1"/>
          <p:nvPr/>
        </p:nvSpPr>
        <p:spPr>
          <a:xfrm>
            <a:off x="9600779" y="1829562"/>
            <a:ext cx="2111796" cy="872278"/>
          </a:xfrm>
          <a:prstGeom prst="rect">
            <a:avLst/>
          </a:prstGeom>
          <a:gradFill flip="none" rotWithShape="1">
            <a:gsLst>
              <a:gs pos="34000">
                <a:schemeClr val="tx1">
                  <a:alpha val="71277"/>
                </a:schemeClr>
              </a:gs>
              <a:gs pos="100000">
                <a:schemeClr val="tx1">
                  <a:lumMod val="0"/>
                  <a:lumOff val="100000"/>
                  <a:alpha val="0"/>
                </a:schemeClr>
              </a:gs>
            </a:gsLst>
            <a:lin ang="16200000" scaled="1"/>
            <a:tileRect/>
          </a:gradFill>
        </p:spPr>
        <p:txBody>
          <a:bodyPr wrap="square" lIns="144000" bIns="144000" anchor="b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Transformers 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F553B29-71CA-923B-0307-9916067DAAA9}"/>
              </a:ext>
            </a:extLst>
          </p:cNvPr>
          <p:cNvCxnSpPr/>
          <p:nvPr/>
        </p:nvCxnSpPr>
        <p:spPr>
          <a:xfrm>
            <a:off x="7245273" y="1153831"/>
            <a:ext cx="0" cy="4313114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Placeholder 50">
            <a:extLst>
              <a:ext uri="{FF2B5EF4-FFF2-40B4-BE49-F238E27FC236}">
                <a16:creationId xmlns:a16="http://schemas.microsoft.com/office/drawing/2014/main" id="{03923845-255A-1E6E-A924-0FD7864149D8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20582" y="1160830"/>
            <a:ext cx="2148300" cy="1530888"/>
          </a:xfrm>
          <a:prstGeom prst="rect">
            <a:avLst/>
          </a:prstGeom>
        </p:spPr>
      </p:pic>
      <p:sp>
        <p:nvSpPr>
          <p:cNvPr id="21" name="TextBox 63">
            <a:extLst>
              <a:ext uri="{FF2B5EF4-FFF2-40B4-BE49-F238E27FC236}">
                <a16:creationId xmlns:a16="http://schemas.microsoft.com/office/drawing/2014/main" id="{E6E3F371-7CCB-822B-EFF9-1A2C6BE0C9BF}"/>
              </a:ext>
            </a:extLst>
          </p:cNvPr>
          <p:cNvSpPr txBox="1"/>
          <p:nvPr/>
        </p:nvSpPr>
        <p:spPr>
          <a:xfrm>
            <a:off x="7320580" y="1818140"/>
            <a:ext cx="2148302" cy="883699"/>
          </a:xfrm>
          <a:prstGeom prst="rect">
            <a:avLst/>
          </a:prstGeom>
          <a:gradFill flip="none" rotWithShape="1">
            <a:gsLst>
              <a:gs pos="34000">
                <a:schemeClr val="tx1">
                  <a:alpha val="71277"/>
                </a:schemeClr>
              </a:gs>
              <a:gs pos="100000">
                <a:schemeClr val="tx1">
                  <a:lumMod val="0"/>
                  <a:lumOff val="100000"/>
                  <a:alpha val="0"/>
                </a:schemeClr>
              </a:gs>
            </a:gsLst>
            <a:lin ang="16200000" scaled="1"/>
            <a:tileRect/>
          </a:gradFill>
        </p:spPr>
        <p:txBody>
          <a:bodyPr wrap="square" lIns="144000" bIns="144000" anchor="b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Service</a:t>
            </a:r>
          </a:p>
        </p:txBody>
      </p:sp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910BC968-F978-5275-164A-0975125F2E37}"/>
              </a:ext>
            </a:extLst>
          </p:cNvPr>
          <p:cNvSpPr txBox="1">
            <a:spLocks/>
          </p:cNvSpPr>
          <p:nvPr/>
        </p:nvSpPr>
        <p:spPr>
          <a:xfrm>
            <a:off x="7369109" y="4668949"/>
            <a:ext cx="2117005" cy="127254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1050" b="0" i="0" u="none" strike="noStrike" kern="1200" cap="none" spc="0" normalizeH="0" baseline="3000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*Revenues data is not yet available as Service is a new Business Unit created on April 1, 2025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AD1B361-5504-828F-C377-E03A08DBA7AF}"/>
              </a:ext>
            </a:extLst>
          </p:cNvPr>
          <p:cNvSpPr txBox="1"/>
          <p:nvPr/>
        </p:nvSpPr>
        <p:spPr>
          <a:xfrm>
            <a:off x="8023580" y="4412957"/>
            <a:ext cx="856005" cy="1261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it-IT" sz="900" b="1" i="0" u="none" strike="noStrike" kern="1200" cap="none" spc="0" normalizeH="0" baseline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Hitachi Sans"/>
                <a:ea typeface="Yu Gothic UI"/>
                <a:cs typeface="+mn-cs"/>
              </a:rPr>
              <a:t>Installed base*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5D41D77-2EF6-15E9-7E9A-0186B985AA0F}"/>
              </a:ext>
            </a:extLst>
          </p:cNvPr>
          <p:cNvGrpSpPr/>
          <p:nvPr/>
        </p:nvGrpSpPr>
        <p:grpSpPr>
          <a:xfrm>
            <a:off x="8060586" y="3603633"/>
            <a:ext cx="781993" cy="781993"/>
            <a:chOff x="10491171" y="4552869"/>
            <a:chExt cx="1005840" cy="1005840"/>
          </a:xfrm>
        </p:grpSpPr>
        <p:graphicFrame>
          <p:nvGraphicFramePr>
            <p:cNvPr id="7" name="Chart 57">
              <a:extLst>
                <a:ext uri="{FF2B5EF4-FFF2-40B4-BE49-F238E27FC236}">
                  <a16:creationId xmlns:a16="http://schemas.microsoft.com/office/drawing/2014/main" id="{89ADE1EA-E147-D3D5-6A20-CE5C4A124BD7}"/>
                </a:ext>
              </a:extLst>
            </p:cNvPr>
            <p:cNvGraphicFramePr>
              <a:graphicFrameLocks/>
            </p:cNvGraphicFramePr>
            <p:nvPr>
              <p:custDataLst>
                <p:tags r:id="rId3"/>
              </p:custDataLst>
            </p:nvPr>
          </p:nvGraphicFramePr>
          <p:xfrm>
            <a:off x="10491171" y="4552869"/>
            <a:ext cx="1005840" cy="10058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3"/>
            </a:graphicData>
          </a:graphic>
        </p:graphicFrame>
        <p:sp>
          <p:nvSpPr>
            <p:cNvPr id="11" name="TextBox 81">
              <a:extLst>
                <a:ext uri="{FF2B5EF4-FFF2-40B4-BE49-F238E27FC236}">
                  <a16:creationId xmlns:a16="http://schemas.microsoft.com/office/drawing/2014/main" id="{28B1C5F0-F776-54E7-8C9E-48F4C2808A5E}"/>
                </a:ext>
              </a:extLst>
            </p:cNvPr>
            <p:cNvSpPr txBox="1"/>
            <p:nvPr/>
          </p:nvSpPr>
          <p:spPr>
            <a:xfrm>
              <a:off x="10864055" y="4926525"/>
              <a:ext cx="227625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>
                  <a:ln>
                    <a:noFill/>
                  </a:ln>
                  <a:solidFill>
                    <a:srgbClr val="FF0026"/>
                  </a:solidFill>
                  <a:effectLst/>
                  <a:uLnTx/>
                  <a:uFillTx/>
                  <a:latin typeface="Hitachi Sans"/>
                  <a:ea typeface="Yu Gothic UI"/>
                  <a:cs typeface="+mn-cs"/>
                </a:rPr>
                <a:t>#1</a:t>
              </a:r>
            </a:p>
          </p:txBody>
        </p:sp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896323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3B2D6E-0CFA-B02B-0F90-E70449664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39C099-1A94-0D90-4474-F1189CA629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Hitachi Energy | Presentazione azienda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FB17AE-14CB-AB70-CC26-80F955DC3E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9899" y="6264000"/>
            <a:ext cx="432000" cy="144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F4BC05-462B-4F19-BE6B-A1043C81AA78}" type="slidenum">
              <a:rPr kumimoji="0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sz="800" b="1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29263EA-11CD-7212-1E7A-7BED705C1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899" y="403200"/>
            <a:ext cx="7445375" cy="304699"/>
          </a:xfrm>
        </p:spPr>
        <p:txBody>
          <a:bodyPr/>
          <a:lstStyle/>
          <a:p>
            <a:pPr rtl="0"/>
            <a:r>
              <a:rPr lang="it-IT" dirty="0"/>
              <a:t>Hitachi Energy in Italia in sintesi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860706C-283D-D320-26D8-670EACCF661B}"/>
              </a:ext>
            </a:extLst>
          </p:cNvPr>
          <p:cNvGrpSpPr/>
          <p:nvPr/>
        </p:nvGrpSpPr>
        <p:grpSpPr>
          <a:xfrm>
            <a:off x="8501853" y="4684250"/>
            <a:ext cx="3230629" cy="1583916"/>
            <a:chOff x="8121772" y="3186684"/>
            <a:chExt cx="3595408" cy="158391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4506E1F-9E28-7E49-7BB9-8994FC9872B3}"/>
                </a:ext>
              </a:extLst>
            </p:cNvPr>
            <p:cNvSpPr/>
            <p:nvPr/>
          </p:nvSpPr>
          <p:spPr>
            <a:xfrm>
              <a:off x="8121772" y="3186684"/>
              <a:ext cx="3595408" cy="1583916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90" name="Content Placeholder 8">
              <a:extLst>
                <a:ext uri="{FF2B5EF4-FFF2-40B4-BE49-F238E27FC236}">
                  <a16:creationId xmlns:a16="http://schemas.microsoft.com/office/drawing/2014/main" id="{2D98FF2C-C1FF-1A33-8972-406EF32DA363}"/>
                </a:ext>
              </a:extLst>
            </p:cNvPr>
            <p:cNvSpPr txBox="1">
              <a:spLocks/>
            </p:cNvSpPr>
            <p:nvPr/>
          </p:nvSpPr>
          <p:spPr bwMode="gray">
            <a:xfrm rot="16200000">
              <a:off x="7488091" y="3820366"/>
              <a:ext cx="1583915" cy="31655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b="1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Business Unit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F62E15B-75AA-59BD-10AA-28340D09DC9D}"/>
                </a:ext>
              </a:extLst>
            </p:cNvPr>
            <p:cNvGrpSpPr/>
            <p:nvPr/>
          </p:nvGrpSpPr>
          <p:grpSpPr>
            <a:xfrm>
              <a:off x="8497956" y="3279912"/>
              <a:ext cx="3125857" cy="1408621"/>
              <a:chOff x="8438325" y="3186685"/>
              <a:chExt cx="3280445" cy="1583935"/>
            </a:xfrm>
          </p:grpSpPr>
          <p:sp>
            <p:nvSpPr>
              <p:cNvPr id="1491" name="Content Placeholder 8">
                <a:extLst>
                  <a:ext uri="{FF2B5EF4-FFF2-40B4-BE49-F238E27FC236}">
                    <a16:creationId xmlns:a16="http://schemas.microsoft.com/office/drawing/2014/main" id="{1C60929B-759D-C985-F6A8-17BCA8045E0F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438325" y="3186685"/>
                <a:ext cx="3280445" cy="25965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8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it-IT" b="1" kern="0" dirty="0">
                    <a:solidFill>
                      <a:prstClr val="black"/>
                    </a:solidFill>
                  </a:rPr>
                  <a:t>Grid Automation</a:t>
                </a:r>
                <a:endParaRPr kumimoji="0" lang="it-IT" b="1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492" name="Content Placeholder 8">
                <a:extLst>
                  <a:ext uri="{FF2B5EF4-FFF2-40B4-BE49-F238E27FC236}">
                    <a16:creationId xmlns:a16="http://schemas.microsoft.com/office/drawing/2014/main" id="{BD4343E1-6237-C8AF-82CD-17CEB24F6836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438325" y="3510075"/>
                <a:ext cx="3280445" cy="25965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8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it-IT" b="1" kern="0" dirty="0">
                    <a:solidFill>
                      <a:prstClr val="black"/>
                    </a:solidFill>
                  </a:rPr>
                  <a:t>Grid Integration</a:t>
                </a:r>
                <a:endParaRPr kumimoji="0" lang="it-IT" b="1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493" name="Content Placeholder 8">
                <a:extLst>
                  <a:ext uri="{FF2B5EF4-FFF2-40B4-BE49-F238E27FC236}">
                    <a16:creationId xmlns:a16="http://schemas.microsoft.com/office/drawing/2014/main" id="{D7A38478-92AA-97A9-E7A7-D09E9D7F1DA3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438325" y="3833465"/>
                <a:ext cx="3280445" cy="29037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8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it-IT" b="1" kern="0" dirty="0">
                    <a:solidFill>
                      <a:prstClr val="black"/>
                    </a:solidFill>
                  </a:rPr>
                  <a:t>High Voltage Products</a:t>
                </a:r>
                <a:endParaRPr kumimoji="0" lang="it-IT" b="1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494" name="Content Placeholder 8">
                <a:extLst>
                  <a:ext uri="{FF2B5EF4-FFF2-40B4-BE49-F238E27FC236}">
                    <a16:creationId xmlns:a16="http://schemas.microsoft.com/office/drawing/2014/main" id="{9B2443A1-1497-9039-5F88-2225B5D8AC2A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438325" y="4510968"/>
                <a:ext cx="3280445" cy="25965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8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b="1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Transformers</a:t>
                </a:r>
              </a:p>
            </p:txBody>
          </p:sp>
          <p:sp>
            <p:nvSpPr>
              <p:cNvPr id="1520" name="Content Placeholder 8">
                <a:extLst>
                  <a:ext uri="{FF2B5EF4-FFF2-40B4-BE49-F238E27FC236}">
                    <a16:creationId xmlns:a16="http://schemas.microsoft.com/office/drawing/2014/main" id="{2851290D-8F9C-9FA5-7C60-434F4A693A45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438325" y="4187577"/>
                <a:ext cx="3280445" cy="25965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91440" tIns="91440" rIns="91440" bIns="91440" rtlCol="0" anchor="ctr" anchorCtr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975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0000" indent="-180975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​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8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0000" indent="-180000" algn="l" defTabSz="914400" rtl="0" eaLnBrk="1" latinLnBrk="0" hangingPunct="1">
                  <a:lnSpc>
                    <a:spcPct val="100000"/>
                  </a:lnSpc>
                  <a:spcBef>
                    <a:spcPts val="6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it-IT" b="1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Services</a:t>
                </a:r>
              </a:p>
            </p:txBody>
          </p:sp>
        </p:grp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503C51C4-DBE3-50BE-6EC5-1DBE4AA3B726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13"/>
              </a:ext>
            </a:extLst>
          </a:blip>
          <a:stretch>
            <a:fillRect/>
          </a:stretch>
        </p:blipFill>
        <p:spPr>
          <a:xfrm>
            <a:off x="2090337" y="1418716"/>
            <a:ext cx="4833694" cy="544411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DEFAFF8-F91E-5C5E-1414-CA5518B2FB43}"/>
              </a:ext>
            </a:extLst>
          </p:cNvPr>
          <p:cNvSpPr txBox="1"/>
          <p:nvPr/>
        </p:nvSpPr>
        <p:spPr>
          <a:xfrm>
            <a:off x="488648" y="1016626"/>
            <a:ext cx="1978870" cy="6577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Milano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Q </a:t>
            </a:r>
            <a:r>
              <a:rPr lang="it-IT" sz="1400" b="1" kern="0" dirty="0">
                <a:solidFill>
                  <a:prstClr val="black"/>
                </a:solidFill>
              </a:rPr>
              <a:t>/</a:t>
            </a:r>
            <a:r>
              <a:rPr kumimoji="0" lang="it-IT" sz="1400" b="1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Grid Integration/ Grid Autom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286EB6-F8D3-2E90-ADCD-3349ED5F9E3C}"/>
              </a:ext>
            </a:extLst>
          </p:cNvPr>
          <p:cNvSpPr txBox="1"/>
          <p:nvPr/>
        </p:nvSpPr>
        <p:spPr>
          <a:xfrm>
            <a:off x="618835" y="3122949"/>
            <a:ext cx="2601311" cy="15260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Genova</a:t>
            </a:r>
          </a:p>
          <a:p>
            <a:pPr marL="12000" marR="0" lvl="0" indent="0" algn="l" defTabSz="31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rid </a:t>
            </a:r>
            <a:r>
              <a:rPr lang="it-IT" sz="1400" b="1" dirty="0"/>
              <a:t>Automation</a:t>
            </a:r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- Centro di R&amp;S</a:t>
            </a:r>
            <a:r>
              <a:rPr lang="it-IT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it-IT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rid Edge; Sistemi di accumulo di energia a batterie; Microreti; Soluzioni di generazione distribuita.</a:t>
            </a:r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9CCB74-C6D7-89C5-5243-6F376604082B}"/>
              </a:ext>
            </a:extLst>
          </p:cNvPr>
          <p:cNvSpPr txBox="1"/>
          <p:nvPr/>
        </p:nvSpPr>
        <p:spPr>
          <a:xfrm>
            <a:off x="5445880" y="2785953"/>
            <a:ext cx="2377606" cy="13344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Monselic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 kern="0"/>
              <a:t>Trasformatori</a:t>
            </a:r>
            <a:r>
              <a:rPr lang="it-IT" sz="1400" kern="0"/>
              <a:t>.</a:t>
            </a:r>
            <a:r>
              <a:rPr lang="it-IT" sz="1400" b="1" kern="0"/>
              <a:t> </a:t>
            </a:r>
            <a:r>
              <a:rPr lang="it-IT" sz="1400" b="0">
                <a:solidFill>
                  <a:schemeClr val="tx1">
                    <a:lumMod val="75000"/>
                    <a:lumOff val="25000"/>
                  </a:schemeClr>
                </a:solidFill>
              </a:rPr>
              <a:t>Trasformatori di piccola potenza fino a 63 MVA 171 kV; Trasformatori di media potenza fino a 120 MVA 220 kV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76696C9-B8D3-91DF-2E83-6A5FB4E8155C}"/>
              </a:ext>
            </a:extLst>
          </p:cNvPr>
          <p:cNvSpPr txBox="1"/>
          <p:nvPr/>
        </p:nvSpPr>
        <p:spPr>
          <a:xfrm>
            <a:off x="5295140" y="4670454"/>
            <a:ext cx="2562950" cy="14344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Santa Palomba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 kern="0" dirty="0">
                <a:solidFill>
                  <a:prstClr val="black"/>
                </a:solidFill>
              </a:rPr>
              <a:t>Grid Automation</a:t>
            </a:r>
            <a:r>
              <a:rPr kumimoji="0" lang="it-IT" sz="1400" b="1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- </a:t>
            </a:r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tomazione e controllo</a:t>
            </a:r>
            <a:r>
              <a:rPr lang="it-IT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it-IT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S, Protezione e Controllo, Sistemi SCAD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191BF9-723D-1E2C-1A88-7FDE646EA7AC}"/>
              </a:ext>
            </a:extLst>
          </p:cNvPr>
          <p:cNvSpPr txBox="1"/>
          <p:nvPr/>
        </p:nvSpPr>
        <p:spPr>
          <a:xfrm>
            <a:off x="2193776" y="4821947"/>
            <a:ext cx="1915719" cy="4769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Roma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Ufficio vendite 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3917D89-293A-7A25-7C38-363995DF81E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>
            <a:fillRect/>
          </a:stretch>
        </p:blipFill>
        <p:spPr>
          <a:xfrm>
            <a:off x="3104787" y="2047424"/>
            <a:ext cx="216000" cy="2160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73FB02D-9E90-2B60-6FAA-B0B22190D36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>
            <a:fillRect/>
          </a:stretch>
        </p:blipFill>
        <p:spPr>
          <a:xfrm>
            <a:off x="4061903" y="2273965"/>
            <a:ext cx="216000" cy="2160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17765361-3B65-2DF2-1B4E-E9CC045B7CC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>
            <a:fillRect/>
          </a:stretch>
        </p:blipFill>
        <p:spPr>
          <a:xfrm>
            <a:off x="2918634" y="2669111"/>
            <a:ext cx="216000" cy="2160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12BEF4F2-E5A8-57E4-C660-80D6F154564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>
            <a:fillRect/>
          </a:stretch>
        </p:blipFill>
        <p:spPr>
          <a:xfrm>
            <a:off x="4362267" y="3904404"/>
            <a:ext cx="216000" cy="2160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B3D90F7C-7611-E9CE-4CE5-1C42803A905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>
            <a:fillRect/>
          </a:stretch>
        </p:blipFill>
        <p:spPr>
          <a:xfrm>
            <a:off x="4533205" y="3997962"/>
            <a:ext cx="216000" cy="216000"/>
          </a:xfrm>
          <a:prstGeom prst="rect">
            <a:avLst/>
          </a:prstGeom>
        </p:spPr>
      </p:pic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EDE39BD7-EFF8-2170-2FA7-DD26232FBB5A}"/>
              </a:ext>
            </a:extLst>
          </p:cNvPr>
          <p:cNvCxnSpPr>
            <a:cxnSpLocks/>
          </p:cNvCxnSpPr>
          <p:nvPr/>
        </p:nvCxnSpPr>
        <p:spPr>
          <a:xfrm>
            <a:off x="1099093" y="1135206"/>
            <a:ext cx="2064230" cy="903336"/>
          </a:xfrm>
          <a:prstGeom prst="bentConnector3">
            <a:avLst>
              <a:gd name="adj1" fmla="val 99952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861AA1F3-A281-0875-E980-724CC79FCA65}"/>
              </a:ext>
            </a:extLst>
          </p:cNvPr>
          <p:cNvCxnSpPr>
            <a:cxnSpLocks/>
          </p:cNvCxnSpPr>
          <p:nvPr/>
        </p:nvCxnSpPr>
        <p:spPr>
          <a:xfrm flipV="1">
            <a:off x="1318623" y="2916962"/>
            <a:ext cx="1683418" cy="304885"/>
          </a:xfrm>
          <a:prstGeom prst="bentConnector3">
            <a:avLst>
              <a:gd name="adj1" fmla="val 99792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06CEC596-761A-C5C8-83BC-E32ACC961800}"/>
              </a:ext>
            </a:extLst>
          </p:cNvPr>
          <p:cNvCxnSpPr>
            <a:cxnSpLocks/>
          </p:cNvCxnSpPr>
          <p:nvPr/>
        </p:nvCxnSpPr>
        <p:spPr>
          <a:xfrm rot="10800000" flipV="1">
            <a:off x="3385791" y="1226157"/>
            <a:ext cx="1370526" cy="1069410"/>
          </a:xfrm>
          <a:prstGeom prst="bentConnector3">
            <a:avLst>
              <a:gd name="adj1" fmla="val 99692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04253C27-8CB3-BB93-3B5C-3D20273EA50F}"/>
              </a:ext>
            </a:extLst>
          </p:cNvPr>
          <p:cNvCxnSpPr>
            <a:cxnSpLocks/>
          </p:cNvCxnSpPr>
          <p:nvPr/>
        </p:nvCxnSpPr>
        <p:spPr>
          <a:xfrm rot="10800000">
            <a:off x="4168540" y="2504131"/>
            <a:ext cx="1257414" cy="397755"/>
          </a:xfrm>
          <a:prstGeom prst="bentConnector3">
            <a:avLst>
              <a:gd name="adj1" fmla="val 100374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DD90C2F8-5BEF-04B3-ACF2-46008859DDDF}"/>
              </a:ext>
            </a:extLst>
          </p:cNvPr>
          <p:cNvCxnSpPr>
            <a:cxnSpLocks/>
          </p:cNvCxnSpPr>
          <p:nvPr/>
        </p:nvCxnSpPr>
        <p:spPr>
          <a:xfrm flipV="1">
            <a:off x="2708136" y="4136470"/>
            <a:ext cx="1759804" cy="811331"/>
          </a:xfrm>
          <a:prstGeom prst="bentConnector3">
            <a:avLst>
              <a:gd name="adj1" fmla="val 100337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D190CA48-4CDF-1CD1-6C32-1D8723FF7F44}"/>
              </a:ext>
            </a:extLst>
          </p:cNvPr>
          <p:cNvCxnSpPr>
            <a:cxnSpLocks/>
          </p:cNvCxnSpPr>
          <p:nvPr/>
        </p:nvCxnSpPr>
        <p:spPr>
          <a:xfrm rot="10800000">
            <a:off x="4638324" y="4220655"/>
            <a:ext cx="628998" cy="567160"/>
          </a:xfrm>
          <a:prstGeom prst="bentConnector3">
            <a:avLst>
              <a:gd name="adj1" fmla="val 99215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00BBA83-041E-0E1C-8A0A-AB5804138AA9}"/>
              </a:ext>
            </a:extLst>
          </p:cNvPr>
          <p:cNvSpPr txBox="1"/>
          <p:nvPr/>
        </p:nvSpPr>
        <p:spPr>
          <a:xfrm>
            <a:off x="4771801" y="1118066"/>
            <a:ext cx="2587514" cy="12896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Lodi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u="none" strike="noStrike" kern="1200" cap="none" spc="0" normalizeH="0" baseline="0" dirty="0">
                <a:ln>
                  <a:noFill/>
                </a:ln>
                <a:effectLst/>
                <a:uLnTx/>
                <a:uFillTx/>
              </a:rPr>
              <a:t>HV Products</a:t>
            </a:r>
            <a:r>
              <a:rPr kumimoji="0" lang="it-IT" sz="1400" b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</a:rPr>
              <a:t>. Quadri elettrici ibridi PASS, Moduli multifunzione, GIS, Trasformatori di misura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9A3C202-B625-C5DB-186A-BE0D332A9C0B}"/>
              </a:ext>
            </a:extLst>
          </p:cNvPr>
          <p:cNvGrpSpPr/>
          <p:nvPr/>
        </p:nvGrpSpPr>
        <p:grpSpPr>
          <a:xfrm>
            <a:off x="3141371" y="2155424"/>
            <a:ext cx="216000" cy="216000"/>
            <a:chOff x="3449381" y="2174880"/>
            <a:chExt cx="216000" cy="216000"/>
          </a:xfrm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51829BCB-0E7D-5971-13E0-188DD6EE0431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>
              <a:fillRect/>
            </a:stretch>
          </p:blipFill>
          <p:spPr>
            <a:xfrm>
              <a:off x="3449381" y="2174880"/>
              <a:ext cx="216000" cy="216000"/>
            </a:xfrm>
            <a:prstGeom prst="rect">
              <a:avLst/>
            </a:prstGeom>
          </p:spPr>
        </p:pic>
        <p:sp>
          <p:nvSpPr>
            <p:cNvPr id="29" name="Trapezoid 28">
              <a:extLst>
                <a:ext uri="{FF2B5EF4-FFF2-40B4-BE49-F238E27FC236}">
                  <a16:creationId xmlns:a16="http://schemas.microsoft.com/office/drawing/2014/main" id="{2E7C0631-8F47-0BA9-5FAD-1FF89142FF47}"/>
                </a:ext>
              </a:extLst>
            </p:cNvPr>
            <p:cNvSpPr/>
            <p:nvPr/>
          </p:nvSpPr>
          <p:spPr>
            <a:xfrm>
              <a:off x="3483164" y="2190584"/>
              <a:ext cx="45719" cy="106226"/>
            </a:xfrm>
            <a:prstGeom prst="trapezoid">
              <a:avLst/>
            </a:prstGeom>
            <a:solidFill>
              <a:schemeClr val="bg1"/>
            </a:solidFill>
            <a:ln w="63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B979894-7351-81EA-6850-5A004ACD0AC0}"/>
              </a:ext>
            </a:extLst>
          </p:cNvPr>
          <p:cNvGrpSpPr/>
          <p:nvPr/>
        </p:nvGrpSpPr>
        <p:grpSpPr>
          <a:xfrm>
            <a:off x="3224301" y="2224943"/>
            <a:ext cx="216000" cy="216000"/>
            <a:chOff x="3532311" y="2244399"/>
            <a:chExt cx="216000" cy="216000"/>
          </a:xfrm>
        </p:grpSpPr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F447652E-48DE-BC7F-B312-87A678EB695D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>
              <a:fillRect/>
            </a:stretch>
          </p:blipFill>
          <p:spPr>
            <a:xfrm>
              <a:off x="3532311" y="2244399"/>
              <a:ext cx="216000" cy="216000"/>
            </a:xfrm>
            <a:prstGeom prst="rect">
              <a:avLst/>
            </a:prstGeom>
          </p:spPr>
        </p:pic>
        <p:sp>
          <p:nvSpPr>
            <p:cNvPr id="32" name="Trapezoid 31">
              <a:extLst>
                <a:ext uri="{FF2B5EF4-FFF2-40B4-BE49-F238E27FC236}">
                  <a16:creationId xmlns:a16="http://schemas.microsoft.com/office/drawing/2014/main" id="{57535CD7-3FD7-8EBE-ED58-F0793B24427B}"/>
                </a:ext>
              </a:extLst>
            </p:cNvPr>
            <p:cNvSpPr/>
            <p:nvPr/>
          </p:nvSpPr>
          <p:spPr>
            <a:xfrm>
              <a:off x="3568279" y="2262309"/>
              <a:ext cx="45719" cy="106226"/>
            </a:xfrm>
            <a:prstGeom prst="trapezoid">
              <a:avLst/>
            </a:prstGeom>
            <a:solidFill>
              <a:schemeClr val="bg1"/>
            </a:solidFill>
            <a:ln w="63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Right Triangle 32">
              <a:extLst>
                <a:ext uri="{FF2B5EF4-FFF2-40B4-BE49-F238E27FC236}">
                  <a16:creationId xmlns:a16="http://schemas.microsoft.com/office/drawing/2014/main" id="{893B64E5-585C-CAF9-6E89-B6DE7F0EA1DA}"/>
                </a:ext>
              </a:extLst>
            </p:cNvPr>
            <p:cNvSpPr/>
            <p:nvPr/>
          </p:nvSpPr>
          <p:spPr>
            <a:xfrm rot="438047" flipH="1">
              <a:off x="3624966" y="2348252"/>
              <a:ext cx="25200" cy="288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7C138B57-1DB6-9E08-5452-C145E4B999A8}"/>
              </a:ext>
            </a:extLst>
          </p:cNvPr>
          <p:cNvSpPr txBox="1"/>
          <p:nvPr/>
        </p:nvSpPr>
        <p:spPr>
          <a:xfrm>
            <a:off x="571916" y="2196475"/>
            <a:ext cx="1978870" cy="6577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San Donato M.s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>
                <a:ln>
                  <a:noFill/>
                </a:ln>
                <a:effectLst/>
                <a:uLnTx/>
                <a:uFillTx/>
              </a:rPr>
              <a:t>COET S.r.l.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E59E823-C24A-164E-BF02-4C0C28C5CCE4}"/>
              </a:ext>
            </a:extLst>
          </p:cNvPr>
          <p:cNvCxnSpPr>
            <a:cxnSpLocks/>
          </p:cNvCxnSpPr>
          <p:nvPr/>
        </p:nvCxnSpPr>
        <p:spPr>
          <a:xfrm>
            <a:off x="2154864" y="2317933"/>
            <a:ext cx="940747" cy="0"/>
          </a:xfrm>
          <a:prstGeom prst="line">
            <a:avLst/>
          </a:prstGeom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5201B2D1-6428-99C5-2BA8-254CD6CC1E00}"/>
              </a:ext>
            </a:extLst>
          </p:cNvPr>
          <p:cNvSpPr/>
          <p:nvPr/>
        </p:nvSpPr>
        <p:spPr>
          <a:xfrm>
            <a:off x="545930" y="2174214"/>
            <a:ext cx="1545571" cy="466441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674C351-6D72-1C51-3FDA-F91A79AD0D0D}"/>
              </a:ext>
            </a:extLst>
          </p:cNvPr>
          <p:cNvSpPr txBox="1"/>
          <p:nvPr/>
        </p:nvSpPr>
        <p:spPr>
          <a:xfrm>
            <a:off x="8494318" y="1102636"/>
            <a:ext cx="3238165" cy="523794"/>
          </a:xfrm>
          <a:prstGeom prst="rect">
            <a:avLst/>
          </a:prstGeom>
          <a:solidFill>
            <a:srgbClr val="FF0026"/>
          </a:solidFill>
        </p:spPr>
        <p:txBody>
          <a:bodyPr vert="horz" wrap="square" lIns="91440" tIns="91440" rIns="91440" bIns="9144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 dirty="0">
                <a:solidFill>
                  <a:prstClr val="white"/>
                </a:solidFill>
                <a:cs typeface="Arial" panose="020B0604020202020204" pitchFamily="34" charset="0"/>
              </a:rPr>
              <a:t>1’000</a:t>
            </a:r>
            <a:r>
              <a:rPr lang="it-IT" b="1" baseline="30000" dirty="0">
                <a:solidFill>
                  <a:prstClr val="white"/>
                </a:solidFill>
                <a:cs typeface="Arial" panose="020B0604020202020204" pitchFamily="34" charset="0"/>
              </a:rPr>
              <a:t>+ </a:t>
            </a:r>
            <a:r>
              <a:rPr kumimoji="0" lang="it-IT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4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dipendenti (23% donne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483E66B-45FB-F26F-484A-029D05405599}"/>
              </a:ext>
            </a:extLst>
          </p:cNvPr>
          <p:cNvGrpSpPr/>
          <p:nvPr/>
        </p:nvGrpSpPr>
        <p:grpSpPr>
          <a:xfrm>
            <a:off x="8501854" y="1754823"/>
            <a:ext cx="3230630" cy="800930"/>
            <a:chOff x="8699749" y="1741028"/>
            <a:chExt cx="3230630" cy="800930"/>
          </a:xfrm>
        </p:grpSpPr>
        <p:sp>
          <p:nvSpPr>
            <p:cNvPr id="44" name="Content Placeholder 8">
              <a:extLst>
                <a:ext uri="{FF2B5EF4-FFF2-40B4-BE49-F238E27FC236}">
                  <a16:creationId xmlns:a16="http://schemas.microsoft.com/office/drawing/2014/main" id="{F69511D1-EAE1-B231-512D-6F82D995B5F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699749" y="1741028"/>
              <a:ext cx="1572219" cy="800930"/>
            </a:xfrm>
            <a:prstGeom prst="rect">
              <a:avLst/>
            </a:prstGeom>
            <a:solidFill>
              <a:srgbClr val="747474"/>
            </a:solidFill>
          </p:spPr>
          <p:txBody>
            <a:bodyPr vert="horz" wrap="square" lIns="91440" tIns="91440" rIns="91440" bIns="9144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975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it-IT" sz="1800" b="1" dirty="0">
                  <a:solidFill>
                    <a:prstClr val="white"/>
                  </a:solidFill>
                  <a:ea typeface="HGPｺﾞｼｯｸE" pitchFamily="50" charset="-128"/>
                  <a:cs typeface="Arial" panose="020B0604020202020204" pitchFamily="34" charset="0"/>
                </a:rPr>
                <a:t>6</a:t>
              </a:r>
              <a:b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PｺﾞｼｯｸE" pitchFamily="50" charset="-128"/>
                  <a:cs typeface="Arial" panose="020B0604020202020204" pitchFamily="34" charset="0"/>
                </a:rPr>
              </a:br>
              <a:r>
                <a:rPr lang="it-IT" dirty="0">
                  <a:solidFill>
                    <a:prstClr val="white"/>
                  </a:solidFill>
                  <a:ea typeface="HGPｺﾞｼｯｸE" pitchFamily="50" charset="-128"/>
                  <a:cs typeface="Arial" panose="020B0604020202020204" pitchFamily="34" charset="0"/>
                </a:rPr>
                <a:t>sedi</a:t>
              </a:r>
            </a:p>
          </p:txBody>
        </p:sp>
        <p:sp>
          <p:nvSpPr>
            <p:cNvPr id="45" name="Text Placeholder 9">
              <a:extLst>
                <a:ext uri="{FF2B5EF4-FFF2-40B4-BE49-F238E27FC236}">
                  <a16:creationId xmlns:a16="http://schemas.microsoft.com/office/drawing/2014/main" id="{90E9EBB6-A981-91AC-3509-504BFAD41DA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354859" y="1741028"/>
              <a:ext cx="1575520" cy="800930"/>
            </a:xfrm>
            <a:prstGeom prst="rect">
              <a:avLst/>
            </a:prstGeom>
            <a:solidFill>
              <a:srgbClr val="D2D2D2"/>
            </a:solidFill>
          </p:spPr>
          <p:txBody>
            <a:bodyPr vert="horz" wrap="square" lIns="91440" tIns="91440" rIns="91440" bIns="9144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BBvoice" panose="020D0603020503020204" pitchFamily="34" charset="0"/>
                <a:buNone/>
                <a:defRPr sz="16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800" b="1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~10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4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anni di storia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</a:br>
              <a:r>
                <a:rPr kumimoji="0" lang="it-IT" sz="14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(dal 1905)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A393425-6779-D4B1-C36D-B470CD3E097F}"/>
              </a:ext>
            </a:extLst>
          </p:cNvPr>
          <p:cNvGrpSpPr/>
          <p:nvPr/>
        </p:nvGrpSpPr>
        <p:grpSpPr>
          <a:xfrm>
            <a:off x="8485876" y="2684147"/>
            <a:ext cx="3246608" cy="800931"/>
            <a:chOff x="8683771" y="2670351"/>
            <a:chExt cx="3246608" cy="800931"/>
          </a:xfrm>
        </p:grpSpPr>
        <p:sp>
          <p:nvSpPr>
            <p:cNvPr id="47" name="Text Placeholder 9">
              <a:extLst>
                <a:ext uri="{FF2B5EF4-FFF2-40B4-BE49-F238E27FC236}">
                  <a16:creationId xmlns:a16="http://schemas.microsoft.com/office/drawing/2014/main" id="{AA29847E-1A0B-FE88-32E3-58BA7F33629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683771" y="2670351"/>
              <a:ext cx="1572220" cy="800930"/>
            </a:xfrm>
            <a:prstGeom prst="rect">
              <a:avLst/>
            </a:prstGeom>
            <a:solidFill>
              <a:srgbClr val="D2D2D2"/>
            </a:solidFill>
          </p:spPr>
          <p:txBody>
            <a:bodyPr vert="horz" wrap="square" lIns="91440" tIns="91440" rIns="91440" bIns="9144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BBvoice" panose="020D0603020503020204" pitchFamily="34" charset="0"/>
                <a:buNone/>
                <a:defRPr sz="16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800" b="1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~50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it-IT" sz="1400" b="0" dirty="0">
                  <a:solidFill>
                    <a:prstClr val="black"/>
                  </a:solidFill>
                  <a:ea typeface="HGPｺﾞｼｯｸE" pitchFamily="50" charset="-128"/>
                  <a:cs typeface="Arial" panose="020B0604020202020204" pitchFamily="34" charset="0"/>
                </a:rPr>
                <a:t>dipendenti</a:t>
              </a:r>
              <a:r>
                <a:rPr kumimoji="0" lang="it-IT" sz="14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HGPｺﾞｼｯｸE" pitchFamily="50" charset="-128"/>
                  <a:cs typeface="Arial" panose="020B0604020202020204" pitchFamily="34" charset="0"/>
                </a:rPr>
                <a:t> in fabbriche e R&amp;S</a:t>
              </a:r>
            </a:p>
          </p:txBody>
        </p:sp>
        <p:sp>
          <p:nvSpPr>
            <p:cNvPr id="48" name="Text Placeholder 9">
              <a:extLst>
                <a:ext uri="{FF2B5EF4-FFF2-40B4-BE49-F238E27FC236}">
                  <a16:creationId xmlns:a16="http://schemas.microsoft.com/office/drawing/2014/main" id="{D4570F3E-EF38-5793-99FF-8410CFF06F9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354859" y="2672664"/>
              <a:ext cx="1575520" cy="798618"/>
            </a:xfrm>
            <a:prstGeom prst="rect">
              <a:avLst/>
            </a:prstGeom>
            <a:solidFill>
              <a:srgbClr val="747474"/>
            </a:solidFill>
          </p:spPr>
          <p:txBody>
            <a:bodyPr vert="horz" wrap="square" lIns="91440" tIns="91440" rIns="91440" bIns="9144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BBvoice" panose="020D0603020503020204" pitchFamily="34" charset="0"/>
                <a:buNone/>
                <a:defRPr sz="16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1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400" i="0" u="none" strike="noStrike" kern="120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PｺﾞｼｯｸE" pitchFamily="50" charset="-128"/>
                  <a:cs typeface="Arial" panose="020B0604020202020204" pitchFamily="34" charset="0"/>
                </a:rPr>
                <a:t>Certificazioni ISO 900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400" i="0" u="none" strike="noStrike" kern="120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HGPｺﾞｼｯｸE" pitchFamily="50" charset="-128"/>
                  <a:cs typeface="Arial" panose="020B0604020202020204" pitchFamily="34" charset="0"/>
                </a:rPr>
                <a:t>14001 – 27001 37001 – 45001</a:t>
              </a: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25F15F58-68D6-4716-92D8-E3A4D6068B15}"/>
              </a:ext>
            </a:extLst>
          </p:cNvPr>
          <p:cNvSpPr txBox="1"/>
          <p:nvPr/>
        </p:nvSpPr>
        <p:spPr>
          <a:xfrm>
            <a:off x="8494318" y="3628908"/>
            <a:ext cx="330433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BBvoice" panose="020D0603020503020204" pitchFamily="34" charset="0"/>
              <a:buNone/>
              <a:tabLst/>
              <a:defRPr/>
            </a:pP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srgbClr val="FF0026"/>
                </a:solidFill>
                <a:effectLst/>
                <a:uLnTx/>
                <a:uFillTx/>
                <a:ea typeface="+mn-ea"/>
                <a:cs typeface="+mn-cs"/>
              </a:rPr>
              <a:t>Clienti principali: </a:t>
            </a:r>
            <a:r>
              <a:rPr kumimoji="0" lang="it-IT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erna, Enel, ENI, A2A, ACEA, Maire Tecnimont, Technip FMC, Edison, Ansaldo Energia, Fincantieri, Danieli, RFI, ...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367518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A3E186-9920-87A4-F6F5-82095A19A4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AC7FE13-4D86-AF99-4D0A-14BDCAE667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Hitachi Energy | Presentazione azienda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CFF0B37-6999-F9B9-39C0-10AF8F132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F4BC05-462B-4F19-BE6B-A1043C81AA78}" type="slidenum">
              <a:rPr kumimoji="0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sz="800" b="1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55AFE7-2442-4D03-16EA-D98A2E2C5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4" y="403200"/>
            <a:ext cx="9836785" cy="609398"/>
          </a:xfrm>
        </p:spPr>
        <p:txBody>
          <a:bodyPr/>
          <a:lstStyle/>
          <a:p>
            <a:pPr rtl="0"/>
            <a:r>
              <a:rPr lang="it-IT">
                <a:cs typeface="Arial"/>
              </a:rPr>
              <a:t>Serviamo i clienti lungo tutta la filiera energetic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B3DE2D-CFB2-976E-BA39-C97344885D4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20732"/>
            <a:ext cx="12192000" cy="3693568"/>
          </a:xfrm>
          <a:prstGeom prst="rect">
            <a:avLst/>
          </a:prstGeom>
        </p:spPr>
      </p:pic>
      <p:sp>
        <p:nvSpPr>
          <p:cNvPr id="9" name="Callout: Down Arrow 11">
            <a:extLst>
              <a:ext uri="{FF2B5EF4-FFF2-40B4-BE49-F238E27FC236}">
                <a16:creationId xmlns:a16="http://schemas.microsoft.com/office/drawing/2014/main" id="{E59DF4F0-3FB2-838F-A0ED-3221D4021A04}"/>
              </a:ext>
            </a:extLst>
          </p:cNvPr>
          <p:cNvSpPr/>
          <p:nvPr/>
        </p:nvSpPr>
        <p:spPr>
          <a:xfrm>
            <a:off x="10313028" y="3075974"/>
            <a:ext cx="1368000" cy="418022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Trasporti</a:t>
            </a:r>
          </a:p>
        </p:txBody>
      </p:sp>
      <p:sp>
        <p:nvSpPr>
          <p:cNvPr id="10" name="Callout: Down Arrow 31">
            <a:extLst>
              <a:ext uri="{FF2B5EF4-FFF2-40B4-BE49-F238E27FC236}">
                <a16:creationId xmlns:a16="http://schemas.microsoft.com/office/drawing/2014/main" id="{B5FDF077-8664-7E92-A427-DC057D3E848D}"/>
              </a:ext>
            </a:extLst>
          </p:cNvPr>
          <p:cNvSpPr/>
          <p:nvPr/>
        </p:nvSpPr>
        <p:spPr>
          <a:xfrm>
            <a:off x="7362939" y="3075974"/>
            <a:ext cx="1764000" cy="418022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Produzione di idrogeno</a:t>
            </a:r>
          </a:p>
        </p:txBody>
      </p:sp>
      <p:sp>
        <p:nvSpPr>
          <p:cNvPr id="11" name="Callout: Down Arrow 33">
            <a:extLst>
              <a:ext uri="{FF2B5EF4-FFF2-40B4-BE49-F238E27FC236}">
                <a16:creationId xmlns:a16="http://schemas.microsoft.com/office/drawing/2014/main" id="{EDA367CC-700C-8FE9-9EAF-C3470F89CC82}"/>
              </a:ext>
            </a:extLst>
          </p:cNvPr>
          <p:cNvSpPr/>
          <p:nvPr/>
        </p:nvSpPr>
        <p:spPr>
          <a:xfrm>
            <a:off x="2928249" y="3075974"/>
            <a:ext cx="1692000" cy="418022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rgbClr val="2D2D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Trasmissione di potenza</a:t>
            </a:r>
          </a:p>
        </p:txBody>
      </p:sp>
      <p:sp>
        <p:nvSpPr>
          <p:cNvPr id="12" name="Callout: Down Arrow 34">
            <a:extLst>
              <a:ext uri="{FF2B5EF4-FFF2-40B4-BE49-F238E27FC236}">
                <a16:creationId xmlns:a16="http://schemas.microsoft.com/office/drawing/2014/main" id="{003F05C5-65AE-1258-B02F-554A96329C62}"/>
              </a:ext>
            </a:extLst>
          </p:cNvPr>
          <p:cNvSpPr/>
          <p:nvPr/>
        </p:nvSpPr>
        <p:spPr>
          <a:xfrm>
            <a:off x="4809824" y="3075974"/>
            <a:ext cx="1584000" cy="418022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rgbClr val="2D2D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Distribuzione di energia</a:t>
            </a:r>
          </a:p>
        </p:txBody>
      </p:sp>
      <p:sp>
        <p:nvSpPr>
          <p:cNvPr id="13" name="Callout: Down Arrow 44">
            <a:extLst>
              <a:ext uri="{FF2B5EF4-FFF2-40B4-BE49-F238E27FC236}">
                <a16:creationId xmlns:a16="http://schemas.microsoft.com/office/drawing/2014/main" id="{A5B5D186-3679-E8BB-D05C-4A729D80DE71}"/>
              </a:ext>
            </a:extLst>
          </p:cNvPr>
          <p:cNvSpPr/>
          <p:nvPr/>
        </p:nvSpPr>
        <p:spPr>
          <a:xfrm>
            <a:off x="9143984" y="2685731"/>
            <a:ext cx="1152000" cy="418022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Data Center</a:t>
            </a:r>
          </a:p>
        </p:txBody>
      </p:sp>
      <p:sp>
        <p:nvSpPr>
          <p:cNvPr id="14" name="Callout: Down Arrow 45">
            <a:extLst>
              <a:ext uri="{FF2B5EF4-FFF2-40B4-BE49-F238E27FC236}">
                <a16:creationId xmlns:a16="http://schemas.microsoft.com/office/drawing/2014/main" id="{010F5B7D-8EA2-7B53-5678-CEDF20341B1F}"/>
              </a:ext>
            </a:extLst>
          </p:cNvPr>
          <p:cNvSpPr/>
          <p:nvPr/>
        </p:nvSpPr>
        <p:spPr>
          <a:xfrm>
            <a:off x="1795285" y="3598481"/>
            <a:ext cx="1067430" cy="418022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Fotovoltaico</a:t>
            </a:r>
            <a:endParaRPr kumimoji="0" lang="it-IT" sz="11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itachi Sans"/>
              <a:ea typeface="+mn-ea"/>
              <a:cs typeface="+mn-cs"/>
            </a:endParaRPr>
          </a:p>
        </p:txBody>
      </p:sp>
      <p:sp>
        <p:nvSpPr>
          <p:cNvPr id="15" name="Callout: Down Arrow 46">
            <a:extLst>
              <a:ext uri="{FF2B5EF4-FFF2-40B4-BE49-F238E27FC236}">
                <a16:creationId xmlns:a16="http://schemas.microsoft.com/office/drawing/2014/main" id="{2E298CE5-559D-1A9D-8020-B695444434F0}"/>
              </a:ext>
            </a:extLst>
          </p:cNvPr>
          <p:cNvSpPr/>
          <p:nvPr/>
        </p:nvSpPr>
        <p:spPr>
          <a:xfrm>
            <a:off x="2757290" y="2140318"/>
            <a:ext cx="1980000" cy="417600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Generazione</a:t>
            </a:r>
            <a:r>
              <a:rPr kumimoji="0" lang="it-IT" sz="105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 </a:t>
            </a:r>
            <a:r>
              <a:rPr kumimoji="0" lang="it-IT" sz="10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convenzionale</a:t>
            </a:r>
            <a:endParaRPr kumimoji="0" lang="it-IT" sz="105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itachi Sans"/>
              <a:ea typeface="+mn-ea"/>
              <a:cs typeface="+mn-cs"/>
            </a:endParaRPr>
          </a:p>
        </p:txBody>
      </p:sp>
      <p:sp>
        <p:nvSpPr>
          <p:cNvPr id="16" name="Callout: Down Arrow 47">
            <a:extLst>
              <a:ext uri="{FF2B5EF4-FFF2-40B4-BE49-F238E27FC236}">
                <a16:creationId xmlns:a16="http://schemas.microsoft.com/office/drawing/2014/main" id="{B7F8E99C-425B-62FF-4C59-46111A853492}"/>
              </a:ext>
            </a:extLst>
          </p:cNvPr>
          <p:cNvSpPr/>
          <p:nvPr/>
        </p:nvSpPr>
        <p:spPr>
          <a:xfrm>
            <a:off x="260425" y="1727459"/>
            <a:ext cx="1224000" cy="418022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Eolico offshore</a:t>
            </a:r>
          </a:p>
        </p:txBody>
      </p:sp>
      <p:sp>
        <p:nvSpPr>
          <p:cNvPr id="17" name="Callout: Down Arrow 48">
            <a:extLst>
              <a:ext uri="{FF2B5EF4-FFF2-40B4-BE49-F238E27FC236}">
                <a16:creationId xmlns:a16="http://schemas.microsoft.com/office/drawing/2014/main" id="{75594F41-19FA-86BE-4805-A7E077B226EF}"/>
              </a:ext>
            </a:extLst>
          </p:cNvPr>
          <p:cNvSpPr/>
          <p:nvPr/>
        </p:nvSpPr>
        <p:spPr>
          <a:xfrm>
            <a:off x="1231742" y="2635166"/>
            <a:ext cx="1224000" cy="418022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Eolico</a:t>
            </a:r>
            <a:r>
              <a:rPr kumimoji="0" lang="it-IT" sz="11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 terrestre</a:t>
            </a:r>
          </a:p>
        </p:txBody>
      </p:sp>
      <p:sp>
        <p:nvSpPr>
          <p:cNvPr id="18" name="Callout: Down Arrow 60">
            <a:extLst>
              <a:ext uri="{FF2B5EF4-FFF2-40B4-BE49-F238E27FC236}">
                <a16:creationId xmlns:a16="http://schemas.microsoft.com/office/drawing/2014/main" id="{E75FF523-E7F6-AB61-83A8-434A3B67B385}"/>
              </a:ext>
            </a:extLst>
          </p:cNvPr>
          <p:cNvSpPr/>
          <p:nvPr/>
        </p:nvSpPr>
        <p:spPr>
          <a:xfrm>
            <a:off x="6344609" y="2685731"/>
            <a:ext cx="1080000" cy="418022"/>
          </a:xfrm>
          <a:prstGeom prst="downArrowCallout">
            <a:avLst>
              <a:gd name="adj1" fmla="val 0"/>
              <a:gd name="adj2" fmla="val 25000"/>
              <a:gd name="adj3" fmla="val 25000"/>
              <a:gd name="adj4" fmla="val 64977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Industri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653ABDE-DBCF-0972-3F70-07A4B8FFA1EB}"/>
              </a:ext>
            </a:extLst>
          </p:cNvPr>
          <p:cNvGrpSpPr/>
          <p:nvPr/>
        </p:nvGrpSpPr>
        <p:grpSpPr>
          <a:xfrm>
            <a:off x="1521293" y="1065791"/>
            <a:ext cx="1467909" cy="174921"/>
            <a:chOff x="1521293" y="1065791"/>
            <a:chExt cx="1467909" cy="17492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8E0F925-A76A-C94B-A16D-C1553AE7C2D1}"/>
                </a:ext>
              </a:extLst>
            </p:cNvPr>
            <p:cNvSpPr/>
            <p:nvPr/>
          </p:nvSpPr>
          <p:spPr>
            <a:xfrm>
              <a:off x="1521293" y="1066541"/>
              <a:ext cx="174171" cy="17417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endParaRPr>
            </a:p>
          </p:txBody>
        </p:sp>
        <p:sp>
          <p:nvSpPr>
            <p:cNvPr id="21" name="object 6">
              <a:extLst>
                <a:ext uri="{FF2B5EF4-FFF2-40B4-BE49-F238E27FC236}">
                  <a16:creationId xmlns:a16="http://schemas.microsoft.com/office/drawing/2014/main" id="{A927B83D-3765-BA3D-34C7-3C8AA84BC16E}"/>
                </a:ext>
              </a:extLst>
            </p:cNvPr>
            <p:cNvSpPr txBox="1"/>
            <p:nvPr/>
          </p:nvSpPr>
          <p:spPr>
            <a:xfrm>
              <a:off x="1795285" y="1065791"/>
              <a:ext cx="1193917" cy="15818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7316" marR="3081" lvl="0" indent="0" algn="l" defTabSz="914400" rtl="0" eaLnBrk="1" fontAlgn="auto" latinLnBrk="0" hangingPunct="1">
                <a:lnSpc>
                  <a:spcPct val="103299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50" b="1" i="0" u="none" strike="noStrike" kern="1200" cap="none" spc="0" normalizeH="0" baseline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Hitachi Sans"/>
                  <a:ea typeface="+mn-ea"/>
                  <a:cs typeface="Arial"/>
                </a:rPr>
                <a:t>Produzione di energia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6CF4328-486E-DCF6-BEB3-ADA2BAD96D1C}"/>
              </a:ext>
            </a:extLst>
          </p:cNvPr>
          <p:cNvGrpSpPr/>
          <p:nvPr/>
        </p:nvGrpSpPr>
        <p:grpSpPr>
          <a:xfrm>
            <a:off x="4048779" y="1066165"/>
            <a:ext cx="2726267" cy="174921"/>
            <a:chOff x="3970768" y="1066165"/>
            <a:chExt cx="2726267" cy="17492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9A6D91F-E4DB-8F64-D8BF-0C825C4425A4}"/>
                </a:ext>
              </a:extLst>
            </p:cNvPr>
            <p:cNvSpPr/>
            <p:nvPr/>
          </p:nvSpPr>
          <p:spPr>
            <a:xfrm>
              <a:off x="3970768" y="1066915"/>
              <a:ext cx="174171" cy="17417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endParaRPr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4DA686EC-9B5B-CCFC-068D-ECA776DEBEB9}"/>
                </a:ext>
              </a:extLst>
            </p:cNvPr>
            <p:cNvSpPr txBox="1"/>
            <p:nvPr/>
          </p:nvSpPr>
          <p:spPr>
            <a:xfrm>
              <a:off x="4244761" y="1066165"/>
              <a:ext cx="2452274" cy="15818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7316" marR="3081" lvl="0" indent="0" algn="l" defTabSz="914400" rtl="0" eaLnBrk="1" fontAlgn="auto" latinLnBrk="0" hangingPunct="1">
                <a:lnSpc>
                  <a:spcPct val="103299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50" b="1" i="0" u="none" strike="noStrike" kern="1200" cap="none" spc="0" normalizeH="0" baseline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Hitachi Sans"/>
                  <a:ea typeface="+mn-ea"/>
                  <a:cs typeface="Arial"/>
                </a:rPr>
                <a:t>Trasmissione e distribuzione di energia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C1C08C0-A3B6-2D9F-508B-0536BE0AB461}"/>
              </a:ext>
            </a:extLst>
          </p:cNvPr>
          <p:cNvGrpSpPr/>
          <p:nvPr/>
        </p:nvGrpSpPr>
        <p:grpSpPr>
          <a:xfrm>
            <a:off x="7834623" y="1059461"/>
            <a:ext cx="2147312" cy="174171"/>
            <a:chOff x="7834623" y="1059461"/>
            <a:chExt cx="2147312" cy="174171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BDE7C5F-96ED-83C3-F0F5-AA66997058C3}"/>
                </a:ext>
              </a:extLst>
            </p:cNvPr>
            <p:cNvSpPr/>
            <p:nvPr/>
          </p:nvSpPr>
          <p:spPr>
            <a:xfrm>
              <a:off x="7834623" y="1059461"/>
              <a:ext cx="174171" cy="17417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endParaRPr>
            </a:p>
          </p:txBody>
        </p:sp>
        <p:sp>
          <p:nvSpPr>
            <p:cNvPr id="27" name="object 6">
              <a:extLst>
                <a:ext uri="{FF2B5EF4-FFF2-40B4-BE49-F238E27FC236}">
                  <a16:creationId xmlns:a16="http://schemas.microsoft.com/office/drawing/2014/main" id="{2A977B2B-9CF2-F9D8-2C08-D8A11D0C69AD}"/>
                </a:ext>
              </a:extLst>
            </p:cNvPr>
            <p:cNvSpPr txBox="1"/>
            <p:nvPr/>
          </p:nvSpPr>
          <p:spPr>
            <a:xfrm>
              <a:off x="8130787" y="1061096"/>
              <a:ext cx="1851148" cy="15818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7316" marR="3081" lvl="0" indent="0" algn="l" defTabSz="914400" rtl="0" eaLnBrk="1" fontAlgn="auto" latinLnBrk="0" hangingPunct="1">
                <a:lnSpc>
                  <a:spcPct val="103299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50" b="1" i="0" u="none" strike="noStrike" kern="1200" cap="none" spc="0" normalizeH="0" baseline="0">
                  <a:ln>
                    <a:noFill/>
                  </a:ln>
                  <a:solidFill>
                    <a:srgbClr val="231F20"/>
                  </a:solidFill>
                  <a:effectLst/>
                  <a:uLnTx/>
                  <a:uFillTx/>
                  <a:latin typeface="Hitachi Sans"/>
                  <a:ea typeface="+mn-ea"/>
                  <a:cs typeface="Arial"/>
                </a:rPr>
                <a:t>Industrie ad alta intensità energetica</a:t>
              </a:r>
            </a:p>
          </p:txBody>
        </p: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C188788E-083D-DE6B-DB45-0C63B7E92A70}"/>
              </a:ext>
            </a:extLst>
          </p:cNvPr>
          <p:cNvGrpSpPr/>
          <p:nvPr/>
        </p:nvGrpSpPr>
        <p:grpSpPr>
          <a:xfrm>
            <a:off x="473073" y="4712230"/>
            <a:ext cx="11401427" cy="1448849"/>
            <a:chOff x="473073" y="4712230"/>
            <a:chExt cx="11401427" cy="1448849"/>
          </a:xfrm>
        </p:grpSpPr>
        <p:sp>
          <p:nvSpPr>
            <p:cNvPr id="207" name="Arrow: Pentagon 23">
              <a:extLst>
                <a:ext uri="{FF2B5EF4-FFF2-40B4-BE49-F238E27FC236}">
                  <a16:creationId xmlns:a16="http://schemas.microsoft.com/office/drawing/2014/main" id="{856C4CD5-4759-A208-F0DC-E08B67B0CB83}"/>
                </a:ext>
              </a:extLst>
            </p:cNvPr>
            <p:cNvSpPr/>
            <p:nvPr/>
          </p:nvSpPr>
          <p:spPr>
            <a:xfrm>
              <a:off x="473073" y="4712230"/>
              <a:ext cx="2519054" cy="1448849"/>
            </a:xfrm>
            <a:prstGeom prst="homePlate">
              <a:avLst>
                <a:gd name="adj" fmla="val 26061"/>
              </a:avLst>
            </a:prstGeom>
            <a:solidFill>
              <a:schemeClr val="bg1">
                <a:alpha val="90000"/>
              </a:schemeClr>
            </a:solidFill>
            <a:ln>
              <a:solidFill>
                <a:schemeClr val="accent5">
                  <a:alpha val="5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endParaRPr>
            </a:p>
          </p:txBody>
        </p:sp>
        <p:sp>
          <p:nvSpPr>
            <p:cNvPr id="208" name="Arrow: Chevron 28">
              <a:extLst>
                <a:ext uri="{FF2B5EF4-FFF2-40B4-BE49-F238E27FC236}">
                  <a16:creationId xmlns:a16="http://schemas.microsoft.com/office/drawing/2014/main" id="{5E9E9394-C847-732D-A5BA-A60CA5EC0645}"/>
                </a:ext>
              </a:extLst>
            </p:cNvPr>
            <p:cNvSpPr/>
            <p:nvPr/>
          </p:nvSpPr>
          <p:spPr>
            <a:xfrm>
              <a:off x="2776379" y="4712230"/>
              <a:ext cx="2397327" cy="1448849"/>
            </a:xfrm>
            <a:prstGeom prst="chevron">
              <a:avLst>
                <a:gd name="adj" fmla="val 28237"/>
              </a:avLst>
            </a:prstGeom>
            <a:solidFill>
              <a:schemeClr val="bg1">
                <a:alpha val="90000"/>
              </a:schemeClr>
            </a:solidFill>
            <a:ln>
              <a:solidFill>
                <a:schemeClr val="accent5">
                  <a:alpha val="5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endParaRPr>
            </a:p>
          </p:txBody>
        </p:sp>
        <p:sp>
          <p:nvSpPr>
            <p:cNvPr id="209" name="Arrow: Chevron 28">
              <a:extLst>
                <a:ext uri="{FF2B5EF4-FFF2-40B4-BE49-F238E27FC236}">
                  <a16:creationId xmlns:a16="http://schemas.microsoft.com/office/drawing/2014/main" id="{B5458E80-0DAF-5A33-F518-9AF207CFDF5C}"/>
                </a:ext>
              </a:extLst>
            </p:cNvPr>
            <p:cNvSpPr/>
            <p:nvPr/>
          </p:nvSpPr>
          <p:spPr>
            <a:xfrm>
              <a:off x="4925522" y="4712230"/>
              <a:ext cx="2429763" cy="1448849"/>
            </a:xfrm>
            <a:prstGeom prst="chevron">
              <a:avLst>
                <a:gd name="adj" fmla="val 28963"/>
              </a:avLst>
            </a:prstGeom>
            <a:solidFill>
              <a:schemeClr val="bg1">
                <a:alpha val="90000"/>
              </a:schemeClr>
            </a:solidFill>
            <a:ln>
              <a:solidFill>
                <a:schemeClr val="accent5">
                  <a:alpha val="5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endParaRPr>
            </a:p>
          </p:txBody>
        </p:sp>
        <p:sp>
          <p:nvSpPr>
            <p:cNvPr id="210" name="Arrow: Chevron 28">
              <a:extLst>
                <a:ext uri="{FF2B5EF4-FFF2-40B4-BE49-F238E27FC236}">
                  <a16:creationId xmlns:a16="http://schemas.microsoft.com/office/drawing/2014/main" id="{BDA4C0A3-8EF0-21A8-252F-32273FB0490C}"/>
                </a:ext>
              </a:extLst>
            </p:cNvPr>
            <p:cNvSpPr/>
            <p:nvPr/>
          </p:nvSpPr>
          <p:spPr>
            <a:xfrm>
              <a:off x="7106828" y="4712230"/>
              <a:ext cx="2430036" cy="1448849"/>
            </a:xfrm>
            <a:prstGeom prst="chevron">
              <a:avLst>
                <a:gd name="adj" fmla="val 29839"/>
              </a:avLst>
            </a:prstGeom>
            <a:solidFill>
              <a:schemeClr val="bg1">
                <a:alpha val="90000"/>
              </a:schemeClr>
            </a:solidFill>
            <a:ln>
              <a:solidFill>
                <a:schemeClr val="accent5">
                  <a:alpha val="5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endParaRPr>
            </a:p>
          </p:txBody>
        </p:sp>
        <p:sp>
          <p:nvSpPr>
            <p:cNvPr id="211" name="Arrow: Chevron 28">
              <a:extLst>
                <a:ext uri="{FF2B5EF4-FFF2-40B4-BE49-F238E27FC236}">
                  <a16:creationId xmlns:a16="http://schemas.microsoft.com/office/drawing/2014/main" id="{3245048C-F5EE-0E9D-EB70-C8790D13C2CF}"/>
                </a:ext>
              </a:extLst>
            </p:cNvPr>
            <p:cNvSpPr/>
            <p:nvPr/>
          </p:nvSpPr>
          <p:spPr>
            <a:xfrm>
              <a:off x="9288406" y="4712230"/>
              <a:ext cx="2586094" cy="1448849"/>
            </a:xfrm>
            <a:prstGeom prst="chevron">
              <a:avLst>
                <a:gd name="adj" fmla="val 26333"/>
              </a:avLst>
            </a:prstGeom>
            <a:solidFill>
              <a:schemeClr val="bg1">
                <a:alpha val="90000"/>
              </a:schemeClr>
            </a:solidFill>
            <a:ln>
              <a:solidFill>
                <a:schemeClr val="accent5">
                  <a:alpha val="5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endParaRPr>
            </a:p>
          </p:txBody>
        </p:sp>
      </p:grpSp>
      <p:sp>
        <p:nvSpPr>
          <p:cNvPr id="212" name="object 6">
            <a:extLst>
              <a:ext uri="{FF2B5EF4-FFF2-40B4-BE49-F238E27FC236}">
                <a16:creationId xmlns:a16="http://schemas.microsoft.com/office/drawing/2014/main" id="{FD9ECAB8-EFCF-BDFC-4144-C890BC3E0FBA}"/>
              </a:ext>
            </a:extLst>
          </p:cNvPr>
          <p:cNvSpPr txBox="1"/>
          <p:nvPr/>
        </p:nvSpPr>
        <p:spPr>
          <a:xfrm>
            <a:off x="655963" y="5403830"/>
            <a:ext cx="1999173" cy="56650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7316" marR="3081" lvl="0" indent="0" algn="l" defTabSz="914400" rtl="0" eaLnBrk="1" fontAlgn="auto" latinLnBrk="0" hangingPunct="1">
              <a:lnSpc>
                <a:spcPct val="103299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Trasformare</a:t>
            </a:r>
            <a:r>
              <a:rPr kumimoji="0" lang="it-IT" sz="1200" b="0" i="0" u="none" strike="noStrike" kern="1200" cap="none" spc="69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 </a:t>
            </a:r>
            <a:r>
              <a:rPr kumimoji="0" lang="it-IT" sz="1200" b="0" i="0" u="none" strike="noStrike" kern="1200" cap="none" spc="-6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attraverso</a:t>
            </a:r>
            <a:br>
              <a:rPr kumimoji="0" lang="en-US" sz="1200" b="0" i="0" u="none" strike="noStrike" kern="1200" cap="none" spc="-6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</a:b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tecnologie</a:t>
            </a:r>
            <a:r>
              <a:rPr kumimoji="0" lang="it-IT" sz="1200" b="0" i="0" u="none" strike="noStrike" kern="1200" cap="none" spc="-6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 a basse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emissioni di carbonio</a:t>
            </a:r>
            <a:r>
              <a:rPr kumimoji="0" lang="it-IT" sz="1200" b="0" i="0" u="none" strike="noStrike" kern="1200" cap="none" spc="127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 </a:t>
            </a:r>
            <a:r>
              <a:rPr kumimoji="0" lang="it-IT" sz="1200" b="0" i="0" u="none" strike="noStrike" kern="1200" cap="none" spc="-15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 e </a:t>
            </a: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soluzioni</a:t>
            </a:r>
            <a:r>
              <a:rPr kumimoji="0" lang="it-IT" sz="1200" b="0" i="0" u="none" strike="noStrike" kern="1200" cap="none" spc="73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 </a:t>
            </a:r>
            <a:r>
              <a:rPr kumimoji="0" lang="it-IT" sz="1200" b="0" i="0" u="none" strike="noStrike" kern="1200" cap="none" spc="-6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 digitali</a:t>
            </a:r>
          </a:p>
        </p:txBody>
      </p:sp>
      <p:sp>
        <p:nvSpPr>
          <p:cNvPr id="213" name="object 8">
            <a:extLst>
              <a:ext uri="{FF2B5EF4-FFF2-40B4-BE49-F238E27FC236}">
                <a16:creationId xmlns:a16="http://schemas.microsoft.com/office/drawing/2014/main" id="{B8894066-1273-2502-04C8-9A9B5CAF9E44}"/>
              </a:ext>
            </a:extLst>
          </p:cNvPr>
          <p:cNvSpPr txBox="1"/>
          <p:nvPr/>
        </p:nvSpPr>
        <p:spPr>
          <a:xfrm>
            <a:off x="7552502" y="5403830"/>
            <a:ext cx="1820098" cy="5665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316" marR="3081" lvl="0" indent="0" algn="l" defTabSz="914400" rtl="0" eaLnBrk="1" fontAlgn="auto" latinLnBrk="0" hangingPunct="1">
              <a:lnSpc>
                <a:spcPct val="103299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Ampliare e rafforzare la rete di trasmissione e distribuzione</a:t>
            </a:r>
          </a:p>
        </p:txBody>
      </p:sp>
      <p:sp>
        <p:nvSpPr>
          <p:cNvPr id="214" name="object 10">
            <a:extLst>
              <a:ext uri="{FF2B5EF4-FFF2-40B4-BE49-F238E27FC236}">
                <a16:creationId xmlns:a16="http://schemas.microsoft.com/office/drawing/2014/main" id="{1410579C-625A-44FE-CF49-9796A90C5BA8}"/>
              </a:ext>
            </a:extLst>
          </p:cNvPr>
          <p:cNvSpPr txBox="1"/>
          <p:nvPr/>
        </p:nvSpPr>
        <p:spPr>
          <a:xfrm>
            <a:off x="5534792" y="5403830"/>
            <a:ext cx="1298811" cy="5665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316" marR="3081" lvl="0" indent="0" algn="l" defTabSz="914400" rtl="0" eaLnBrk="1" fontAlgn="auto" latinLnBrk="0" hangingPunct="1">
              <a:lnSpc>
                <a:spcPct val="103299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Decarbonizzare attraverso l'elettrificazione</a:t>
            </a:r>
          </a:p>
        </p:txBody>
      </p:sp>
      <p:sp>
        <p:nvSpPr>
          <p:cNvPr id="215" name="object 11">
            <a:extLst>
              <a:ext uri="{FF2B5EF4-FFF2-40B4-BE49-F238E27FC236}">
                <a16:creationId xmlns:a16="http://schemas.microsoft.com/office/drawing/2014/main" id="{69A314A4-019D-1559-BD0C-3FDED00DACEC}"/>
              </a:ext>
            </a:extLst>
          </p:cNvPr>
          <p:cNvSpPr txBox="1"/>
          <p:nvPr/>
        </p:nvSpPr>
        <p:spPr>
          <a:xfrm>
            <a:off x="9927961" y="5403830"/>
            <a:ext cx="1518199" cy="3763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316" marR="3081" lvl="0" indent="-385" algn="l" defTabSz="914400" rtl="0" eaLnBrk="1" fontAlgn="auto" latinLnBrk="0" hangingPunct="1">
              <a:lnSpc>
                <a:spcPct val="103299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Abilitare combustibili energetici sostenibili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</a:b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Hitachi Sans"/>
              <a:ea typeface="+mn-ea"/>
              <a:cs typeface="Arial"/>
            </a:endParaRPr>
          </a:p>
        </p:txBody>
      </p:sp>
      <p:sp>
        <p:nvSpPr>
          <p:cNvPr id="216" name="object 6">
            <a:extLst>
              <a:ext uri="{FF2B5EF4-FFF2-40B4-BE49-F238E27FC236}">
                <a16:creationId xmlns:a16="http://schemas.microsoft.com/office/drawing/2014/main" id="{4E7973E4-8C83-D4A2-7A7D-2EAA15E73CDB}"/>
              </a:ext>
            </a:extLst>
          </p:cNvPr>
          <p:cNvSpPr txBox="1"/>
          <p:nvPr/>
        </p:nvSpPr>
        <p:spPr>
          <a:xfrm>
            <a:off x="3278080" y="5403830"/>
            <a:ext cx="1596503" cy="5665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316" marR="3081" lvl="0" indent="0" algn="l" defTabSz="914400" rtl="0" eaLnBrk="1" fontAlgn="auto" latinLnBrk="0" hangingPunct="1">
              <a:lnSpc>
                <a:spcPct val="103299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Accelerare il passaggio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</a:br>
            <a:r>
              <a:rPr kumimoji="0" lang="it-IT" sz="1200" b="0" i="0" u="none" strike="noStrike" kern="1200" cap="none" spc="0" normalizeH="0" baseline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Hitachi Sans"/>
                <a:ea typeface="+mn-ea"/>
                <a:cs typeface="Arial"/>
              </a:rPr>
              <a:t>alla generazione di energia rinnovabile</a:t>
            </a:r>
          </a:p>
        </p:txBody>
      </p: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2FF05017-28F2-2DC5-1E79-D1F26BC0F7B3}"/>
              </a:ext>
            </a:extLst>
          </p:cNvPr>
          <p:cNvGrpSpPr/>
          <p:nvPr/>
        </p:nvGrpSpPr>
        <p:grpSpPr>
          <a:xfrm>
            <a:off x="655963" y="4866920"/>
            <a:ext cx="431004" cy="405242"/>
            <a:chOff x="655963" y="2615478"/>
            <a:chExt cx="337073" cy="316925"/>
          </a:xfrm>
          <a:noFill/>
        </p:grpSpPr>
        <p:pic>
          <p:nvPicPr>
            <p:cNvPr id="218" name="object 17">
              <a:extLst>
                <a:ext uri="{FF2B5EF4-FFF2-40B4-BE49-F238E27FC236}">
                  <a16:creationId xmlns:a16="http://schemas.microsoft.com/office/drawing/2014/main" id="{32FBEE86-485E-A32C-90DA-AEECBC6EC65F}"/>
                </a:ext>
              </a:extLst>
            </p:cNvPr>
            <p:cNvPicPr/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5963" y="2615478"/>
              <a:ext cx="63122" cy="85076"/>
            </a:xfrm>
            <a:prstGeom prst="rect">
              <a:avLst/>
            </a:prstGeom>
            <a:grpFill/>
          </p:spPr>
        </p:pic>
        <p:sp>
          <p:nvSpPr>
            <p:cNvPr id="219" name="object 18">
              <a:extLst>
                <a:ext uri="{FF2B5EF4-FFF2-40B4-BE49-F238E27FC236}">
                  <a16:creationId xmlns:a16="http://schemas.microsoft.com/office/drawing/2014/main" id="{52D0AE5D-44F4-5643-F680-AF56AB96FB97}"/>
                </a:ext>
              </a:extLst>
            </p:cNvPr>
            <p:cNvSpPr/>
            <p:nvPr/>
          </p:nvSpPr>
          <p:spPr>
            <a:xfrm>
              <a:off x="668135" y="2636295"/>
              <a:ext cx="324901" cy="296108"/>
            </a:xfrm>
            <a:custGeom>
              <a:avLst/>
              <a:gdLst/>
              <a:ahLst/>
              <a:cxnLst/>
              <a:rect l="l" t="t" r="r" b="b"/>
              <a:pathLst>
                <a:path w="481329" h="464184">
                  <a:moveTo>
                    <a:pt x="419652" y="354156"/>
                  </a:moveTo>
                  <a:lnTo>
                    <a:pt x="419652" y="464059"/>
                  </a:lnTo>
                </a:path>
                <a:path w="481329" h="464184">
                  <a:moveTo>
                    <a:pt x="260892" y="354156"/>
                  </a:moveTo>
                  <a:lnTo>
                    <a:pt x="199836" y="390783"/>
                  </a:lnTo>
                  <a:lnTo>
                    <a:pt x="122121" y="409107"/>
                  </a:lnTo>
                  <a:lnTo>
                    <a:pt x="12209" y="396898"/>
                  </a:lnTo>
                  <a:lnTo>
                    <a:pt x="0" y="421317"/>
                  </a:lnTo>
                  <a:lnTo>
                    <a:pt x="126561" y="464059"/>
                  </a:lnTo>
                  <a:lnTo>
                    <a:pt x="419652" y="427421"/>
                  </a:lnTo>
                  <a:lnTo>
                    <a:pt x="419652" y="464059"/>
                  </a:lnTo>
                  <a:lnTo>
                    <a:pt x="480707" y="464059"/>
                  </a:lnTo>
                  <a:lnTo>
                    <a:pt x="480707" y="293090"/>
                  </a:lnTo>
                  <a:lnTo>
                    <a:pt x="419652" y="293090"/>
                  </a:lnTo>
                  <a:lnTo>
                    <a:pt x="419652" y="317519"/>
                  </a:lnTo>
                  <a:lnTo>
                    <a:pt x="370805" y="317519"/>
                  </a:lnTo>
                  <a:lnTo>
                    <a:pt x="348582" y="303396"/>
                  </a:lnTo>
                  <a:lnTo>
                    <a:pt x="334814" y="296144"/>
                  </a:lnTo>
                  <a:lnTo>
                    <a:pt x="323774" y="293472"/>
                  </a:lnTo>
                  <a:lnTo>
                    <a:pt x="309739" y="293090"/>
                  </a:lnTo>
                  <a:lnTo>
                    <a:pt x="237838" y="300359"/>
                  </a:lnTo>
                  <a:lnTo>
                    <a:pt x="201322" y="304204"/>
                  </a:lnTo>
                  <a:lnTo>
                    <a:pt x="188898" y="305902"/>
                  </a:lnTo>
                  <a:lnTo>
                    <a:pt x="189271" y="306734"/>
                  </a:lnTo>
                  <a:lnTo>
                    <a:pt x="104939" y="325298"/>
                  </a:lnTo>
                  <a:lnTo>
                    <a:pt x="129231" y="355319"/>
                  </a:lnTo>
                  <a:lnTo>
                    <a:pt x="260892" y="354156"/>
                  </a:lnTo>
                  <a:close/>
                </a:path>
                <a:path w="481329" h="464184">
                  <a:moveTo>
                    <a:pt x="79379" y="299195"/>
                  </a:moveTo>
                  <a:lnTo>
                    <a:pt x="79379" y="195397"/>
                  </a:lnTo>
                  <a:lnTo>
                    <a:pt x="84626" y="141206"/>
                  </a:lnTo>
                  <a:lnTo>
                    <a:pt x="98457" y="103808"/>
                  </a:lnTo>
                  <a:lnTo>
                    <a:pt x="140435" y="61066"/>
                  </a:lnTo>
                  <a:lnTo>
                    <a:pt x="194247" y="30917"/>
                  </a:lnTo>
                  <a:lnTo>
                    <a:pt x="241188" y="12215"/>
                  </a:lnTo>
                  <a:lnTo>
                    <a:pt x="286986" y="0"/>
                  </a:lnTo>
                  <a:lnTo>
                    <a:pt x="279349" y="57057"/>
                  </a:lnTo>
                  <a:lnTo>
                    <a:pt x="259505" y="111629"/>
                  </a:lnTo>
                  <a:lnTo>
                    <a:pt x="192721" y="164484"/>
                  </a:lnTo>
                  <a:lnTo>
                    <a:pt x="140438" y="183185"/>
                  </a:lnTo>
                  <a:lnTo>
                    <a:pt x="97315" y="192726"/>
                  </a:lnTo>
                  <a:lnTo>
                    <a:pt x="79379" y="195397"/>
                  </a:lnTo>
                </a:path>
              </a:pathLst>
            </a:custGeom>
            <a:grpFill/>
            <a:ln w="18313">
              <a:solidFill>
                <a:srgbClr val="01020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20" name="object 19">
              <a:extLst>
                <a:ext uri="{FF2B5EF4-FFF2-40B4-BE49-F238E27FC236}">
                  <a16:creationId xmlns:a16="http://schemas.microsoft.com/office/drawing/2014/main" id="{6100EB3A-AC22-CA64-04E1-762F6B1DD3A8}"/>
                </a:ext>
              </a:extLst>
            </p:cNvPr>
            <p:cNvPicPr/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4388" y="2673302"/>
              <a:ext cx="78305" cy="66212"/>
            </a:xfrm>
            <a:prstGeom prst="rect">
              <a:avLst/>
            </a:prstGeom>
            <a:grpFill/>
          </p:spPr>
        </p:pic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6CBBCFD7-240F-05DF-E451-1CFE176763E2}"/>
              </a:ext>
            </a:extLst>
          </p:cNvPr>
          <p:cNvGrpSpPr/>
          <p:nvPr/>
        </p:nvGrpSpPr>
        <p:grpSpPr>
          <a:xfrm>
            <a:off x="3251430" y="4853958"/>
            <a:ext cx="418722" cy="441475"/>
            <a:chOff x="3500539" y="990775"/>
            <a:chExt cx="538025" cy="567263"/>
          </a:xfrm>
          <a:noFill/>
        </p:grpSpPr>
        <p:sp>
          <p:nvSpPr>
            <p:cNvPr id="222" name="object 20">
              <a:extLst>
                <a:ext uri="{FF2B5EF4-FFF2-40B4-BE49-F238E27FC236}">
                  <a16:creationId xmlns:a16="http://schemas.microsoft.com/office/drawing/2014/main" id="{E58E8FDB-B425-B4C2-5DA4-A242B14FD0F6}"/>
                </a:ext>
              </a:extLst>
            </p:cNvPr>
            <p:cNvSpPr/>
            <p:nvPr/>
          </p:nvSpPr>
          <p:spPr>
            <a:xfrm>
              <a:off x="3749302" y="1234591"/>
              <a:ext cx="89437" cy="323447"/>
            </a:xfrm>
            <a:custGeom>
              <a:avLst/>
              <a:gdLst/>
              <a:ahLst/>
              <a:cxnLst/>
              <a:rect l="l" t="t" r="r" b="b"/>
              <a:pathLst>
                <a:path w="80645" h="308609">
                  <a:moveTo>
                    <a:pt x="53569" y="0"/>
                  </a:moveTo>
                  <a:lnTo>
                    <a:pt x="80353" y="241050"/>
                  </a:lnTo>
                  <a:lnTo>
                    <a:pt x="80353" y="308011"/>
                  </a:lnTo>
                  <a:lnTo>
                    <a:pt x="0" y="308011"/>
                  </a:lnTo>
                  <a:lnTo>
                    <a:pt x="0" y="241050"/>
                  </a:lnTo>
                  <a:lnTo>
                    <a:pt x="26784" y="0"/>
                  </a:lnTo>
                </a:path>
              </a:pathLst>
            </a:custGeom>
            <a:grpFill/>
            <a:ln w="20083">
              <a:solidFill>
                <a:srgbClr val="01020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23" name="object 21">
              <a:extLst>
                <a:ext uri="{FF2B5EF4-FFF2-40B4-BE49-F238E27FC236}">
                  <a16:creationId xmlns:a16="http://schemas.microsoft.com/office/drawing/2014/main" id="{EDB1BFC9-BF2D-438F-D472-C475639238AC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500539" y="1167921"/>
              <a:ext cx="215341" cy="77194"/>
            </a:xfrm>
            <a:prstGeom prst="rect">
              <a:avLst/>
            </a:prstGeom>
            <a:grpFill/>
          </p:spPr>
        </p:pic>
        <p:sp>
          <p:nvSpPr>
            <p:cNvPr id="224" name="object 22">
              <a:extLst>
                <a:ext uri="{FF2B5EF4-FFF2-40B4-BE49-F238E27FC236}">
                  <a16:creationId xmlns:a16="http://schemas.microsoft.com/office/drawing/2014/main" id="{C1CBC59A-18D9-936A-218C-0CBD578FEE7E}"/>
                </a:ext>
              </a:extLst>
            </p:cNvPr>
            <p:cNvSpPr/>
            <p:nvPr/>
          </p:nvSpPr>
          <p:spPr>
            <a:xfrm>
              <a:off x="3541379" y="990775"/>
              <a:ext cx="497185" cy="349402"/>
            </a:xfrm>
            <a:custGeom>
              <a:avLst/>
              <a:gdLst/>
              <a:ahLst/>
              <a:cxnLst/>
              <a:rect l="l" t="t" r="r" b="b"/>
              <a:pathLst>
                <a:path w="448309" h="333375">
                  <a:moveTo>
                    <a:pt x="285719" y="148717"/>
                  </a:moveTo>
                  <a:lnTo>
                    <a:pt x="264054" y="132969"/>
                  </a:lnTo>
                  <a:lnTo>
                    <a:pt x="269325" y="113102"/>
                  </a:lnTo>
                  <a:lnTo>
                    <a:pt x="272413" y="102274"/>
                  </a:lnTo>
                  <a:lnTo>
                    <a:pt x="296984" y="67156"/>
                  </a:lnTo>
                  <a:lnTo>
                    <a:pt x="328270" y="34564"/>
                  </a:lnTo>
                  <a:lnTo>
                    <a:pt x="358931" y="7838"/>
                  </a:lnTo>
                  <a:lnTo>
                    <a:pt x="377213" y="0"/>
                  </a:lnTo>
                  <a:lnTo>
                    <a:pt x="376125" y="19154"/>
                  </a:lnTo>
                  <a:lnTo>
                    <a:pt x="361373" y="55482"/>
                  </a:lnTo>
                  <a:lnTo>
                    <a:pt x="340281" y="95089"/>
                  </a:lnTo>
                  <a:lnTo>
                    <a:pt x="312713" y="130231"/>
                  </a:lnTo>
                  <a:lnTo>
                    <a:pt x="285719" y="148717"/>
                  </a:lnTo>
                  <a:close/>
                </a:path>
                <a:path w="448309" h="333375">
                  <a:moveTo>
                    <a:pt x="303938" y="234422"/>
                  </a:moveTo>
                  <a:lnTo>
                    <a:pt x="290546" y="257625"/>
                  </a:lnTo>
                  <a:lnTo>
                    <a:pt x="303448" y="273628"/>
                  </a:lnTo>
                  <a:lnTo>
                    <a:pt x="310676" y="282263"/>
                  </a:lnTo>
                  <a:lnTo>
                    <a:pt x="347408" y="304349"/>
                  </a:lnTo>
                  <a:lnTo>
                    <a:pt x="389243" y="321398"/>
                  </a:lnTo>
                  <a:lnTo>
                    <a:pt x="428123" y="333343"/>
                  </a:lnTo>
                  <a:lnTo>
                    <a:pt x="448017" y="333068"/>
                  </a:lnTo>
                  <a:lnTo>
                    <a:pt x="410971" y="288827"/>
                  </a:lnTo>
                  <a:lnTo>
                    <a:pt x="375595" y="261222"/>
                  </a:lnTo>
                  <a:lnTo>
                    <a:pt x="336119" y="240332"/>
                  </a:lnTo>
                  <a:lnTo>
                    <a:pt x="303938" y="234422"/>
                  </a:lnTo>
                  <a:close/>
                </a:path>
                <a:path w="448309" h="333375">
                  <a:moveTo>
                    <a:pt x="0" y="125493"/>
                  </a:moveTo>
                  <a:lnTo>
                    <a:pt x="160696" y="125493"/>
                  </a:lnTo>
                </a:path>
                <a:path w="448309" h="333375">
                  <a:moveTo>
                    <a:pt x="53558" y="71924"/>
                  </a:moveTo>
                  <a:lnTo>
                    <a:pt x="214265" y="71924"/>
                  </a:lnTo>
                </a:path>
                <a:path w="448309" h="333375">
                  <a:moveTo>
                    <a:pt x="107127" y="18365"/>
                  </a:moveTo>
                  <a:lnTo>
                    <a:pt x="267834" y="18365"/>
                  </a:lnTo>
                </a:path>
                <a:path w="448309" h="333375">
                  <a:moveTo>
                    <a:pt x="261133" y="205847"/>
                  </a:moveTo>
                  <a:lnTo>
                    <a:pt x="258503" y="218878"/>
                  </a:lnTo>
                  <a:lnTo>
                    <a:pt x="251330" y="229519"/>
                  </a:lnTo>
                  <a:lnTo>
                    <a:pt x="240689" y="236692"/>
                  </a:lnTo>
                  <a:lnTo>
                    <a:pt x="227657" y="239322"/>
                  </a:lnTo>
                  <a:lnTo>
                    <a:pt x="214626" y="236692"/>
                  </a:lnTo>
                  <a:lnTo>
                    <a:pt x="203985" y="229519"/>
                  </a:lnTo>
                  <a:lnTo>
                    <a:pt x="196812" y="218878"/>
                  </a:lnTo>
                  <a:lnTo>
                    <a:pt x="194182" y="205847"/>
                  </a:lnTo>
                  <a:lnTo>
                    <a:pt x="196812" y="192815"/>
                  </a:lnTo>
                  <a:lnTo>
                    <a:pt x="203985" y="182175"/>
                  </a:lnTo>
                  <a:lnTo>
                    <a:pt x="214626" y="175001"/>
                  </a:lnTo>
                  <a:lnTo>
                    <a:pt x="227657" y="172371"/>
                  </a:lnTo>
                  <a:lnTo>
                    <a:pt x="240689" y="175001"/>
                  </a:lnTo>
                  <a:lnTo>
                    <a:pt x="251330" y="182175"/>
                  </a:lnTo>
                  <a:lnTo>
                    <a:pt x="258503" y="192815"/>
                  </a:lnTo>
                  <a:lnTo>
                    <a:pt x="261133" y="205847"/>
                  </a:lnTo>
                  <a:close/>
                </a:path>
              </a:pathLst>
            </a:custGeom>
            <a:grpFill/>
            <a:ln w="20083">
              <a:solidFill>
                <a:srgbClr val="01020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E66127F5-9E8A-E384-6B9C-1082CCFB346C}"/>
              </a:ext>
            </a:extLst>
          </p:cNvPr>
          <p:cNvGrpSpPr/>
          <p:nvPr/>
        </p:nvGrpSpPr>
        <p:grpSpPr>
          <a:xfrm>
            <a:off x="7552471" y="4875079"/>
            <a:ext cx="404752" cy="382392"/>
            <a:chOff x="8160700" y="1008985"/>
            <a:chExt cx="520080" cy="491347"/>
          </a:xfrm>
          <a:noFill/>
        </p:grpSpPr>
        <p:sp>
          <p:nvSpPr>
            <p:cNvPr id="226" name="object 23">
              <a:extLst>
                <a:ext uri="{FF2B5EF4-FFF2-40B4-BE49-F238E27FC236}">
                  <a16:creationId xmlns:a16="http://schemas.microsoft.com/office/drawing/2014/main" id="{CA19CBD1-F795-B35F-51EA-48561E38C2C8}"/>
                </a:ext>
              </a:extLst>
            </p:cNvPr>
            <p:cNvSpPr/>
            <p:nvPr/>
          </p:nvSpPr>
          <p:spPr>
            <a:xfrm>
              <a:off x="8160700" y="1008985"/>
              <a:ext cx="504228" cy="488499"/>
            </a:xfrm>
            <a:custGeom>
              <a:avLst/>
              <a:gdLst/>
              <a:ahLst/>
              <a:cxnLst/>
              <a:rect l="l" t="t" r="r" b="b"/>
              <a:pathLst>
                <a:path w="454659" h="466090">
                  <a:moveTo>
                    <a:pt x="442740" y="46605"/>
                  </a:moveTo>
                  <a:lnTo>
                    <a:pt x="442740" y="81557"/>
                  </a:lnTo>
                </a:path>
                <a:path w="454659" h="466090">
                  <a:moveTo>
                    <a:pt x="227197" y="46605"/>
                  </a:moveTo>
                  <a:lnTo>
                    <a:pt x="227197" y="81557"/>
                  </a:lnTo>
                </a:path>
                <a:path w="454659" h="466090">
                  <a:moveTo>
                    <a:pt x="11643" y="46605"/>
                  </a:moveTo>
                  <a:lnTo>
                    <a:pt x="11643" y="81557"/>
                  </a:lnTo>
                </a:path>
                <a:path w="454659" h="466090">
                  <a:moveTo>
                    <a:pt x="454394" y="46605"/>
                  </a:moveTo>
                  <a:lnTo>
                    <a:pt x="407788" y="0"/>
                  </a:lnTo>
                  <a:lnTo>
                    <a:pt x="46605" y="0"/>
                  </a:lnTo>
                  <a:lnTo>
                    <a:pt x="0" y="46605"/>
                  </a:lnTo>
                  <a:lnTo>
                    <a:pt x="454394" y="46605"/>
                  </a:lnTo>
                  <a:close/>
                </a:path>
                <a:path w="454659" h="466090">
                  <a:moveTo>
                    <a:pt x="104855" y="0"/>
                  </a:moveTo>
                  <a:lnTo>
                    <a:pt x="174759" y="227050"/>
                  </a:lnTo>
                  <a:lnTo>
                    <a:pt x="116509" y="466048"/>
                  </a:lnTo>
                  <a:lnTo>
                    <a:pt x="337884" y="466048"/>
                  </a:lnTo>
                  <a:lnTo>
                    <a:pt x="279624" y="227050"/>
                  </a:lnTo>
                  <a:lnTo>
                    <a:pt x="349528" y="0"/>
                  </a:lnTo>
                </a:path>
              </a:pathLst>
            </a:custGeom>
            <a:grpFill/>
            <a:ln w="17475">
              <a:solidFill>
                <a:srgbClr val="01020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27" name="object 24">
              <a:extLst>
                <a:ext uri="{FF2B5EF4-FFF2-40B4-BE49-F238E27FC236}">
                  <a16:creationId xmlns:a16="http://schemas.microsoft.com/office/drawing/2014/main" id="{0CC3F845-DADF-0BEF-7020-DF014722B4CA}"/>
                </a:ext>
              </a:extLst>
            </p:cNvPr>
            <p:cNvPicPr/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80221" y="1049617"/>
              <a:ext cx="264891" cy="450715"/>
            </a:xfrm>
            <a:prstGeom prst="rect">
              <a:avLst/>
            </a:prstGeom>
            <a:grpFill/>
          </p:spPr>
        </p:pic>
        <p:pic>
          <p:nvPicPr>
            <p:cNvPr id="228" name="object 25">
              <a:extLst>
                <a:ext uri="{FF2B5EF4-FFF2-40B4-BE49-F238E27FC236}">
                  <a16:creationId xmlns:a16="http://schemas.microsoft.com/office/drawing/2014/main" id="{9C99F23F-64E1-E795-4A54-9AEBBC1E2F1A}"/>
                </a:ext>
              </a:extLst>
            </p:cNvPr>
            <p:cNvPicPr/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70950" y="1158570"/>
              <a:ext cx="109830" cy="250334"/>
            </a:xfrm>
            <a:prstGeom prst="rect">
              <a:avLst/>
            </a:prstGeom>
            <a:grpFill/>
          </p:spPr>
        </p:pic>
      </p:grp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4D888C9A-2B21-6136-85B9-1960FE5F9176}"/>
              </a:ext>
            </a:extLst>
          </p:cNvPr>
          <p:cNvGrpSpPr/>
          <p:nvPr/>
        </p:nvGrpSpPr>
        <p:grpSpPr>
          <a:xfrm>
            <a:off x="5534803" y="4875874"/>
            <a:ext cx="409782" cy="380177"/>
            <a:chOff x="5913045" y="994312"/>
            <a:chExt cx="526537" cy="488499"/>
          </a:xfrm>
          <a:noFill/>
        </p:grpSpPr>
        <p:sp>
          <p:nvSpPr>
            <p:cNvPr id="230" name="object 27">
              <a:extLst>
                <a:ext uri="{FF2B5EF4-FFF2-40B4-BE49-F238E27FC236}">
                  <a16:creationId xmlns:a16="http://schemas.microsoft.com/office/drawing/2014/main" id="{A9247855-4727-1A3C-A76E-9C4F43927429}"/>
                </a:ext>
              </a:extLst>
            </p:cNvPr>
            <p:cNvSpPr/>
            <p:nvPr/>
          </p:nvSpPr>
          <p:spPr>
            <a:xfrm>
              <a:off x="5913045" y="994312"/>
              <a:ext cx="361975" cy="488499"/>
            </a:xfrm>
            <a:custGeom>
              <a:avLst/>
              <a:gdLst/>
              <a:ahLst/>
              <a:cxnLst/>
              <a:rect l="l" t="t" r="r" b="b"/>
              <a:pathLst>
                <a:path w="326390" h="466090">
                  <a:moveTo>
                    <a:pt x="291279" y="407788"/>
                  </a:moveTo>
                  <a:lnTo>
                    <a:pt x="34951" y="407788"/>
                  </a:lnTo>
                  <a:lnTo>
                    <a:pt x="34951" y="0"/>
                  </a:lnTo>
                  <a:lnTo>
                    <a:pt x="291279" y="0"/>
                  </a:lnTo>
                  <a:lnTo>
                    <a:pt x="291279" y="407788"/>
                  </a:lnTo>
                  <a:close/>
                </a:path>
                <a:path w="326390" h="466090">
                  <a:moveTo>
                    <a:pt x="326230" y="466048"/>
                  </a:moveTo>
                  <a:lnTo>
                    <a:pt x="0" y="466048"/>
                  </a:lnTo>
                  <a:lnTo>
                    <a:pt x="0" y="407788"/>
                  </a:lnTo>
                  <a:lnTo>
                    <a:pt x="326230" y="407788"/>
                  </a:lnTo>
                  <a:lnTo>
                    <a:pt x="326230" y="466048"/>
                  </a:lnTo>
                  <a:close/>
                </a:path>
                <a:path w="326390" h="466090">
                  <a:moveTo>
                    <a:pt x="244673" y="139817"/>
                  </a:moveTo>
                  <a:lnTo>
                    <a:pt x="81557" y="139817"/>
                  </a:lnTo>
                  <a:lnTo>
                    <a:pt x="81557" y="34962"/>
                  </a:lnTo>
                  <a:lnTo>
                    <a:pt x="244673" y="34962"/>
                  </a:lnTo>
                  <a:lnTo>
                    <a:pt x="244673" y="139817"/>
                  </a:lnTo>
                  <a:close/>
                </a:path>
              </a:pathLst>
            </a:custGeom>
            <a:grpFill/>
            <a:ln w="17475">
              <a:solidFill>
                <a:srgbClr val="01020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31" name="object 28">
              <a:extLst>
                <a:ext uri="{FF2B5EF4-FFF2-40B4-BE49-F238E27FC236}">
                  <a16:creationId xmlns:a16="http://schemas.microsoft.com/office/drawing/2014/main" id="{157EE4E9-5B7F-5A8E-D5A4-75A94B339468}"/>
                </a:ext>
              </a:extLst>
            </p:cNvPr>
            <p:cNvPicPr/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30604" y="1079790"/>
              <a:ext cx="208978" cy="308338"/>
            </a:xfrm>
            <a:prstGeom prst="rect">
              <a:avLst/>
            </a:prstGeom>
            <a:grpFill/>
          </p:spPr>
        </p:pic>
        <p:sp>
          <p:nvSpPr>
            <p:cNvPr id="232" name="object 29">
              <a:extLst>
                <a:ext uri="{FF2B5EF4-FFF2-40B4-BE49-F238E27FC236}">
                  <a16:creationId xmlns:a16="http://schemas.microsoft.com/office/drawing/2014/main" id="{AE129B61-3A9B-73F1-6AB5-FAF56C999B5E}"/>
                </a:ext>
              </a:extLst>
            </p:cNvPr>
            <p:cNvSpPr/>
            <p:nvPr/>
          </p:nvSpPr>
          <p:spPr>
            <a:xfrm>
              <a:off x="6055309" y="1183586"/>
              <a:ext cx="64788" cy="177696"/>
            </a:xfrm>
            <a:custGeom>
              <a:avLst/>
              <a:gdLst/>
              <a:ahLst/>
              <a:cxnLst/>
              <a:rect l="l" t="t" r="r" b="b"/>
              <a:pathLst>
                <a:path w="58420" h="169545">
                  <a:moveTo>
                    <a:pt x="11654" y="168937"/>
                  </a:moveTo>
                  <a:lnTo>
                    <a:pt x="58260" y="81557"/>
                  </a:lnTo>
                  <a:lnTo>
                    <a:pt x="0" y="81557"/>
                  </a:lnTo>
                  <a:lnTo>
                    <a:pt x="40658" y="0"/>
                  </a:lnTo>
                </a:path>
              </a:pathLst>
            </a:custGeom>
            <a:grpFill/>
            <a:ln w="17475">
              <a:solidFill>
                <a:srgbClr val="01020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33" name="object 30">
            <a:extLst>
              <a:ext uri="{FF2B5EF4-FFF2-40B4-BE49-F238E27FC236}">
                <a16:creationId xmlns:a16="http://schemas.microsoft.com/office/drawing/2014/main" id="{074C92B6-A53B-783A-D8AC-A09CFE19C5AF}"/>
              </a:ext>
            </a:extLst>
          </p:cNvPr>
          <p:cNvSpPr/>
          <p:nvPr/>
        </p:nvSpPr>
        <p:spPr>
          <a:xfrm>
            <a:off x="9927961" y="4873095"/>
            <a:ext cx="387487" cy="387947"/>
          </a:xfrm>
          <a:custGeom>
            <a:avLst/>
            <a:gdLst/>
            <a:ahLst/>
            <a:cxnLst/>
            <a:rect l="l" t="t" r="r" b="b"/>
            <a:pathLst>
              <a:path w="448944" h="475615">
                <a:moveTo>
                  <a:pt x="232139" y="469933"/>
                </a:moveTo>
                <a:lnTo>
                  <a:pt x="195130" y="443406"/>
                </a:lnTo>
                <a:lnTo>
                  <a:pt x="165215" y="411217"/>
                </a:lnTo>
                <a:lnTo>
                  <a:pt x="142232" y="373963"/>
                </a:lnTo>
                <a:lnTo>
                  <a:pt x="126018" y="332243"/>
                </a:lnTo>
                <a:lnTo>
                  <a:pt x="116409" y="286654"/>
                </a:lnTo>
                <a:lnTo>
                  <a:pt x="113242" y="237793"/>
                </a:lnTo>
                <a:lnTo>
                  <a:pt x="116845" y="190680"/>
                </a:lnTo>
                <a:lnTo>
                  <a:pt x="127414" y="145766"/>
                </a:lnTo>
                <a:lnTo>
                  <a:pt x="144588" y="103928"/>
                </a:lnTo>
                <a:lnTo>
                  <a:pt x="168007" y="66045"/>
                </a:lnTo>
                <a:lnTo>
                  <a:pt x="197311" y="32994"/>
                </a:lnTo>
                <a:lnTo>
                  <a:pt x="232139" y="5654"/>
                </a:lnTo>
              </a:path>
              <a:path w="448944" h="475615">
                <a:moveTo>
                  <a:pt x="237804" y="475598"/>
                </a:moveTo>
                <a:lnTo>
                  <a:pt x="189878" y="470766"/>
                </a:lnTo>
                <a:lnTo>
                  <a:pt x="145239" y="456910"/>
                </a:lnTo>
                <a:lnTo>
                  <a:pt x="104845" y="434985"/>
                </a:lnTo>
                <a:lnTo>
                  <a:pt x="69651" y="405947"/>
                </a:lnTo>
                <a:lnTo>
                  <a:pt x="40613" y="370752"/>
                </a:lnTo>
                <a:lnTo>
                  <a:pt x="18687" y="330358"/>
                </a:lnTo>
                <a:lnTo>
                  <a:pt x="4831" y="285719"/>
                </a:lnTo>
                <a:lnTo>
                  <a:pt x="0" y="237793"/>
                </a:lnTo>
                <a:lnTo>
                  <a:pt x="4831" y="189868"/>
                </a:lnTo>
                <a:lnTo>
                  <a:pt x="18687" y="145231"/>
                </a:lnTo>
                <a:lnTo>
                  <a:pt x="40613" y="104838"/>
                </a:lnTo>
                <a:lnTo>
                  <a:pt x="69651" y="69645"/>
                </a:lnTo>
                <a:lnTo>
                  <a:pt x="104845" y="40609"/>
                </a:lnTo>
                <a:lnTo>
                  <a:pt x="145239" y="18686"/>
                </a:lnTo>
                <a:lnTo>
                  <a:pt x="189878" y="4830"/>
                </a:lnTo>
                <a:lnTo>
                  <a:pt x="237804" y="0"/>
                </a:lnTo>
                <a:lnTo>
                  <a:pt x="237804" y="475598"/>
                </a:lnTo>
                <a:close/>
              </a:path>
              <a:path w="448944" h="475615">
                <a:moveTo>
                  <a:pt x="0" y="237793"/>
                </a:moveTo>
                <a:lnTo>
                  <a:pt x="237804" y="237793"/>
                </a:lnTo>
              </a:path>
              <a:path w="448944" h="475615">
                <a:moveTo>
                  <a:pt x="237804" y="135880"/>
                </a:moveTo>
                <a:lnTo>
                  <a:pt x="190692" y="131811"/>
                </a:lnTo>
                <a:lnTo>
                  <a:pt x="146219" y="120061"/>
                </a:lnTo>
                <a:lnTo>
                  <a:pt x="105074" y="101318"/>
                </a:lnTo>
                <a:lnTo>
                  <a:pt x="67945" y="76269"/>
                </a:lnTo>
              </a:path>
              <a:path w="448944" h="475615">
                <a:moveTo>
                  <a:pt x="67945" y="399317"/>
                </a:moveTo>
                <a:lnTo>
                  <a:pt x="105074" y="374268"/>
                </a:lnTo>
                <a:lnTo>
                  <a:pt x="146219" y="355525"/>
                </a:lnTo>
                <a:lnTo>
                  <a:pt x="190692" y="343776"/>
                </a:lnTo>
                <a:lnTo>
                  <a:pt x="237804" y="339706"/>
                </a:lnTo>
              </a:path>
              <a:path w="448944" h="475615">
                <a:moveTo>
                  <a:pt x="339665" y="386417"/>
                </a:moveTo>
                <a:lnTo>
                  <a:pt x="437400" y="186832"/>
                </a:lnTo>
                <a:lnTo>
                  <a:pt x="380292" y="186832"/>
                </a:lnTo>
                <a:lnTo>
                  <a:pt x="448824" y="59443"/>
                </a:lnTo>
                <a:lnTo>
                  <a:pt x="334513" y="59443"/>
                </a:lnTo>
                <a:lnTo>
                  <a:pt x="300252" y="263300"/>
                </a:lnTo>
                <a:lnTo>
                  <a:pt x="355182" y="263300"/>
                </a:lnTo>
                <a:lnTo>
                  <a:pt x="339665" y="386417"/>
                </a:lnTo>
                <a:close/>
              </a:path>
            </a:pathLst>
          </a:custGeom>
          <a:noFill/>
          <a:ln w="17831">
            <a:solidFill>
              <a:srgbClr val="01020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/>
              <a:ea typeface="+mn-ea"/>
              <a:cs typeface="Arial" panose="020B0604020202020204" pitchFamily="34" charset="0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1008234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81A0253-4118-73DC-C11A-C76FD9BE28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8501C32-4E72-8680-3186-F76C77557172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6000">
                <a:schemeClr val="tx1">
                  <a:alpha val="75000"/>
                </a:schemeClr>
              </a:gs>
              <a:gs pos="39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itachi Sans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D2E3C0-C78D-0DAD-2E7A-A8D070F65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706642"/>
            <a:ext cx="6496050" cy="443198"/>
          </a:xfrm>
        </p:spPr>
        <p:txBody>
          <a:bodyPr/>
          <a:lstStyle/>
          <a:p>
            <a:pPr rtl="0"/>
            <a:r>
              <a:rPr lang="it-IT" sz="3200" b="1"/>
              <a:t>Verso un futuro a zero emissioni di carboni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AD595D-0EFF-26B3-BAB5-B8F54AE51199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rtl="0"/>
            <a:r>
              <a:rPr lang="it-IT"/>
              <a:t>Guidare la trasformazione energetica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B72128C-A62A-94D6-7610-BE3ADBEBF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r>
              <a:rPr lang="it-IT"/>
              <a:t>Hitachi Group Company | Titolo del titolo della presentazio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EE96CB-0FF3-1CB7-DFBB-EA459411C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29F4BC05-462B-4F19-BE6B-A1043C81AA78}" type="slidenum">
              <a:rPr/>
              <a:pPr rtl="0"/>
              <a:t>8</a:t>
            </a:fld>
            <a:endParaRPr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B2C1A2-4D20-D412-82AC-65066914CB53}"/>
              </a:ext>
            </a:extLst>
          </p:cNvPr>
          <p:cNvSpPr/>
          <p:nvPr/>
        </p:nvSpPr>
        <p:spPr>
          <a:xfrm>
            <a:off x="905075" y="3112142"/>
            <a:ext cx="2892973" cy="2388268"/>
          </a:xfrm>
          <a:prstGeom prst="rect">
            <a:avLst/>
          </a:prstGeom>
          <a:solidFill>
            <a:srgbClr val="2D2D2D">
              <a:alpha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3FAE919D-4C61-B7D6-DC68-A2550873ABF8}"/>
              </a:ext>
            </a:extLst>
          </p:cNvPr>
          <p:cNvSpPr txBox="1">
            <a:spLocks/>
          </p:cNvSpPr>
          <p:nvPr/>
        </p:nvSpPr>
        <p:spPr bwMode="gray">
          <a:xfrm>
            <a:off x="1226251" y="3640431"/>
            <a:ext cx="2660985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defRPr/>
            </a:pPr>
            <a:r>
              <a:rPr lang="it-IT" sz="2400">
                <a:solidFill>
                  <a:prstClr val="white"/>
                </a:solidFill>
                <a:latin typeface="Arial" panose="020B0604020202020204"/>
              </a:rPr>
              <a:t>L'elettricità sarà la spina dorsale dell'intero sistema energetico</a:t>
            </a:r>
            <a:br>
              <a:rPr lang="en-US" sz="2400" dirty="0">
                <a:solidFill>
                  <a:prstClr val="white"/>
                </a:solidFill>
                <a:latin typeface="Arial" panose="020B0604020202020204"/>
              </a:rPr>
            </a:br>
            <a:br>
              <a:rPr lang="en-US" sz="2400" dirty="0">
                <a:solidFill>
                  <a:prstClr val="white"/>
                </a:solidFill>
                <a:latin typeface="Arial" panose="020B0604020202020204"/>
              </a:rPr>
            </a:br>
            <a:br>
              <a:rPr lang="en-US" sz="2400" dirty="0">
                <a:solidFill>
                  <a:prstClr val="white"/>
                </a:solidFill>
                <a:latin typeface="Arial" panose="020B0604020202020204"/>
              </a:rPr>
            </a:br>
            <a:endParaRPr lang="en-US" sz="2400" dirty="0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413F472-626F-322A-EEF1-5168AA2D245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870" y="3208938"/>
            <a:ext cx="374259" cy="24950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F7EBA8D-6423-3110-7A50-0A2DD73E5811}"/>
              </a:ext>
            </a:extLst>
          </p:cNvPr>
          <p:cNvSpPr/>
          <p:nvPr/>
        </p:nvSpPr>
        <p:spPr>
          <a:xfrm>
            <a:off x="4523183" y="3112142"/>
            <a:ext cx="2892973" cy="2388268"/>
          </a:xfrm>
          <a:prstGeom prst="rect">
            <a:avLst/>
          </a:prstGeom>
          <a:solidFill>
            <a:srgbClr val="FF0026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HGPｺﾞｼｯｸE" pitchFamily="50" charset="-128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A411875-8442-5175-D357-59501F86E347}"/>
              </a:ext>
            </a:extLst>
          </p:cNvPr>
          <p:cNvSpPr txBox="1">
            <a:spLocks/>
          </p:cNvSpPr>
          <p:nvPr/>
        </p:nvSpPr>
        <p:spPr bwMode="gray">
          <a:xfrm>
            <a:off x="4755171" y="3509403"/>
            <a:ext cx="2458591" cy="13388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defRPr/>
            </a:pPr>
            <a:r>
              <a:rPr lang="it-IT" sz="2800">
                <a:solidFill>
                  <a:prstClr val="white"/>
                </a:solidFill>
                <a:latin typeface="Arial" panose="020B0604020202020204"/>
              </a:rPr>
              <a:t>Oggi</a:t>
            </a:r>
          </a:p>
          <a:p>
            <a:pPr algn="r" rtl="0">
              <a:defRPr/>
            </a:pPr>
            <a:r>
              <a:rPr lang="it-IT" sz="5400" b="1">
                <a:solidFill>
                  <a:prstClr val="white"/>
                </a:solidFill>
                <a:latin typeface="Arial" panose="020B0604020202020204"/>
              </a:rPr>
              <a:t>~20%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C50636D-6F9F-6593-90C8-8715CFC1B7E8}"/>
              </a:ext>
            </a:extLst>
          </p:cNvPr>
          <p:cNvSpPr/>
          <p:nvPr/>
        </p:nvSpPr>
        <p:spPr>
          <a:xfrm>
            <a:off x="8141294" y="3112142"/>
            <a:ext cx="2892973" cy="2388268"/>
          </a:xfrm>
          <a:prstGeom prst="rect">
            <a:avLst/>
          </a:prstGeom>
          <a:solidFill>
            <a:srgbClr val="FF0026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HGPｺﾞｼｯｸE" pitchFamily="50" charset="-128"/>
            </a:endParaRP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9A5FC9EC-E923-D7E0-3430-F7AE0B7B0F28}"/>
              </a:ext>
            </a:extLst>
          </p:cNvPr>
          <p:cNvSpPr txBox="1">
            <a:spLocks/>
          </p:cNvSpPr>
          <p:nvPr/>
        </p:nvSpPr>
        <p:spPr bwMode="gray">
          <a:xfrm>
            <a:off x="8373282" y="3509403"/>
            <a:ext cx="2458591" cy="1908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defRPr/>
            </a:pPr>
            <a:r>
              <a:rPr lang="it-IT" sz="2800">
                <a:solidFill>
                  <a:prstClr val="white"/>
                </a:solidFill>
                <a:latin typeface="Arial" panose="020B0604020202020204"/>
              </a:rPr>
              <a:t>2050</a:t>
            </a:r>
          </a:p>
          <a:p>
            <a:pPr algn="r" rtl="0">
              <a:defRPr/>
            </a:pPr>
            <a:r>
              <a:rPr lang="it-IT" sz="5400" b="1">
                <a:solidFill>
                  <a:prstClr val="white"/>
                </a:solidFill>
                <a:latin typeface="Arial" panose="020B0604020202020204"/>
              </a:rPr>
              <a:t>+50%</a:t>
            </a:r>
          </a:p>
          <a:p>
            <a:pPr algn="r" rtl="0">
              <a:defRPr/>
            </a:pPr>
            <a:r>
              <a:rPr lang="it-IT" sz="1600" b="1">
                <a:solidFill>
                  <a:prstClr val="white"/>
                </a:solidFill>
                <a:latin typeface="Arial" panose="020B0604020202020204"/>
              </a:rPr>
              <a:t>del consumo energetico tota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159B46-10DC-2B44-DB0B-8455BAAD5E8B}"/>
              </a:ext>
            </a:extLst>
          </p:cNvPr>
          <p:cNvSpPr/>
          <p:nvPr/>
        </p:nvSpPr>
        <p:spPr>
          <a:xfrm>
            <a:off x="918192" y="5576267"/>
            <a:ext cx="10116075" cy="706230"/>
          </a:xfrm>
          <a:prstGeom prst="rect">
            <a:avLst/>
          </a:prstGeom>
          <a:solidFill>
            <a:srgbClr val="2D2D2D">
              <a:alpha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rtl="0"/>
            <a:r>
              <a:rPr lang="it-IT" sz="2800" kern="0" dirty="0">
                <a:solidFill>
                  <a:schemeClr val="bg1"/>
                </a:solidFill>
                <a:latin typeface="+mj-lt"/>
              </a:rPr>
              <a:t>I trasformatori sono ovunque ci sia elettricità</a:t>
            </a:r>
          </a:p>
        </p:txBody>
      </p:sp>
    </p:spTree>
    <p:extLst>
      <p:ext uri="{BB962C8B-B14F-4D97-AF65-F5344CB8AC3E}">
        <p14:creationId xmlns:p14="http://schemas.microsoft.com/office/powerpoint/2010/main" val="2704752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9D72F0-C299-5E6E-C1A9-8E03819D5C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89DB76AD-1AA8-D5BD-0154-B0EF1A4BA417}"/>
              </a:ext>
            </a:extLst>
          </p:cNvPr>
          <p:cNvSpPr/>
          <p:nvPr/>
        </p:nvSpPr>
        <p:spPr>
          <a:xfrm>
            <a:off x="5064124" y="2517775"/>
            <a:ext cx="7127875" cy="43402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itachi Sans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BF1A439-E5AF-2584-B62E-199B8AE60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Hitachi Energy | Presentazione azienda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5B2232-C1A7-DCBE-6D21-3069DDFE0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F4BC05-462B-4F19-BE6B-A1043C81AA78}" type="slidenum">
              <a:rPr kumimoji="0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sz="800" b="1" i="0" u="none" strike="noStrike" kern="1200" cap="none" spc="0" normalizeH="0" baseline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tachi Sans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1720A07-A93B-058B-8667-875B2DCAE9F9}"/>
              </a:ext>
            </a:extLst>
          </p:cNvPr>
          <p:cNvSpPr txBox="1"/>
          <p:nvPr/>
        </p:nvSpPr>
        <p:spPr>
          <a:xfrm>
            <a:off x="473073" y="2742088"/>
            <a:ext cx="4326462" cy="962047"/>
          </a:xfrm>
          <a:prstGeom prst="rect">
            <a:avLst/>
          </a:prstGeom>
          <a:solidFill>
            <a:srgbClr val="FF0000"/>
          </a:solidFill>
        </p:spPr>
        <p:txBody>
          <a:bodyPr wrap="square" lIns="251999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~18.000 dipendent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con </a:t>
            </a:r>
            <a:r>
              <a:rPr kumimoji="0" lang="it-IT" sz="1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~30 centri di assistenz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D2BFBEE-20BC-CEC4-9F8E-E8F203436CE4}"/>
              </a:ext>
            </a:extLst>
          </p:cNvPr>
          <p:cNvSpPr txBox="1"/>
          <p:nvPr/>
        </p:nvSpPr>
        <p:spPr>
          <a:xfrm>
            <a:off x="473073" y="3881704"/>
            <a:ext cx="4326461" cy="771056"/>
          </a:xfrm>
          <a:prstGeom prst="rect">
            <a:avLst/>
          </a:prstGeom>
          <a:noFill/>
        </p:spPr>
        <p:txBody>
          <a:bodyPr wrap="square" lIns="10800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Gamma completa di </a:t>
            </a: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trasformatori, componenti e servizi di potenza, distribuzione e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</a:b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trazion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A6BE4BE-3BF9-4EA9-58BF-CD89B3128286}"/>
              </a:ext>
            </a:extLst>
          </p:cNvPr>
          <p:cNvSpPr txBox="1"/>
          <p:nvPr/>
        </p:nvSpPr>
        <p:spPr>
          <a:xfrm>
            <a:off x="473073" y="4553064"/>
            <a:ext cx="4326463" cy="771056"/>
          </a:xfrm>
          <a:prstGeom prst="rect">
            <a:avLst/>
          </a:prstGeom>
          <a:noFill/>
        </p:spPr>
        <p:txBody>
          <a:bodyPr wrap="square" lIns="10800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Intervallo di tensione fino 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dirty="0">
                <a:ln>
                  <a:noFill/>
                </a:ln>
                <a:solidFill>
                  <a:srgbClr val="FA000F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1.200 kV CA e 1.100 kV CC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756EE6A-3F7F-7E88-5FC0-2CAE67910FAE}"/>
              </a:ext>
            </a:extLst>
          </p:cNvPr>
          <p:cNvSpPr txBox="1"/>
          <p:nvPr/>
        </p:nvSpPr>
        <p:spPr>
          <a:xfrm>
            <a:off x="473073" y="5396711"/>
            <a:ext cx="2080466" cy="771056"/>
          </a:xfrm>
          <a:prstGeom prst="rect">
            <a:avLst/>
          </a:prstGeom>
          <a:noFill/>
        </p:spPr>
        <p:txBody>
          <a:bodyPr wrap="square" lIns="10800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dirty="0">
                <a:ln>
                  <a:noFill/>
                </a:ln>
                <a:solidFill>
                  <a:srgbClr val="FA000F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⁓60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A000F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</a:br>
            <a:r>
              <a:rPr kumimoji="0" lang="it-IT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fabbriche </a:t>
            </a:r>
            <a:r>
              <a:rPr kumimoji="0" lang="it-IT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in tutto il mondo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E48E082-8D79-C528-2851-343C2DA12B9B}"/>
              </a:ext>
            </a:extLst>
          </p:cNvPr>
          <p:cNvSpPr txBox="1"/>
          <p:nvPr/>
        </p:nvSpPr>
        <p:spPr>
          <a:xfrm>
            <a:off x="2719069" y="5387375"/>
            <a:ext cx="2080466" cy="771056"/>
          </a:xfrm>
          <a:prstGeom prst="rect">
            <a:avLst/>
          </a:prstGeom>
          <a:noFill/>
        </p:spPr>
        <p:txBody>
          <a:bodyPr wrap="square" lIns="10800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Operativi 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dirty="0">
                <a:ln>
                  <a:noFill/>
                </a:ln>
                <a:solidFill>
                  <a:srgbClr val="FA000F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60 Paesi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BFD9017-FDC4-D672-C596-88D3D51CB5B4}"/>
              </a:ext>
            </a:extLst>
          </p:cNvPr>
          <p:cNvSpPr/>
          <p:nvPr/>
        </p:nvSpPr>
        <p:spPr bwMode="auto">
          <a:xfrm>
            <a:off x="5496126" y="3087449"/>
            <a:ext cx="6494019" cy="3200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Cos'è un trasformatore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b="1" dirty="0">
              <a:solidFill>
                <a:prstClr val="black"/>
              </a:solidFill>
              <a:latin typeface="Hitachi Sans"/>
            </a:endParaRPr>
          </a:p>
          <a:p>
            <a:pPr rtl="0">
              <a:defRPr/>
            </a:pPr>
            <a:r>
              <a:rPr lang="it-IT" sz="1600" i="0" dirty="0"/>
              <a:t>I trasformatori sono fondamentali per la nostra moderna infrastruttura elettrica. Realizzano l'aumento o la diminuzione della tensione elettrica, consentendo l'efficiente </a:t>
            </a:r>
            <a:r>
              <a:rPr lang="it-IT" sz="1600" b="1" i="0" dirty="0"/>
              <a:t>trasmissione e distribuzione dell'elettricità </a:t>
            </a:r>
            <a:r>
              <a:rPr lang="it-IT" sz="1600" i="0" dirty="0"/>
              <a:t>su lunghe distanze. </a:t>
            </a:r>
          </a:p>
          <a:p>
            <a:pPr>
              <a:defRPr/>
            </a:pPr>
            <a:endParaRPr lang="en-US" sz="1600" dirty="0"/>
          </a:p>
          <a:p>
            <a:pPr>
              <a:defRPr/>
            </a:pPr>
            <a:endParaRPr lang="en-US" sz="1600" dirty="0"/>
          </a:p>
          <a:p>
            <a:pPr rtl="0">
              <a:defRPr/>
            </a:pPr>
            <a:r>
              <a:rPr lang="it-IT" sz="1600" i="0" dirty="0"/>
              <a:t>Dai piccoli trasformatori presenti nei dispositivi di uso quotidiano, ai grandi trasformatori industriali utilizzati nelle reti elettriche, questi componenti sono </a:t>
            </a:r>
            <a:r>
              <a:rPr lang="it-IT" sz="1600" b="1" i="0" dirty="0"/>
              <a:t>essenziali </a:t>
            </a:r>
            <a:r>
              <a:rPr lang="it-IT" sz="1600" i="0" dirty="0"/>
              <a:t>per il funzionamento affidabile del nostro </a:t>
            </a:r>
            <a:r>
              <a:rPr lang="it-IT" sz="1600" b="1" i="0" dirty="0"/>
              <a:t>mondo interconnesso</a:t>
            </a:r>
            <a:r>
              <a:rPr lang="it-IT" sz="1600" i="0" dirty="0"/>
              <a:t>. </a:t>
            </a:r>
          </a:p>
          <a:p>
            <a:pPr>
              <a:defRPr/>
            </a:pPr>
            <a:endParaRPr lang="en-US" sz="1600" i="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3DADE52-F777-9DC5-5327-E31218FED01C}"/>
              </a:ext>
            </a:extLst>
          </p:cNvPr>
          <p:cNvSpPr txBox="1"/>
          <p:nvPr/>
        </p:nvSpPr>
        <p:spPr>
          <a:xfrm>
            <a:off x="9083710" y="6372001"/>
            <a:ext cx="2636151" cy="810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Italiano: Tutti i diritti riservati </a:t>
            </a:r>
          </a:p>
        </p:txBody>
      </p:sp>
      <p:pic>
        <p:nvPicPr>
          <p:cNvPr id="4" name="Picture Placeholder 50">
            <a:extLst>
              <a:ext uri="{FF2B5EF4-FFF2-40B4-BE49-F238E27FC236}">
                <a16:creationId xmlns:a16="http://schemas.microsoft.com/office/drawing/2014/main" id="{69078727-7B96-D754-170F-151124710BD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514689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33AB1128-C234-CE0D-8D7B-5C3491557223}"/>
              </a:ext>
            </a:extLst>
          </p:cNvPr>
          <p:cNvGrpSpPr/>
          <p:nvPr/>
        </p:nvGrpSpPr>
        <p:grpSpPr>
          <a:xfrm>
            <a:off x="473075" y="388801"/>
            <a:ext cx="3641725" cy="1528900"/>
            <a:chOff x="5717683" y="1651379"/>
            <a:chExt cx="5547073" cy="3389887"/>
          </a:xfrm>
          <a:effectLst>
            <a:outerShdw blurRad="1270000" dist="379392" dir="5400000" algn="t" rotWithShape="0">
              <a:prstClr val="black">
                <a:alpha val="60132"/>
              </a:prstClr>
            </a:outerShdw>
          </a:effectLst>
        </p:grpSpPr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2F40C7D8-C931-4BA8-0298-14BA21CBB37D}"/>
                </a:ext>
              </a:extLst>
            </p:cNvPr>
            <p:cNvSpPr/>
            <p:nvPr/>
          </p:nvSpPr>
          <p:spPr>
            <a:xfrm>
              <a:off x="5717683" y="1651379"/>
              <a:ext cx="5547073" cy="3389887"/>
            </a:xfrm>
            <a:prstGeom prst="roundRect">
              <a:avLst>
                <a:gd name="adj" fmla="val 2374"/>
              </a:avLst>
            </a:prstGeom>
            <a:gradFill>
              <a:gsLst>
                <a:gs pos="72000">
                  <a:schemeClr val="accent1">
                    <a:lumMod val="0"/>
                    <a:lumOff val="100000"/>
                    <a:alpha val="87000"/>
                  </a:schemeClr>
                </a:gs>
                <a:gs pos="100000">
                  <a:schemeClr val="accent1">
                    <a:lumMod val="27225"/>
                    <a:lumOff val="72775"/>
                  </a:schemeClr>
                </a:gs>
              </a:gsLst>
              <a:lin ang="7200000" scaled="0"/>
            </a:gradFill>
            <a:ln w="12700" cap="flat" cmpd="sng" algn="ctr">
              <a:solidFill>
                <a:schemeClr val="accent5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4C267C7-9168-D0FE-78AD-AEE8692853D7}"/>
                </a:ext>
              </a:extLst>
            </p:cNvPr>
            <p:cNvSpPr txBox="1"/>
            <p:nvPr/>
          </p:nvSpPr>
          <p:spPr>
            <a:xfrm>
              <a:off x="6131267" y="2148729"/>
              <a:ext cx="4649874" cy="159227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Trasformatori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tachi Sans"/>
                  <a:ea typeface="+mn-ea"/>
                  <a:cs typeface="+mn-cs"/>
                </a:rPr>
                <a:t>La più grande base installata al mondo</a:t>
              </a:r>
            </a:p>
          </p:txBody>
        </p:sp>
      </p:grpSp>
      <p:pic>
        <p:nvPicPr>
          <p:cNvPr id="5" name="Graphic 4">
            <a:extLst>
              <a:ext uri="{FF2B5EF4-FFF2-40B4-BE49-F238E27FC236}">
                <a16:creationId xmlns:a16="http://schemas.microsoft.com/office/drawing/2014/main" id="{B2344776-3237-9FF9-3378-BE0B36F2DB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8817" y="388800"/>
            <a:ext cx="1026000" cy="227505"/>
          </a:xfrm>
          <a:prstGeom prst="rect">
            <a:avLst/>
          </a:prstGeom>
        </p:spPr>
      </p:pic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BA019B44-08F8-E6E0-7FB8-4FE404E6C96A}"/>
              </a:ext>
            </a:extLst>
          </p:cNvPr>
          <p:cNvSpPr txBox="1">
            <a:spLocks/>
          </p:cNvSpPr>
          <p:nvPr/>
        </p:nvSpPr>
        <p:spPr>
          <a:xfrm>
            <a:off x="473073" y="6486133"/>
            <a:ext cx="4721227" cy="23553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0" i="0" u="none" strike="noStrike" kern="1200" cap="none" spc="0" normalizeH="0" baseline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Hitachi Sans"/>
                <a:ea typeface="+mn-ea"/>
                <a:cs typeface="+mn-cs"/>
              </a:rPr>
              <a:t>Le cifre includono i trasformatori BU e i professionisti dei trasformatori che lavorano per il servizio BU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492341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fiTTWHROG7NTWwp.OQx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ITFIPAS\AppData\Local\Temp\Templafy\PowerPointVsto\Assets\building.s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ITFIPAS\AppData\Local\Temp\Templafy\PowerPointVsto\Assets\factory .s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ITFIPAS\AppData\Local\Temp\Templafy\PowerPointVsto\Assets\building.s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ITFIPAS\AppData\Local\Temp\Templafy\PowerPointVsto\Assets\building.s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ITFIPAS\AppData\Local\Temp\Templafy\PowerPointVsto\Assets\factory .s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ITFIPAS\AppData\Local\Temp\Templafy\PowerPointVsto\Assets\factory .s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ITFIPAS\AppData\Local\Temp\Templafy\PowerPointVsto\Assets\factory .s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DS9wFcSpuzzOR05s0e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Fo8FbqRVWwyynV5Y5y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fiTTWHROG7NTWwp.OQ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yO0Xw2Tms.3iRU_wKa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yO0Xw2Tms.3iRU_wKa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nz2M8T17AVOrvQZwBa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xrc9eyyqFTLEwcGciT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sGYvC3ee_sEj4DWEt86w"/>
</p:tagLst>
</file>

<file path=ppt/theme/theme1.xml><?xml version="1.0" encoding="utf-8"?>
<a:theme xmlns:a="http://schemas.openxmlformats.org/drawingml/2006/main" name="Hitachi Theme">
  <a:themeElements>
    <a:clrScheme name="Hitachi">
      <a:dk1>
        <a:sysClr val="windowText" lastClr="000000"/>
      </a:dk1>
      <a:lt1>
        <a:sysClr val="window" lastClr="FFFFFF"/>
      </a:lt1>
      <a:dk2>
        <a:srgbClr val="222222"/>
      </a:dk2>
      <a:lt2>
        <a:srgbClr val="CC0000"/>
      </a:lt2>
      <a:accent1>
        <a:srgbClr val="FA000F"/>
      </a:accent1>
      <a:accent2>
        <a:srgbClr val="4D4D4D"/>
      </a:accent2>
      <a:accent3>
        <a:srgbClr val="737373"/>
      </a:accent3>
      <a:accent4>
        <a:srgbClr val="B3B3B3"/>
      </a:accent4>
      <a:accent5>
        <a:srgbClr val="D9D9D9"/>
      </a:accent5>
      <a:accent6>
        <a:srgbClr val="F4F4F4"/>
      </a:accent6>
      <a:hlink>
        <a:srgbClr val="000000"/>
      </a:hlink>
      <a:folHlink>
        <a:srgbClr val="222222"/>
      </a:folHlink>
    </a:clrScheme>
    <a:fontScheme name="Hitachi">
      <a:majorFont>
        <a:latin typeface="Hitachi Sans"/>
        <a:ea typeface=""/>
        <a:cs typeface=""/>
      </a:majorFont>
      <a:minorFont>
        <a:latin typeface="Hitachi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defRPr sz="800" dirty="0" smtClean="0">
            <a:effectLst/>
          </a:defRPr>
        </a:defPPr>
      </a:lstStyle>
    </a:txDef>
  </a:objectDefaults>
  <a:extraClrSchemeLst/>
  <a:custClrLst>
    <a:custClr name="Green">
      <a:srgbClr val="00FA82"/>
    </a:custClr>
    <a:custClr name="Cyan">
      <a:srgbClr val="00DCFA"/>
    </a:custClr>
    <a:custClr name="Blue">
      <a:srgbClr val="0064FA"/>
    </a:custClr>
    <a:custClr name="Purple">
      <a:srgbClr val="9B00FA"/>
    </a:custClr>
    <a:custClr name="Pink">
      <a:srgbClr val="FA00A5"/>
    </a:custClr>
    <a:custClr name="Orange">
      <a:srgbClr val="FA6900"/>
    </a:custClr>
    <a:custClr name="Yellow">
      <a:srgbClr val="FAD200"/>
    </a:custClr>
  </a:custClrLst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Hitachi Colors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Hitachi Fon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Yu Gothic UI">
    <a:majorFont>
      <a:latin typeface="Yu Gothic UI"/>
      <a:ea typeface="Yu Gothic UI"/>
      <a:cs typeface=""/>
    </a:majorFont>
    <a:minorFont>
      <a:latin typeface="Yu Gothic UI"/>
      <a:ea typeface="Yu Gothic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Yu Gothic UI">
    <a:majorFont>
      <a:latin typeface="Yu Gothic UI"/>
      <a:ea typeface="Yu Gothic UI"/>
      <a:cs typeface=""/>
    </a:majorFont>
    <a:minorFont>
      <a:latin typeface="Yu Gothic UI"/>
      <a:ea typeface="Yu Gothic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Yu Gothic UI">
    <a:majorFont>
      <a:latin typeface="Yu Gothic UI"/>
      <a:ea typeface="Yu Gothic UI"/>
      <a:cs typeface=""/>
    </a:majorFont>
    <a:minorFont>
      <a:latin typeface="Yu Gothic UI"/>
      <a:ea typeface="Yu Gothic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Yu Gothic UI">
    <a:majorFont>
      <a:latin typeface="Yu Gothic UI"/>
      <a:ea typeface="Yu Gothic UI"/>
      <a:cs typeface=""/>
    </a:majorFont>
    <a:minorFont>
      <a:latin typeface="Yu Gothic UI"/>
      <a:ea typeface="Yu Gothic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Hitachi Colors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Hitachi Fon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Hitachi Colors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Hitachi Fon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Hitachi Colors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Hitachi Fon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Yu Gothic UI">
    <a:majorFont>
      <a:latin typeface="Yu Gothic UI"/>
      <a:ea typeface="Yu Gothic UI"/>
      <a:cs typeface=""/>
    </a:majorFont>
    <a:minorFont>
      <a:latin typeface="Yu Gothic UI"/>
      <a:ea typeface="Yu Gothic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Yu Gothic UI">
    <a:majorFont>
      <a:latin typeface="Yu Gothic UI"/>
      <a:ea typeface="Yu Gothic UI"/>
      <a:cs typeface=""/>
    </a:majorFont>
    <a:minorFont>
      <a:latin typeface="Yu Gothic UI"/>
      <a:ea typeface="Yu Gothic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Yu Gothic UI">
    <a:majorFont>
      <a:latin typeface="Yu Gothic UI"/>
      <a:ea typeface="Yu Gothic UI"/>
      <a:cs typeface=""/>
    </a:majorFont>
    <a:minorFont>
      <a:latin typeface="Yu Gothic UI"/>
      <a:ea typeface="Yu Gothic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Yu Gothic UI">
    <a:majorFont>
      <a:latin typeface="Yu Gothic UI"/>
      <a:ea typeface="Yu Gothic UI"/>
      <a:cs typeface=""/>
    </a:majorFont>
    <a:minorFont>
      <a:latin typeface="Yu Gothic UI"/>
      <a:ea typeface="Yu Gothic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FF0026"/>
    </a:dk2>
    <a:lt2>
      <a:srgbClr val="B1000E"/>
    </a:lt2>
    <a:accent1>
      <a:srgbClr val="7E000A"/>
    </a:accent1>
    <a:accent2>
      <a:srgbClr val="2D2D2D"/>
    </a:accent2>
    <a:accent3>
      <a:srgbClr val="4D4D4D"/>
    </a:accent3>
    <a:accent4>
      <a:srgbClr val="737373"/>
    </a:accent4>
    <a:accent5>
      <a:srgbClr val="B3B3B3"/>
    </a:accent5>
    <a:accent6>
      <a:srgbClr val="D9D9D9"/>
    </a:accent6>
    <a:hlink>
      <a:srgbClr val="FF0026"/>
    </a:hlink>
    <a:folHlink>
      <a:srgbClr val="B1000E"/>
    </a:folHlink>
  </a:clrScheme>
  <a:fontScheme name="Yu Gothic UI">
    <a:majorFont>
      <a:latin typeface="Yu Gothic UI"/>
      <a:ea typeface="Yu Gothic UI"/>
      <a:cs typeface=""/>
    </a:majorFont>
    <a:minorFont>
      <a:latin typeface="Yu Gothic UI"/>
      <a:ea typeface="Yu Gothic UI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4aef0fc-f5d3-4a9f-bdab-fc0d1d3b6d43">
      <Terms xmlns="http://schemas.microsoft.com/office/infopath/2007/PartnerControls"/>
    </lcf76f155ced4ddcb4097134ff3c332f>
    <TaxCatchAll xmlns="a3b9ee82-cbec-4926-b577-d039db5ed3aa" xsi:nil="true"/>
  </documentManagement>
</p:properties>
</file>

<file path=customXml/item10.xml><?xml version="1.0" encoding="utf-8"?>
<TemplafySlideTemplateConfiguration><![CDATA[{"slideVersion":2,"isValidatorEnabled":false,"isLocked":false,"elementsMetadata":[],"slideId":"1151246313601368089","enableDocumentContentUpdater":false,"version":"2.0"}]]></TemplafySlideTemplateConfiguration>
</file>

<file path=customXml/item11.xml><?xml version="1.0" encoding="utf-8"?>
<TemplafySlideTemplateConfiguration><![CDATA[{"slideVersion":2,"isValidatorEnabled":false,"isLocked":false,"elementsMetadata":[],"slideId":"1151246313601368096","enableDocumentContentUpdater":false,"version":"2.0"}]]></TemplafySlideTemplate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86F64792D73F4489F8A26BF8A4875A1" ma:contentTypeVersion="15" ma:contentTypeDescription="Creare un nuovo documento." ma:contentTypeScope="" ma:versionID="1052613e3539516160f72471e558df73">
  <xsd:schema xmlns:xsd="http://www.w3.org/2001/XMLSchema" xmlns:xs="http://www.w3.org/2001/XMLSchema" xmlns:p="http://schemas.microsoft.com/office/2006/metadata/properties" xmlns:ns2="b4aef0fc-f5d3-4a9f-bdab-fc0d1d3b6d43" xmlns:ns3="a3b9ee82-cbec-4926-b577-d039db5ed3aa" targetNamespace="http://schemas.microsoft.com/office/2006/metadata/properties" ma:root="true" ma:fieldsID="5fbcf629fa437f0027d8c0af13fb2232" ns2:_="" ns3:_="">
    <xsd:import namespace="b4aef0fc-f5d3-4a9f-bdab-fc0d1d3b6d43"/>
    <xsd:import namespace="a3b9ee82-cbec-4926-b577-d039db5ed3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Locatio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aef0fc-f5d3-4a9f-bdab-fc0d1d3b6d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Tag immagine" ma:readOnly="false" ma:fieldId="{5cf76f15-5ced-4ddc-b409-7134ff3c332f}" ma:taxonomyMulti="true" ma:sspId="3e73c03f-66d9-4a0c-9020-e0a0b57c4ca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b9ee82-cbec-4926-b577-d039db5ed3a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5d69288d-7ca2-400b-b09e-f218843a8e09}" ma:internalName="TaxCatchAll" ma:showField="CatchAllData" ma:web="a3b9ee82-cbec-4926-b577-d039db5ed3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TemplateConfiguration><![CDATA[{"slideVersion":2,"isValidatorEnabled":false,"isLocked":false,"elementsMetadata":[],"slideId":"1151246313601368070","enableDocumentContentUpdater":fals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TemplateConfiguration><![CDATA[{"slideVersion":2,"isValidatorEnabled":false,"isLocked":false,"elementsMetadata":[],"slideId":"1151246313601368097","enableDocumentContentUpdater":false,"version":"2.0"}]]></TemplafySlide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FormConfiguration><![CDATA[{"formFields":[{"required":true,"placeholder":"","lines":0,"helpTexts":{"prefix":"","postfix":""},"spacing":{},"shareValue":false,"type":"textBox","name":"DocumentTitle","label":"Title"},{"required":false,"placeholder":"","lines":0,"helpTexts":{"prefix":"","postfix":""},"spacing":{},"shareValue":false,"type":"textBox","name":"SupplementaryTitle","label":"Supplementary Title"},{"required":false,"placeholder":"","lines":0,"helpTexts":{"prefix":"","postfix":""},"spacing":{},"shareValue":false,"type":"textBox","name":"AdditionalInformation","label":"Additional Information"},{"required":false,"placeholder":"","lines":0,"defaultValue":"{{StringJoin(\" \", UserProfile.FirstName, UserProfile.LastName)}}","helpTexts":{"prefix":"","postfix":""},"spacing":{},"shareValue":false,"type":"textBox","name":"PPreparedBy","label":"Prepared by"},{"required":true,"helpTexts":{},"spacing":{},"shareValue":false,"type":"datePicker","name":"PreparedDate","label":"Prepared Date"},{"distinct":true,"hideIfNoUserInteractionRequired":false,"required":true,"defaultValue":"Internal","autoSelectFirstOption":false,"helpTexts":{"prefix":"","postfix":""},"spacing":{},"shareValue":false,"type":"dropDown","dataSourceName":"SecurityLevels","dataSourceFieldName":"SecurityLevels","name":"PSecurityLevel","label":"Security Level"},{"required":false,"placeholder":"","lines":0,"helpTexts":{"prefix":"","postfix":""},"spacing":{},"shareValue":false,"type":"textBox","name":"DocumentID","label":"Document Id"},{"distinct":true,"hideIfNoUserInteractionRequired":true,"required":false,"autoSelectFirstOption":true,"helpTexts":{"prefix":"","postfix":""},"spacing":{},"shareValue":false,"type":"dropDown","dataSourceName":"P__DocumentID","dataSourceFieldName":"DocumentID","name":"DocumentIDInsertion","label":"Document Id Insertion"},{"required":false,"placeholder":"","lines":0,"defaultValue":"A","helpTexts":{"prefix":"","postfix":""},"spacing":{},"shareValue":false,"type":"textBox","name":"Prevision","label":"Document Revision Id."},{"distinct":true,"hideIfNoUserInteractionRequired":true,"required":false,"autoSelectFirstOption":true,"helpTexts":{"prefix":"","postfix":""},"spacing":{},"shareValue":false,"type":"dropDown","dataSourceName":"P__Revision","dataSourceFieldName":"Pp_revision","name":"RevisionInsertion","label":"RevisionInsertion"},{"required":true,"placeholder":"","lines":0,"defaultValue":"{{FormatDateTime(Now(), \"yyyy\")}}","helpTexts":{"prefix":"","postfix":"Year of first publication"},"spacing":{},"shareValue":false,"type":"textBox","name":"CopyrightInformation","label":"Copyright Year"}],"formDataEntries":[{"name":"DocumentTitle","value":"kL2Ax/u/WJ36TYDOSNfaIw=="},{"name":"PPreparedBy","value":"V99VyTssLjIYbVg9phBk1g=="},{"name":"PreparedDate","value":"jewc6mXfqClSZpTw+4k+Kw=="},{"name":"PSecurityLevel","value":"tiWZV7dtifdeG5H//EJRB0fe/FevJ6Y0afm9LcbqEGA="},{"name":"DocumentIDInsertion","value":"vAg/drcIV6Xsu9W/kemFpybWUHTQchxtC1sOiH4Th7I="},{"name":"Prevision","value":"O49+Vt6QAfxl87HqJlS4Pw=="},{"name":"RevisionInsertion","value":"wxDBL4hR7tIGD5RBl9aAAAschN+MdqnPhE2+Jl21kFo="},{"name":"CopyrightInformation","value":"TJNA/RIfXgQamPe1GEaXKw=="}]}]]></TemplafyFormConfiguration>
</file>

<file path=customXml/item20.xml><?xml version="1.0" encoding="utf-8"?>
<TemplafySlideTemplateConfiguration><![CDATA[{"slideVersion":2,"isValidatorEnabled":false,"isLocked":false,"elementsMetadata":[],"slideId":"1151246313601368066","enableDocumentContentUpdater":fals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slideVersion":2,"isValidatorEnabled":false,"isLocked":false,"elementsMetadata":[],"slideId":"1151254877823828027","enableDocumentContentUpdater":false,"version":"2.0"}]]></TemplafySlideTemplate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slideVersion":2,"isValidatorEnabled":false,"isLocked":false,"elementsMetadata":[],"slideId":"1151246313601368069","enableDocumentContentUpdater":false,"version":"2.0"}]]></TemplafySlideTemplateConfiguration>
</file>

<file path=customXml/item3.xml><?xml version="1.0" encoding="utf-8"?>
<TemplafySlideTemplateConfiguration><![CDATA[{"slideVersion":2,"isValidatorEnabled":false,"isLocked":false,"elementsMetadata":[],"slideId":"1151246313601368088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TemplateConfiguration><![CDATA[{"elementsMetadata":[],"transformationConfigurations":[{"propertyName":"title","propertyValue":"{{Form.DocumentTitle}}","disableUpdates":false,"type":"documentProperty"},{"propertyName":"SecurityLevel","propertyValue":"{{Form.PSecurityLevel.SecurityLevels}}","disableUpdates":false,"type":"customDocumentProperty"},{"propertyName":"subject","propertyValue":"{{Form.SupplementaryTitle}}","disableUpdates":false,"type":"documentProperty"},{"propertyName":"CreatorName","propertyValue":"{{StringJoin(\" \", UserProfile.FirstName, UserProfile.LastName)}}","disableUpdates":false,"type":"customDocumentProperty"},{"propertyName":"DocumentKind","propertyValue":"Presentation","disableUpdates":false,"type":"customDocumentProperty"},{"propertyName":"DocumentId","propertyValue":"{{Form.DocumentID}}","disableUpdates":false,"type":"customDocumentProperty"},{"propertyName":"SupplementaryTitle","propertyValue":"{{Form.SupplementaryTitle}}","disableUpdates":false,"type":"customDocumentProperty"},{"propertyName":"DocumentTitle","propertyValue":"{{Form.DocumentTitle}}","disableUpdates":false,"type":"customDocumentProperty"},{"propertyName":"CopyrightYear","propertyValue":"{{Form.CopyrightInformation}}","disableUpdates":false,"type":"customDocumentProperty"},{"propertyName":"DocumentRevisionId","propertyValue":"{{Form.Prevision}}","disableUpdates":false,"type":"customDocumentProperty"},{"propertyName":"PreparedByPerson","propertyValue":"{{Form.PPreparedBy}}","disableUpdates":false,"type":"customDocumentProperty"},{"propertyName":"AdditionalInformation","propertyValue":"{{Form.AdditionalInformation}}","disableUpdates":false,"type":"customDocumentProperty"},{"propertyName":"PreparedDate","propertyValue":"{{Form.PreparedDate}}","disableUpdates":false,"type":"customDocumentProperty"}],"templateName":"Hitachi Energy - External Presentation","templateDescription":"","enableDocumentContentUpdater":true,"version":"2.0"}]]></TemplafyTemplateConfiguration>
</file>

<file path=customXml/item7.xml><?xml version="1.0" encoding="utf-8"?>
<Update>
  <Cmd case="SkabelonDesign.DocumentData:DefineData" variableName="AdditionalInformation">
    <Doc.Prop.AdditionalInformation>
      <Doc.Prop.AdditionalInformation/>
    </Doc.Prop.AdditionalInformation>
    <s/>
  </Cmd>
  <Cmd case="SkabelonDesign.DocumentData:DefineData" variableName="ReferenceNo">
    <Doc.Prop.ReferenceNo>
      <Doc.Prop.ReferenceNo/>
    </Doc.Prop.ReferenceNo>
    <s/>
  </Cmd>
  <Cmd case="SkabelonDesign.DocumentData:DefineData" variableName="BasedOn">
    <Doc.Prop.BasedOn>
      <Doc.Prop.BasedOn/>
    </Doc.Prop.BasedOn>
    <s/>
  </Cmd>
  <Cmd case="SkabelonDesign.DocumentData:DefineData" variableName="BasedOnDocumentId">
    <Doc.Prop.BasedOnDocumentId>
      <Doc.Prop.BasedOnDocumentId/>
    </Doc.Prop.BasedOnDocumentId>
    <s/>
  </Cmd>
  <Cmd case="SkabelonDesign.DocumentData:DefineData" variableName="BasedOnLanguageCode">
    <Doc.Prop.BasedOnLanguageCode>
      <Doc.Prop.BasedOnLanguageCode/>
    </Doc.Prop.BasedOnLanguageCode>
    <s/>
  </Cmd>
  <Cmd case="SkabelonDesign.DocumentData:DefineData" variableName="BasedOnDocumentRevisionId">
    <Doc.Prop.BasedOnDocumentRevisionId>
      <Doc.Prop.BasedOnDocumentRevisionId/>
    </Doc.Prop.BasedOnDocumentRevisionId>
    <s/>
  </Cmd>
  <Cmd case="SkabelonDesign.DocumentData:DefineData" variableName="BasedOnDocumentPartId">
    <Doc.Prop.BasedOnDocumentPartId>
      <Doc.Prop.BasedOnDocumentPartId/>
    </Doc.Prop.BasedOnDocumentPartId>
    <s/>
  </Cmd>
  <Cmd case="SkabelonDesign.DocumentData:DefineData" variableName="CustomerName">
    <Doc.Prop.CustomerName>
      <Doc.Prop.CustomerName/>
    </Doc.Prop.CustomerName>
    <s/>
  </Cmd>
  <Cmd case="SkabelonDesign.DocumentData:DefineData" variableName="ProjectName">
    <Doc.Prop.ProjectName>
      <Doc.Prop.ProjectName/>
    </Doc.Prop.ProjectName>
    <s/>
  </Cmd>
  <Cmd case="SkabelonDesign.DocumentData:DefineData" variableName="ProjectId">
    <Doc.Prop.ProjectId>
      <Doc.Prop.ProjectId/>
    </Doc.Prop.ProjectId>
    <s/>
  </Cmd>
  <Cmd case="SkabelonDesign.DocumentData:DefineData" variableName="DocumentIdExternal">
    <Doc.Prop.DocumentIdExternal>
      <Doc.Prop.DocumentIdExternal/>
    </Doc.Prop.DocumentIdExternal>
    <s/>
  </Cmd>
  <Cmd case="SkabelonDesign.DocumentData:DefineData" variableName="DocumentClassIdIEC61355">
    <Doc.Prop.DocumentClassIdIEC61355>
      <Doc.Prop.DocumentClassIdIEC61355/>
    </Doc.Prop.DocumentClassIdIEC61355>
    <s/>
  </Cmd>
  <Cmd case="SkabelonDesign.DocumentData:DefineData" variableName="OccurrenceIdIEC61346">
    <Doc.Prop.OccurrenceIdIEC61346>
      <Doc.Prop.OccurrenceIdIEC61346/>
    </Doc.Prop.OccurrenceIdIEC61346>
    <s/>
  </Cmd>
  <Cmd case="SkabelonDesign.DocumentData:DefineData" variableName="DocumentId">
    <Doc.Prop.DocumentId>
      <Doc.Prop.DocumentId/>
    </Doc.Prop.DocumentId>
    <s/>
  </Cmd>
  <Cmd case="SkabelonDesign.DocumentData:UpdateCustomXml" variableName="DocumentId" xpath="(//*[local-name() = 'documentManagement']/*[local-name() = 'ABB_Coll_DocumentId'])"/>
  <Cmd case="SkabelonDesign.DocumentData:DefineData" variableName="Date">
    <Doc.Prop.Date>
      <Doc.Prop.Date/>
    </Doc.Prop.Date>
    <s/>
  </Cmd>
  <Cmd case="SkabelonDesign.DocumentData:DefineData" variableName="Addressinput">
    <Doc.Prop.Addressinput>
      <Doc.Prop.Addressinput/>
    </Doc.Prop.Addressinput>
    <s/>
  </Cmd>
  <Cmd case="SkabelonDesign.DocumentData:DefineData" variableName="Business">
    <Doc.Prop.Business>
      <Doc.Prop.Business/>
    </Doc.Prop.Business>
    <s/>
  </Cmd>
  <Cmd case="SkabelonDesign.DocumentData:DefineData" variableName="CreatorName">
    <Doc.Prop.CreatorName>
      <Doc.Prop.CreatorName/>
    </Doc.Prop.CreatorName>
    <s/>
  </Cmd>
  <Cmd case="SkabelonDesign.DocumentData:DefineData" variableName="From">
    <Doc.Prop.From>
      <Doc.Prop.From/>
    </Doc.Prop.From>
    <s/>
  </Cmd>
  <Cmd case="SkabelonDesign.DocumentData:DefineData" variableName="PhoneDirect">
    <Doc.Prop.PhoneDirect>
      <Doc.Prop.PhoneDirect/>
    </Doc.Prop.PhoneDirect>
    <s/>
  </Cmd>
  <Cmd case="SkabelonDesign.DocumentData:DefineData" variableName="FAXDirect">
    <Doc.Prop.FAXDirect>
      <Doc.Prop.FAXDirect/>
    </Doc.Prop.FAXDirect>
    <s/>
  </Cmd>
  <Cmd case="SkabelonDesign.DocumentData:DefineData" variableName="E-mail">
    <Doc.Prop.E-mail>
      <Doc.Prop.E-mail/>
    </Doc.Prop.E-mail>
    <s/>
  </Cmd>
  <Cmd case="SkabelonDesign.DocumentData:DefineData" variableName="Cc">
    <Doc.Prop.Cc>
      <Doc.Prop.Cc/>
    </Doc.Prop.Cc>
    <s/>
  </Cmd>
  <Cmd case="SkabelonDesign.DocumentData:DefineData" variableName="JobTitle">
    <Doc.Prop.JobTitle>
      <Doc.Prop.JobTitle/>
    </Doc.Prop.JobTitle>
    <s/>
  </Cmd>
  <Cmd case="SkabelonDesign.DocumentData:DefineData" variableName="LanguageCode">
    <Doc.Prop.LanguageCode>
      <Doc.Prop.LanguageCode/>
    </Doc.Prop.LanguageCode>
    <s/>
  </Cmd>
  <cmd case="SkabelonDesign.DocumentData:UpdateCustomXml" variableName="LanguageCode" xpath="(//*[local-name() = 'documentManagement']/*[local-name() = 'o8cb8facb2054f9d919ea0674048ef40']/*[local-name() = 'Terms']/*[local-name() = 'TermInfo']/*[local-name() = 'TermName'])"/>
  <Cmd case="SkabelonDesign.DocumentData:DefineData" variableName="LanguageCodeGUID">
    <Doc.Prop.LanguageCodeGUID>
      <Doc.Prop.LanguageCodeGUID/>
    </Doc.Prop.LanguageCodeGUID>
    <s/>
  </Cmd>
  <cmd case="SkabelonDesign.DocumentData:UpdateCustomXml" variableName="LanguageCodeGUID" xpath="(//*[local-name() = 'documentManagement']/*[local-name() = 'o8cb8facb2054f9d919ea0674048ef40']/*[local-name() = 'Terms']/*[local-name() = 'TermInfo']/*[local-name() = 'TermId'])"/>
  <Cmd case="SkabelonDesign.DocumentData:DefineData" variableName="DocumentRevisionId">
    <Doc.Prop.DocumentRevisionId>
      <Doc.Prop.DocumentRevisionId/>
    </Doc.Prop.DocumentRevisionId>
    <s/>
  </Cmd>
  <Cmd case="SkabelonDesign.DocumentData:UpdateCustomXml" variableName="DocumentRevisionId" xpath="(//*[local-name() = 'documentManagement']/*[local-name() = 'DocumentRevisionId'])"/>
  <Cmd case="SkabelonDesign.DocumentData:DefineData" variableName="SecurityLevel">
    <Doc.Prop.SecurityLevel>
      <Doc.Prop.SecurityLevel/>
    </Doc.Prop.SecurityLevel>
    <s/>
  </Cmd>
  <Cmd case="SkabelonDesign.DocumentData:UpdateCustomXml" variableName="SecurityLevel" xpath="(//*[local-name() = 'documentManagement']/*[local-name() = 'ABB_Coll_SecurityLevel'])"/>
  <Cmd case="SkabelonDesign.DocumentData:DefineData" variableName="DocumentKind">
    <Doc.Prop.DocumentKind>
      <Doc.Prop.DocumentKind/>
    </Doc.Prop.DocumentKind>
    <s/>
  </Cmd>
  <cmd case="SkabelonDesign.DocumentData:UpdateCustomXml" variableName="DocumentKind" xpath="(//*[local-name() = 'documentManagement']/*[local-name() = 'na4369807a744182aff6832bcef961df']/*[local-name() = 'Terms']/*[local-name() = 'TermInfo']/*[local-name() = 'TermName'])"/>
  <Cmd case="SkabelonDesign.DocumentData:DefineData" variableName="DocumentKindGUID">
    <Doc.Prop.DocumentKindGUID>
      <Doc.Prop.DocumentKindGUID/>
    </Doc.Prop.DocumentKindGUID>
    <s/>
  </Cmd>
  <cmd case="SkabelonDesign.DocumentData:UpdateCustomXml" variableName="DocumentKindGUID" xpath="(//*[local-name() = 'documentManagement']/*[local-name() = 'na4369807a744182aff6832bcef961df']/*[local-name() = 'Terms']/*[local-name() = 'TermInfo']/*[local-name() = 'TermId'])"/>
  <Cmd case="SkabelonDesign.DocumentData:DefineData" variableName="CompanyName">
    <Doc.Prop.CompanyName>
      <Doc.Prop.CompanyName/>
    </Doc.Prop.CompanyName>
    <s/>
  </Cmd>
  <Cmd case="SkabelonDesign.DocumentData:DefineData" variableName="POBox">
    <Doc.Prop.POBox>
      <Doc.Prop.POBox/>
    </Doc.Prop.POBox>
    <s/>
  </Cmd>
  <Cmd case="SkabelonDesign.DocumentData:DefineData" variableName="City">
    <Doc.Prop.City>
      <Doc.Prop.City/>
    </Doc.Prop.City>
    <s/>
  </Cmd>
  <Cmd case="SkabelonDesign.DocumentData:DefineData" variableName="PostalAddress">
    <Doc.Prop.PostalAddress>
      <Doc.Prop.PostalAddress/>
    </Doc.Prop.PostalAddress>
    <s/>
  </Cmd>
  <Cmd case="SkabelonDesign.DocumentData:DefineData" variableName="PreparedByPerson">
    <Doc.Prop.PreparedByPerson>
      <Doc.Prop.PreparedByPerson/>
    </Doc.Prop.PreparedByPerson>
    <s/>
  </Cmd>
  <Cmd case="SkabelonDesign.DocumentData:UpdateCustomXml" variableName="PreparedByPerson" xpath="(//*[local-name() = 'documentManagement']/*[local-name() = 'ABB_Coll_PreparedByPerson'])"/>
  <Cmd case="SkabelonDesign.DocumentData:DefineData" variableName="PreparedDate">
    <Doc.Prop.PreparedDate>
      <Doc.Prop.PreparedDate/>
    </Doc.Prop.PreparedDate>
    <s/>
  </Cmd>
  <Cmd case="SkabelonDesign.DocumentData:UpdateCustomXml" variableName="PreparedDate" xpath="(//*[local-name() = 'documentManagement']/*[local-name() = 'ABB_Coll_PreparedDate'])"/>
  <Cmd case="SkabelonDesign.DocumentData:DefineData" variableName="ApprovedByPerson">
    <Doc.Prop.ApprovedByPerson>
      <Doc.Prop.ApprovedByPerson/>
    </Doc.Prop.ApprovedByPerson>
    <s/>
  </Cmd>
  <Cmd case="SkabelonDesign.DocumentData:DefineData" variableName="ApprovalDate">
    <Doc.Prop.ApprovalDate>
      <Doc.Prop.ApprovalDate/>
    </Doc.Prop.ApprovalDate>
    <s/>
  </Cmd>
  <Cmd case="SkabelonDesign.DocumentData:UpdateCustomXml" variableName="ApprovalDate" xpath="(//*[local-name() = 'documentManagement']/*[local-name() = 'ABB_Coll_ApprovalDate'])"/>
  <Cmd case="SkabelonDesign.DocumentData:DefineData" variableName="LifecycleStatus">
    <Doc.Prop.LifecycleStatus>
      <Doc.Prop.LifecycleStatus/>
    </Doc.Prop.LifecycleStatus>
    <s/>
  </Cmd>
  <Cmd case="SkabelonDesign.DocumentData:UpdateCustomXml" variableName="LifecycleStatus" xpath="(//*[local-name() = 'documentManagement']/*[local-name() = 'ABB_Coll_LifecycleStatus'])"/>
  <Cmd case="SkabelonDesign.DocumentData:DefineData" variableName="CopyrightYear">
    <Doc.Prop.CopyrightYear>
      <Doc.Prop.CopyrightYear/>
    </Doc.Prop.CopyrightYear>
    <s/>
  </Cmd>
  <Cmd case="SkabelonDesign.DocumentData:DefineData" variableName="SecurityLevel">
    <Doc.Prop.SecurityLevel>
      <Doc.Prop.SecurityLevel/>
    </Doc.Prop.SecurityLevel>
    <s/>
  </Cmd>
  <Cmd case="SkabelonDesign.DocumentData:DefineData" variableName="Title">
    <Doc.Prop.Title>
      <Doc.Prop.Title/>
    </Doc.Prop.Title>
    <Doc.Prop.DocumentTitle>
      <Doc.Prop.DocumentTitle/>
    </Doc.Prop.DocumentTitle>
    <s/>
  </Cmd>
  <Cmd case="SkabelonDesign.DocumentData:DefineData" variableName="SupplementaryTitle">
    <Doc.Prop.SupplementaryTitle>
      <Doc.Prop.SupplementaryTitle/>
    </Doc.Prop.SupplementaryTitle>
    <s/>
  </Cmd>
  <Cmd case="SkabelonDesign.DocumentData:DefineData" variableName="CategoryTitle">
    <Doc.Prop.CategoryTitle>
      <Doc.Prop.CategoryTitle/>
    </Doc.Prop.CategoryTitle>
    <s/>
  </Cmd>
  <Cmd case="SkabelonDesign.DocumentData:DefineData" variableName="Year">
    <Doc.Prop.Year>
      <Doc.Prop.Year/>
    </Doc.Prop.Year>
    <s/>
  </Cmd>
  <Cmd case="SkabelonDesign.DocumentData:DefineData" variableName="BusinessArea">
    <Doc.Prop.BusinessArea>
      <Doc.Prop.BusinessArea/>
    </Doc.Prop.BusinessArea>
    <s/>
  </Cmd>
  <Cmd case="SkabelonDesign.DocumentData:DefineData" variableName="OwningOrganization">
    <Doc.Prop.OwningOrganization>
      <Doc.Prop.OwningOrganization/>
    </Doc.Prop.OwningOrganization>
    <s/>
  </Cmd>
  <Cmd case="SkabelonDesign.DocumentData:UpdateCustomXml" variableName="OwningOrganization" xpath="(//*[local-name() = 'documentManagement']/*[local-name() = 'ABB_Coll_OwningOrganization'])"/>
  <Cmd case="SkabelonDesign.DocumentData:DefineData" variableName="Status">
    <Doc.Prop.Status>
      <Doc.Prop.Status/>
    </Doc.Prop.Status>
    <s/>
  </Cmd>
  <Cmd case="SkabelonDesign.DocumentData:DefineData" variableName="Term">
    <Doc.Prop.Term>
      <Doc.Prop.Term/>
    </Doc.Prop.Term>
    <s/>
  </Cmd>
  <cmd case="SkabelonDesign.DocumentData:UpdateCustomXml" variableName="Term" xpath="(//*[local-name() = 'documentManagement']/*[local-name() = 'f1a8b6118a1a4f3ebb578e89f20c0a61']/*[local-name() = 'Terms']/*[local-name() = 'TermInfo']/*[local-name() = 'TermName'])"/>
  <Cmd case="SkabelonDesign.DocumentData:DefineData" variableName="TermGUID">
    <Doc.Prop.TermGUID>
      <Doc.Prop.TermGUID/>
    </Doc.Prop.TermGUID>
    <s/>
  </Cmd>
  <cmd case="SkabelonDesign.DocumentData:UpdateCustomXml" variableName="TermGUID" xpath="(//*[local-name() = 'documentManagement']/*[local-name() = 'f1a8b6118a1a4f3ebb578e89f20c0a61']/*[local-name() = 'Terms']/*[local-name() = 'TermInfo']/*[local-name() = 'TermId'])"/>
  <Cmd case="SkabelonDesign.DocumentData:DefineData" variableName="Copyright">
    <Doc.Prop.CopyrightYear>
      <s>©Hitachi Energy Ltd </s>
      <Doc.Prop.CopyrightYear/>
      <s>. All rights reserved</s>
    </Doc.Prop.CopyrightYear>
    <Custom Name="Doc.XPath/*[local-name() = 'GrowBusinessDocument']/*[local-name() = 'DocumentTitle.Title']">
      <Custom Name="Doc.XPath/*[local-name() = 'GrowBusinessDocument']/*[local-name() = 'DocumentTitle.Title']"/>
    </Custom>
    <s/>
  </Cmd>
  <Cmd case="SkabelonDesign.DocumentData:DefineData" variableName="DocumentRevisionIdLabelAndValue">
    <Doc.Prop.DocumentRevisionId>
      <s><![CDATA[ - Rev: ]]></s>
      <Doc.Prop.DocumentRevisionId/>
    </Doc.Prop.DocumentRevisionId>
    <s/>
  </Cmd>
  <Cmd case="SkabelonDesign.DocumentData:DefineData" variableName="PPMetadata">
    <Doc.Prop.DocumentID>
      <s>© Hitachi Energy Ltd </s>
      <Doc.Prop.CopyrightYear/>
      <s>. All rights reserved</s>
    </Doc.Prop.DocumentID>
    <Doc.Prop.PreparedDate>
      <Doc.Prop.PreparedDate/>
    </Doc.Prop.PreparedDate>
    <s/>
  </Cmd>
  <Cmd case="SkabelonDesign.DocumentData:DefineData" variableName="DocumentIdLabel">
    <Doc.Prop.DocumentID>
      <s><![CDATA[Document ID.:]]></s>
    </Doc.Prop.DocumentID>
    <s/>
  </Cmd>
  <Cmd case="SkabelonDesign.DocumentData:DefineData" variableName="DocumentRevisionIdLabel">
    <Doc.Prop.DocumentID>
      <s><![CDATA[Rev.:]]></s>
    </Doc.Prop.DocumentID>
    <s/>
  </Cmd>
  <Cmd case="BaseExtensions:If" if-1-type="documentprop" if-1-key="SecurityLevel" if-1-value="Internal">
    <True>
      <Cmd case="BaseExtensions:show-hide-pp" show="True" ShapeNames="Internal"/>
      <Cmd case="BaseExtensions:show-hide-pp" show="False" ShapeNames="Confidential"/>
      <Cmd case="BaseExtensions:show-hide-pp" show="False" ShapeNames="Strictly"/>
      <Cmd case="BaseExtensions:show-hide-pp" show="False" ShapeNames="Public"/>
    </True>
  </Cmd>
  <Cmd case="BaseExtensions:If" if-1-type="documentprop" if-1-key="SecurityLevel" if-1-value="Confidential">
    <True>
      <Cmd case="BaseExtensions:show-hide-pp" show="False" ShapeNames="Internal"/>
      <Cmd case="BaseExtensions:show-hide-pp" show="True" ShapeNames="Confidential"/>
      <Cmd case="BaseExtensions:show-hide-pp" show="False" ShapeNames="Strictly"/>
      <Cmd case="BaseExtensions:show-hide-pp" show="False" ShapeNames="Public"/>
    </True>
  </Cmd>
  <Cmd case="BaseExtensions:If" if-1-type="documentprop" if-1-key="SecurityLevel" if-1-value="Strictly Confidential">
    <True>
      <Cmd case="BaseExtensions:show-hide-pp" show="False" ShapeNames="Internal"/>
      <Cmd case="BaseExtensions:show-hide-pp" show="False" ShapeNames="Confidential"/>
      <Cmd case="BaseExtensions:show-hide-pp" show="True" ShapeNames="Strictly"/>
      <Cmd case="BaseExtensions:show-hide-pp" show="False" ShapeNames="Public"/>
    </True>
  </Cmd>
  <Cmd case="BaseExtensions:If" if-1-type="documentprop" if-1-key="SecurityLevel" if-1-value="Public">
    <True>
      <Cmd case="BaseExtensions:show-hide-pp" show="False" ShapeNames="Internal"/>
      <Cmd case="BaseExtensions:show-hide-pp" show="False" ShapeNames="Confidential"/>
      <Cmd case="BaseExtensions:show-hide-pp" show="False" ShapeNames="Strictly"/>
      <Cmd case="BaseExtensions:show-hide-pp" show="True" ShapeNames="Public"/>
    </True>
  </Cmd>
  <Cmd case="BaseExtensions:If" if-1-type="docpropmap" if-1-key="TemplafyTenantId" if-1-value="+powergrids;+powergridsuat;+hitachienergy">
    <True>
      <Cmd case="BaseExtensions:find-shape-bring-to-front" layout-1-name="Cover Slide - Brighter Picture A" shape-1-name-1="Strictly" shape-1-name-2="Internal" shape-1-name-3="Public" shape-1-name-4="Confidential" layout-2-name="Cover Slide - Brighter Picture B" shape-2-name-1="Strictly" shape-2-name-2="Internal" shape-2-name-3="Public" shape-2-name-4="Confidential" layout-3-name="Cover Slide - Darker Picture A" shape-3-name-1="Strictly" shape-3-name-2="Internal" shape-3-name-3="Public" shape-3-name-4="Confidential" layout-4-name="Cover Slide - Darker Picture B" shape-4-name-1="Strictly" shape-4-name-2="Internal" shape-4-name-3="Public" shape-4-name-4="Confidential"/>
    </True>
  </Cmd>
</Update>
</file>

<file path=customXml/item8.xml><?xml version="1.0" encoding="utf-8"?>
<TemplafySlideTemplateConfiguration><![CDATA[{"slideVersion":2,"isValidatorEnabled":false,"isLocked":false,"elementsMetadata":[],"slideId":"1151232869527977990","enableDocumentContentUpdater":false,"version":"2.0"}]]></TemplafySlideTemplateConfiguration>
</file>

<file path=customXml/item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6023C7-747B-4388-B36D-4F0FFD9B6953}">
  <ds:schemaRefs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elements/1.1/"/>
    <ds:schemaRef ds:uri="http://schemas.microsoft.com/office/infopath/2007/PartnerControls"/>
    <ds:schemaRef ds:uri="0fd13ac7-8dc6-4da2-9bc0-64ceffb55155"/>
    <ds:schemaRef ds:uri="http://schemas.microsoft.com/office/2006/metadata/properties"/>
    <ds:schemaRef ds:uri="6b9f0455-9be3-4742-80f8-127f9a113b62"/>
    <ds:schemaRef ds:uri="http://purl.org/dc/dcmitype/"/>
    <ds:schemaRef ds:uri="http://purl.org/dc/terms/"/>
  </ds:schemaRefs>
</ds:datastoreItem>
</file>

<file path=customXml/itemProps10.xml><?xml version="1.0" encoding="utf-8"?>
<ds:datastoreItem xmlns:ds="http://schemas.openxmlformats.org/officeDocument/2006/customXml" ds:itemID="{C3F38BA8-B356-4DE1-866C-C22A484B1D2E}">
  <ds:schemaRefs/>
</ds:datastoreItem>
</file>

<file path=customXml/itemProps11.xml><?xml version="1.0" encoding="utf-8"?>
<ds:datastoreItem xmlns:ds="http://schemas.openxmlformats.org/officeDocument/2006/customXml" ds:itemID="{801753F3-8082-4E47-8387-818FAC9159C0}">
  <ds:schemaRefs/>
</ds:datastoreItem>
</file>

<file path=customXml/itemProps12.xml><?xml version="1.0" encoding="utf-8"?>
<ds:datastoreItem xmlns:ds="http://schemas.openxmlformats.org/officeDocument/2006/customXml" ds:itemID="{6B689D6F-D682-4AD4-ADB5-94513765E03D}">
  <ds:schemaRefs/>
</ds:datastoreItem>
</file>

<file path=customXml/itemProps13.xml><?xml version="1.0" encoding="utf-8"?>
<ds:datastoreItem xmlns:ds="http://schemas.openxmlformats.org/officeDocument/2006/customXml" ds:itemID="{A898B6CC-5ED2-4904-827F-9B845C5E18C3}"/>
</file>

<file path=customXml/itemProps14.xml><?xml version="1.0" encoding="utf-8"?>
<ds:datastoreItem xmlns:ds="http://schemas.openxmlformats.org/officeDocument/2006/customXml" ds:itemID="{159EEEEF-362C-4701-883D-0D358DFBEDA5}">
  <ds:schemaRefs/>
</ds:datastoreItem>
</file>

<file path=customXml/itemProps15.xml><?xml version="1.0" encoding="utf-8"?>
<ds:datastoreItem xmlns:ds="http://schemas.openxmlformats.org/officeDocument/2006/customXml" ds:itemID="{5AF13291-6A0B-47C0-9E10-8A4ABAE411AE}">
  <ds:schemaRefs/>
</ds:datastoreItem>
</file>

<file path=customXml/itemProps16.xml><?xml version="1.0" encoding="utf-8"?>
<ds:datastoreItem xmlns:ds="http://schemas.openxmlformats.org/officeDocument/2006/customXml" ds:itemID="{4B626AA9-19A1-4097-8D43-FA36D3AF0FD1}">
  <ds:schemaRefs/>
</ds:datastoreItem>
</file>

<file path=customXml/itemProps17.xml><?xml version="1.0" encoding="utf-8"?>
<ds:datastoreItem xmlns:ds="http://schemas.openxmlformats.org/officeDocument/2006/customXml" ds:itemID="{C2FF6981-96C1-45D0-BC09-18BAE432EC8A}">
  <ds:schemaRefs/>
</ds:datastoreItem>
</file>

<file path=customXml/itemProps18.xml><?xml version="1.0" encoding="utf-8"?>
<ds:datastoreItem xmlns:ds="http://schemas.openxmlformats.org/officeDocument/2006/customXml" ds:itemID="{5CBBC914-B368-4764-8627-C6F85E555796}">
  <ds:schemaRefs/>
</ds:datastoreItem>
</file>

<file path=customXml/itemProps19.xml><?xml version="1.0" encoding="utf-8"?>
<ds:datastoreItem xmlns:ds="http://schemas.openxmlformats.org/officeDocument/2006/customXml" ds:itemID="{2EE150B8-E8DA-4B5F-A1D0-3E967F3522F8}">
  <ds:schemaRefs/>
</ds:datastoreItem>
</file>

<file path=customXml/itemProps2.xml><?xml version="1.0" encoding="utf-8"?>
<ds:datastoreItem xmlns:ds="http://schemas.openxmlformats.org/officeDocument/2006/customXml" ds:itemID="{81656963-3305-47D9-8FF8-24BDD3797E0B}">
  <ds:schemaRefs/>
</ds:datastoreItem>
</file>

<file path=customXml/itemProps20.xml><?xml version="1.0" encoding="utf-8"?>
<ds:datastoreItem xmlns:ds="http://schemas.openxmlformats.org/officeDocument/2006/customXml" ds:itemID="{949D46BA-7EDD-4EBD-8046-6F10DD6FFDE7}">
  <ds:schemaRefs/>
</ds:datastoreItem>
</file>

<file path=customXml/itemProps21.xml><?xml version="1.0" encoding="utf-8"?>
<ds:datastoreItem xmlns:ds="http://schemas.openxmlformats.org/officeDocument/2006/customXml" ds:itemID="{E51AF317-A38E-4FE5-AE54-590CB041A0F0}">
  <ds:schemaRefs/>
</ds:datastoreItem>
</file>

<file path=customXml/itemProps22.xml><?xml version="1.0" encoding="utf-8"?>
<ds:datastoreItem xmlns:ds="http://schemas.openxmlformats.org/officeDocument/2006/customXml" ds:itemID="{D901032A-0800-4735-A484-5FFF4675B166}">
  <ds:schemaRefs/>
</ds:datastoreItem>
</file>

<file path=customXml/itemProps23.xml><?xml version="1.0" encoding="utf-8"?>
<ds:datastoreItem xmlns:ds="http://schemas.openxmlformats.org/officeDocument/2006/customXml" ds:itemID="{B3971491-463B-439A-933F-104C0944B4A8}">
  <ds:schemaRefs/>
</ds:datastoreItem>
</file>

<file path=customXml/itemProps24.xml><?xml version="1.0" encoding="utf-8"?>
<ds:datastoreItem xmlns:ds="http://schemas.openxmlformats.org/officeDocument/2006/customXml" ds:itemID="{93B5C51A-F06F-4DE8-9FC8-3B089D036ACD}">
  <ds:schemaRefs/>
</ds:datastoreItem>
</file>

<file path=customXml/itemProps3.xml><?xml version="1.0" encoding="utf-8"?>
<ds:datastoreItem xmlns:ds="http://schemas.openxmlformats.org/officeDocument/2006/customXml" ds:itemID="{F925C75F-A7AD-42A0-85AF-348831B3EE87}">
  <ds:schemaRefs/>
</ds:datastoreItem>
</file>

<file path=customXml/itemProps4.xml><?xml version="1.0" encoding="utf-8"?>
<ds:datastoreItem xmlns:ds="http://schemas.openxmlformats.org/officeDocument/2006/customXml" ds:itemID="{C653D618-5D26-4642-8408-4F803DE74F00}">
  <ds:schemaRefs/>
</ds:datastoreItem>
</file>

<file path=customXml/itemProps5.xml><?xml version="1.0" encoding="utf-8"?>
<ds:datastoreItem xmlns:ds="http://schemas.openxmlformats.org/officeDocument/2006/customXml" ds:itemID="{CFE8446E-CB61-4623-BD27-BACCA1839D84}">
  <ds:schemaRefs/>
</ds:datastoreItem>
</file>

<file path=customXml/itemProps6.xml><?xml version="1.0" encoding="utf-8"?>
<ds:datastoreItem xmlns:ds="http://schemas.openxmlformats.org/officeDocument/2006/customXml" ds:itemID="{7C7C3DD3-9565-4FD3-B0C5-704E78C10919}">
  <ds:schemaRefs/>
</ds:datastoreItem>
</file>

<file path=customXml/itemProps7.xml><?xml version="1.0" encoding="utf-8"?>
<ds:datastoreItem xmlns:ds="http://schemas.openxmlformats.org/officeDocument/2006/customXml" ds:itemID="{110D5221-FFA5-4ECC-91C3-53913017DA05}">
  <ds:schemaRefs/>
</ds:datastoreItem>
</file>

<file path=customXml/itemProps8.xml><?xml version="1.0" encoding="utf-8"?>
<ds:datastoreItem xmlns:ds="http://schemas.openxmlformats.org/officeDocument/2006/customXml" ds:itemID="{FD5E2D98-E336-4D92-9C87-A8ADD4C19857}">
  <ds:schemaRefs/>
</ds:datastoreItem>
</file>

<file path=customXml/itemProps9.xml><?xml version="1.0" encoding="utf-8"?>
<ds:datastoreItem xmlns:ds="http://schemas.openxmlformats.org/officeDocument/2006/customXml" ds:itemID="{4CA557B8-3679-4BCC-8A36-D7E1549FBB5A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831e6d9-dc6c-4cd1-9ec6-1dc2b4133195}" enabled="0" method="" siteId="{7831e6d9-dc6c-4cd1-9ec6-1dc2b413319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Hitachi Theme</Template>
  <TotalTime>5873</TotalTime>
  <Words>1389</Words>
  <Application>Microsoft Office PowerPoint</Application>
  <PresentationFormat>Widescreen</PresentationFormat>
  <Paragraphs>278</Paragraphs>
  <Slides>16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Segoe UI Web (West European)</vt:lpstr>
      <vt:lpstr>HGPｺﾞｼｯｸE</vt:lpstr>
      <vt:lpstr>ABBvoice</vt:lpstr>
      <vt:lpstr>Arial</vt:lpstr>
      <vt:lpstr>Hitachi Sans</vt:lpstr>
      <vt:lpstr>Hitachi Theme</vt:lpstr>
      <vt:lpstr>Transizione energetica e investimenti</vt:lpstr>
      <vt:lpstr>PowerPoint Presentation</vt:lpstr>
      <vt:lpstr>Verso un futuro a zero emissioni di carbonio</vt:lpstr>
      <vt:lpstr>Informazioni su Hitachi Energy</vt:lpstr>
      <vt:lpstr>Hitachi Energy – Leader tecnologico globale in tutte le business unit</vt:lpstr>
      <vt:lpstr>Hitachi Energy in Italia in sintesi</vt:lpstr>
      <vt:lpstr>Serviamo i clienti lungo tutta la filiera energetica</vt:lpstr>
      <vt:lpstr>Verso un futuro a zero emissioni di carbonio</vt:lpstr>
      <vt:lpstr>PowerPoint Presentation</vt:lpstr>
      <vt:lpstr>Cosa troviamo sui media internazionali?</vt:lpstr>
      <vt:lpstr>Hitachi Energy investe nella capacità produttiva dei trasformatori</vt:lpstr>
      <vt:lpstr>Investimenti globali di Hitachi Energy Transformers </vt:lpstr>
      <vt:lpstr>Transformers | Investimenti in Europa </vt:lpstr>
      <vt:lpstr>PowerPoint Presentation</vt:lpstr>
      <vt:lpstr>Grazi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</dc:title>
  <dc:subject/>
  <dc:creator>Paivi Hoyla;matteo.scattolin@hitachienergy.com</dc:creator>
  <cp:lastModifiedBy>Matteo Scattolin</cp:lastModifiedBy>
  <cp:revision>16</cp:revision>
  <dcterms:created xsi:type="dcterms:W3CDTF">2025-04-02T06:26:34Z</dcterms:created>
  <dcterms:modified xsi:type="dcterms:W3CDTF">2025-04-08T08:36:58Z</dcterms:modified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6F64792D73F4489F8A26BF8A4875A1</vt:lpwstr>
  </property>
  <property fmtid="{D5CDD505-2E9C-101B-9397-08002B2CF9AE}" pid="3" name="MediaServiceImageTags">
    <vt:lpwstr/>
  </property>
  <property fmtid="{D5CDD505-2E9C-101B-9397-08002B2CF9AE}" pid="4" name="Created by">
    <vt:lpwstr>omnidocs.com</vt:lpwstr>
  </property>
  <property fmtid="{D5CDD505-2E9C-101B-9397-08002B2CF9AE}" pid="5" name="TemplafyTimeStamp">
    <vt:lpwstr>2025-04-01T08:19:10</vt:lpwstr>
  </property>
  <property fmtid="{D5CDD505-2E9C-101B-9397-08002B2CF9AE}" pid="6" name="TemplafyTenantId">
    <vt:lpwstr>hitachienergy</vt:lpwstr>
  </property>
  <property fmtid="{D5CDD505-2E9C-101B-9397-08002B2CF9AE}" pid="7" name="TemplafyTemplateId">
    <vt:lpwstr>638144823494412556</vt:lpwstr>
  </property>
  <property fmtid="{D5CDD505-2E9C-101B-9397-08002B2CF9AE}" pid="8" name="TemplafyUserProfileId">
    <vt:lpwstr>638171717495738120</vt:lpwstr>
  </property>
  <property fmtid="{D5CDD505-2E9C-101B-9397-08002B2CF9AE}" pid="9" name="TemplafyLanguageCode">
    <vt:lpwstr>en-US</vt:lpwstr>
  </property>
  <property fmtid="{D5CDD505-2E9C-101B-9397-08002B2CF9AE}" pid="10" name="SecurityLevel">
    <vt:lpwstr>Public</vt:lpwstr>
  </property>
  <property fmtid="{D5CDD505-2E9C-101B-9397-08002B2CF9AE}" pid="11" name="CreatorName">
    <vt:lpwstr>Päivi Höylä</vt:lpwstr>
  </property>
  <property fmtid="{D5CDD505-2E9C-101B-9397-08002B2CF9AE}" pid="12" name="DocumentKind">
    <vt:lpwstr>Presentation</vt:lpwstr>
  </property>
  <property fmtid="{D5CDD505-2E9C-101B-9397-08002B2CF9AE}" pid="13" name="DocumentId">
    <vt:lpwstr/>
  </property>
  <property fmtid="{D5CDD505-2E9C-101B-9397-08002B2CF9AE}" pid="14" name="SupplementaryTitle">
    <vt:lpwstr/>
  </property>
  <property fmtid="{D5CDD505-2E9C-101B-9397-08002B2CF9AE}" pid="15" name="DocumentTitle">
    <vt:lpwstr>x</vt:lpwstr>
  </property>
  <property fmtid="{D5CDD505-2E9C-101B-9397-08002B2CF9AE}" pid="16" name="CopyrightYear">
    <vt:lpwstr>2025</vt:lpwstr>
  </property>
  <property fmtid="{D5CDD505-2E9C-101B-9397-08002B2CF9AE}" pid="17" name="DocumentRevisionId">
    <vt:lpwstr>A</vt:lpwstr>
  </property>
  <property fmtid="{D5CDD505-2E9C-101B-9397-08002B2CF9AE}" pid="18" name="PreparedByPerson">
    <vt:lpwstr>Päivi Höylä</vt:lpwstr>
  </property>
  <property fmtid="{D5CDD505-2E9C-101B-9397-08002B2CF9AE}" pid="19" name="AdditionalInformation">
    <vt:lpwstr/>
  </property>
  <property fmtid="{D5CDD505-2E9C-101B-9397-08002B2CF9AE}" pid="20" name="PreparedDate">
    <vt:lpwstr>2025-04-02</vt:lpwstr>
  </property>
  <property fmtid="{D5CDD505-2E9C-101B-9397-08002B2CF9AE}" pid="21" name="TemplafyFromBlank">
    <vt:bool>false</vt:bool>
  </property>
  <property fmtid="{D5CDD505-2E9C-101B-9397-08002B2CF9AE}" pid="22" name="_MarkAsFinal">
    <vt:bool>true</vt:bool>
  </property>
</Properties>
</file>